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6" r:id="rId5"/>
  </p:sldMasterIdLst>
  <p:notesMasterIdLst>
    <p:notesMasterId r:id="rId37"/>
  </p:notesMasterIdLst>
  <p:handoutMasterIdLst>
    <p:handoutMasterId r:id="rId38"/>
  </p:handoutMasterIdLst>
  <p:sldIdLst>
    <p:sldId id="288" r:id="rId6"/>
    <p:sldId id="1291" r:id="rId7"/>
    <p:sldId id="1272" r:id="rId8"/>
    <p:sldId id="1341" r:id="rId9"/>
    <p:sldId id="1167" r:id="rId10"/>
    <p:sldId id="1164" r:id="rId11"/>
    <p:sldId id="1315" r:id="rId12"/>
    <p:sldId id="1319" r:id="rId13"/>
    <p:sldId id="1312" r:id="rId14"/>
    <p:sldId id="1325" r:id="rId15"/>
    <p:sldId id="1313" r:id="rId16"/>
    <p:sldId id="1273" r:id="rId17"/>
    <p:sldId id="1326" r:id="rId18"/>
    <p:sldId id="1328" r:id="rId19"/>
    <p:sldId id="1335" r:id="rId20"/>
    <p:sldId id="1329" r:id="rId21"/>
    <p:sldId id="1330" r:id="rId22"/>
    <p:sldId id="1344" r:id="rId23"/>
    <p:sldId id="1332" r:id="rId24"/>
    <p:sldId id="1333" r:id="rId25"/>
    <p:sldId id="1345" r:id="rId26"/>
    <p:sldId id="1346" r:id="rId27"/>
    <p:sldId id="1337" r:id="rId28"/>
    <p:sldId id="1293" r:id="rId29"/>
    <p:sldId id="302" r:id="rId30"/>
    <p:sldId id="301" r:id="rId31"/>
    <p:sldId id="303" r:id="rId32"/>
    <p:sldId id="300" r:id="rId33"/>
    <p:sldId id="1334" r:id="rId34"/>
    <p:sldId id="1288" r:id="rId35"/>
    <p:sldId id="1309" r:id="rId36"/>
  </p:sldIdLst>
  <p:sldSz cx="12192000" cy="6858000"/>
  <p:notesSz cx="6669088" cy="9926638"/>
  <p:custDataLst>
    <p:tags r:id="rId3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9D383A5-E43B-435B-A51B-D50DEC01B230}">
          <p14:sldIdLst>
            <p14:sldId id="288"/>
            <p14:sldId id="1291"/>
            <p14:sldId id="1272"/>
            <p14:sldId id="1341"/>
            <p14:sldId id="1167"/>
            <p14:sldId id="1164"/>
            <p14:sldId id="1315"/>
            <p14:sldId id="1319"/>
            <p14:sldId id="1312"/>
            <p14:sldId id="1325"/>
            <p14:sldId id="1313"/>
            <p14:sldId id="1273"/>
            <p14:sldId id="1326"/>
            <p14:sldId id="1328"/>
            <p14:sldId id="1335"/>
            <p14:sldId id="1329"/>
            <p14:sldId id="1330"/>
            <p14:sldId id="1344"/>
            <p14:sldId id="1332"/>
            <p14:sldId id="1333"/>
            <p14:sldId id="1345"/>
            <p14:sldId id="1346"/>
            <p14:sldId id="1337"/>
            <p14:sldId id="1293"/>
            <p14:sldId id="302"/>
            <p14:sldId id="301"/>
            <p14:sldId id="303"/>
            <p14:sldId id="300"/>
            <p14:sldId id="1334"/>
            <p14:sldId id="1288"/>
            <p14:sldId id="1309"/>
          </p14:sldIdLst>
        </p14:section>
      </p14:sectionLst>
    </p:ext>
    <p:ext uri="{EFAFB233-063F-42B5-8137-9DF3F51BA10A}">
      <p15:sldGuideLst xmlns:p15="http://schemas.microsoft.com/office/powerpoint/2012/main">
        <p15:guide id="1" orient="horz" pos="278" userDrawn="1">
          <p15:clr>
            <a:srgbClr val="A4A3A4"/>
          </p15:clr>
        </p15:guide>
        <p15:guide id="2" pos="302"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icki Berrange" initials="NB" lastIdx="41" clrIdx="0">
    <p:extLst>
      <p:ext uri="{19B8F6BF-5375-455C-9EA6-DF929625EA0E}">
        <p15:presenceInfo xmlns:p15="http://schemas.microsoft.com/office/powerpoint/2012/main" userId="S::Nicki.Berrange@letsema.co.za::200749f9-ef9c-4409-87ca-9bfe66ea07f9" providerId="AD"/>
      </p:ext>
    </p:extLst>
  </p:cmAuthor>
  <p:cmAuthor id="2" name="Nomvula Khumalo" initials="NK" lastIdx="22" clrIdx="1">
    <p:extLst>
      <p:ext uri="{19B8F6BF-5375-455C-9EA6-DF929625EA0E}">
        <p15:presenceInfo xmlns:p15="http://schemas.microsoft.com/office/powerpoint/2012/main" userId="S-1-5-21-1160977230-1528378625-1234779376-13711" providerId="AD"/>
      </p:ext>
    </p:extLst>
  </p:cmAuthor>
  <p:cmAuthor id="3" name="Zola Lupondwana" initials="ZL" lastIdx="1" clrIdx="2">
    <p:extLst>
      <p:ext uri="{19B8F6BF-5375-455C-9EA6-DF929625EA0E}">
        <p15:presenceInfo xmlns:p15="http://schemas.microsoft.com/office/powerpoint/2012/main" userId="S::Zolal@nhfc.co.za::47a6ef96-a14c-4bbd-9de0-0184bec4359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2762"/>
    <a:srgbClr val="FFFFFF"/>
    <a:srgbClr val="689AC8"/>
    <a:srgbClr val="1F4E79"/>
    <a:srgbClr val="000000"/>
    <a:srgbClr val="3E668B"/>
    <a:srgbClr val="41719C"/>
    <a:srgbClr val="E2F0D9"/>
    <a:srgbClr val="A5A5A5"/>
    <a:srgbClr val="3B393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375" autoAdjust="0"/>
    <p:restoredTop sz="95007" autoAdjust="0"/>
  </p:normalViewPr>
  <p:slideViewPr>
    <p:cSldViewPr snapToGrid="0" snapToObjects="1">
      <p:cViewPr varScale="1">
        <p:scale>
          <a:sx n="73" d="100"/>
          <a:sy n="73" d="100"/>
        </p:scale>
        <p:origin x="684" y="78"/>
      </p:cViewPr>
      <p:guideLst>
        <p:guide orient="horz" pos="278"/>
        <p:guide pos="302"/>
      </p:guideLst>
    </p:cSldViewPr>
  </p:slideViewPr>
  <p:notesTextViewPr>
    <p:cViewPr>
      <p:scale>
        <a:sx n="1" d="1"/>
        <a:sy n="1" d="1"/>
      </p:scale>
      <p:origin x="0" y="0"/>
    </p:cViewPr>
  </p:notesTextViewPr>
  <p:sorterViewPr>
    <p:cViewPr varScale="1">
      <p:scale>
        <a:sx n="100" d="100"/>
        <a:sy n="100" d="100"/>
      </p:scale>
      <p:origin x="0" y="-595"/>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gs" Target="tags/tag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notesMaster" Target="notesMasters/notesMaster1.xml"/><Relationship Id="rId40"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heme" Target="theme/theme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5_4">
  <dgm:title val=""/>
  <dgm:desc val=""/>
  <dgm:catLst>
    <dgm:cat type="accent5" pri="11400"/>
  </dgm:catLst>
  <dgm:styleLbl name="node0">
    <dgm:fillClrLst meth="cycle">
      <a:schemeClr val="accent5">
        <a:shade val="60000"/>
      </a:schemeClr>
    </dgm:fillClrLst>
    <dgm:linClrLst meth="repeat">
      <a:schemeClr val="lt1"/>
    </dgm:linClrLst>
    <dgm:effectClrLst/>
    <dgm:txLinClrLst/>
    <dgm:txFillClrLst/>
    <dgm:txEffectClrLst/>
  </dgm:styleLbl>
  <dgm:styleLbl name="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alignNode1">
    <dgm:fillClrLst meth="cycle">
      <a:schemeClr val="accent5">
        <a:shade val="50000"/>
      </a:schemeClr>
      <a:schemeClr val="accent5">
        <a:tint val="55000"/>
      </a:schemeClr>
    </dgm:fillClrLst>
    <dgm:linClrLst meth="cycle">
      <a:schemeClr val="accent5">
        <a:shade val="50000"/>
      </a:schemeClr>
      <a:schemeClr val="accent5">
        <a:tint val="55000"/>
      </a:schemeClr>
    </dgm:linClrLst>
    <dgm:effectClrLst/>
    <dgm:txLinClrLst/>
    <dgm:txFillClrLst/>
    <dgm:txEffectClrLst/>
  </dgm:styleLbl>
  <dgm:styleLbl name="lnNode1">
    <dgm:fillClrLst meth="cycle">
      <a:schemeClr val="accent5">
        <a:shade val="50000"/>
      </a:schemeClr>
      <a:schemeClr val="accent5">
        <a:tint val="55000"/>
      </a:schemeClr>
    </dgm:fillClrLst>
    <dgm:linClrLst meth="repeat">
      <a:schemeClr val="lt1"/>
    </dgm:linClrLst>
    <dgm:effectClrLst/>
    <dgm:txLinClrLst/>
    <dgm:txFillClrLst/>
    <dgm:txEffectClrLst/>
  </dgm:styleLbl>
  <dgm:styleLbl name="vennNode1">
    <dgm:fillClrLst meth="cycle">
      <a:schemeClr val="accent5">
        <a:shade val="80000"/>
        <a:alpha val="50000"/>
      </a:schemeClr>
      <a:schemeClr val="accent5">
        <a:tint val="50000"/>
        <a:alpha val="50000"/>
      </a:schemeClr>
    </dgm:fillClrLst>
    <dgm:linClrLst meth="repeat">
      <a:schemeClr val="lt1"/>
    </dgm:linClrLst>
    <dgm:effectClrLst/>
    <dgm:txLinClrLst/>
    <dgm:txFillClrLst/>
    <dgm:txEffectClrLst/>
  </dgm:styleLbl>
  <dgm:styleLbl name="node2">
    <dgm:fillClrLst>
      <a:schemeClr val="accent5">
        <a:shade val="80000"/>
      </a:schemeClr>
    </dgm:fillClrLst>
    <dgm:linClrLst meth="repeat">
      <a:schemeClr val="lt1"/>
    </dgm:linClrLst>
    <dgm:effectClrLst/>
    <dgm:txLinClrLst/>
    <dgm:txFillClrLst/>
    <dgm:txEffectClrLst/>
  </dgm:styleLbl>
  <dgm:styleLbl name="node3">
    <dgm:fillClrLst>
      <a:schemeClr val="accent5">
        <a:tint val="99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b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fgSibTrans2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dgm:txEffectClrLst/>
  </dgm:styleLbl>
  <dgm:styleLbl name="sibTrans1D1">
    <dgm:fillClrLst meth="cycle">
      <a:schemeClr val="accent5">
        <a:shade val="90000"/>
      </a:schemeClr>
      <a:schemeClr val="accent5">
        <a:tint val="50000"/>
      </a:schemeClr>
    </dgm:fillClrLst>
    <dgm:linClrLst meth="cycle">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0000"/>
      </a:schemeClr>
    </dgm:fillClrLst>
    <dgm:linClrLst meth="repeat">
      <a:schemeClr val="lt1"/>
    </dgm:linClrLst>
    <dgm:effectClrLst/>
    <dgm:txLinClrLst/>
    <dgm:txFillClrLst/>
    <dgm:txEffectClrLst/>
  </dgm:styleLbl>
  <dgm:styleLbl name="asst3">
    <dgm:fillClrLst>
      <a:schemeClr val="accent5">
        <a:tint val="70000"/>
      </a:schemeClr>
    </dgm:fillClrLst>
    <dgm:linClrLst meth="repeat">
      <a:schemeClr val="lt1"/>
    </dgm:linClrLst>
    <dgm:effectClrLst/>
    <dgm:txLinClrLst/>
    <dgm:txFillClrLst/>
    <dgm:txEffectClrLst/>
  </dgm:styleLbl>
  <dgm:styleLbl name="asst4">
    <dgm:fillClrLst>
      <a:schemeClr val="accent5">
        <a:tint val="5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5">
        <a:shade val="50000"/>
      </a:schemeClr>
      <a:schemeClr val="accent5">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alignAccFollowNode1">
    <dgm:fillClrLst meth="repeat">
      <a:schemeClr val="accent5">
        <a:alpha val="90000"/>
        <a:tint val="55000"/>
      </a:schemeClr>
    </dgm:fillClrLst>
    <dgm:linClrLst meth="repeat">
      <a:schemeClr val="accent5">
        <a:alpha val="90000"/>
        <a:tint val="55000"/>
      </a:schemeClr>
    </dgm:linClrLst>
    <dgm:effectClrLst/>
    <dgm:txLinClrLst/>
    <dgm:txFillClrLst meth="repeat">
      <a:schemeClr val="dk1"/>
    </dgm:txFillClrLst>
    <dgm:txEffectClrLst/>
  </dgm:styleLbl>
  <dgm:styleLbl name="bgAccFollowNode1">
    <dgm:fillClrLst meth="repeat">
      <a:schemeClr val="accent5">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55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E019380-ADC8-49ED-8ED3-AE5C1C0042E8}" type="doc">
      <dgm:prSet loTypeId="urn:microsoft.com/office/officeart/2005/8/layout/list1" loCatId="list" qsTypeId="urn:microsoft.com/office/officeart/2005/8/quickstyle/simple1" qsCatId="simple" csTypeId="urn:microsoft.com/office/officeart/2005/8/colors/accent5_4" csCatId="accent5" phldr="1"/>
      <dgm:spPr/>
      <dgm:t>
        <a:bodyPr/>
        <a:lstStyle/>
        <a:p>
          <a:endParaRPr lang="en-ZA"/>
        </a:p>
      </dgm:t>
    </dgm:pt>
    <dgm:pt modelId="{F7BEA67D-FE33-4714-A8DD-70C6856D5108}">
      <dgm:prSet phldrT="[Text]" custT="1"/>
      <dgm:spPr>
        <a:xfrm>
          <a:off x="0" y="2561287"/>
          <a:ext cx="5819775" cy="561600"/>
        </a:xfrm>
      </dgm:spPr>
      <dgm:t>
        <a:bodyPr/>
        <a:lstStyle/>
        <a:p>
          <a:pPr>
            <a:buNone/>
          </a:pPr>
          <a:r>
            <a:rPr lang="en-ZA" sz="2000" dirty="0">
              <a:latin typeface="Calibri" panose="020F0502020204030204"/>
              <a:ea typeface="+mn-ea"/>
              <a:cs typeface="+mn-cs"/>
            </a:rPr>
            <a:t>Financial Analysis</a:t>
          </a:r>
        </a:p>
      </dgm:t>
    </dgm:pt>
    <dgm:pt modelId="{444D3C20-C4A7-46EA-A4C1-4BF80FFFE305}" type="parTrans" cxnId="{65136F99-1B0C-45E6-BDEC-0FFCAE38C72D}">
      <dgm:prSet/>
      <dgm:spPr/>
      <dgm:t>
        <a:bodyPr/>
        <a:lstStyle/>
        <a:p>
          <a:endParaRPr lang="en-ZA" sz="1100"/>
        </a:p>
      </dgm:t>
    </dgm:pt>
    <dgm:pt modelId="{9F9E6E27-1377-4E9F-90BF-B61F4D047F1C}" type="sibTrans" cxnId="{65136F99-1B0C-45E6-BDEC-0FFCAE38C72D}">
      <dgm:prSet/>
      <dgm:spPr/>
      <dgm:t>
        <a:bodyPr/>
        <a:lstStyle/>
        <a:p>
          <a:endParaRPr lang="en-ZA" sz="1100"/>
        </a:p>
      </dgm:t>
    </dgm:pt>
    <dgm:pt modelId="{CAD704C8-345B-4651-BA04-707F88A92A7B}">
      <dgm:prSet phldrT="[Text]" custT="1"/>
      <dgm:spPr>
        <a:xfrm>
          <a:off x="0" y="3122887"/>
          <a:ext cx="5819775" cy="652050"/>
        </a:xfrm>
      </dgm:spPr>
      <dgm:t>
        <a:bodyPr/>
        <a:lstStyle/>
        <a:p>
          <a:pPr>
            <a:buNone/>
          </a:pPr>
          <a:endParaRPr lang="en-ZA" sz="1100" dirty="0">
            <a:latin typeface="Calibri" panose="020F0502020204030204"/>
            <a:ea typeface="+mn-ea"/>
            <a:cs typeface="+mn-cs"/>
          </a:endParaRPr>
        </a:p>
      </dgm:t>
    </dgm:pt>
    <dgm:pt modelId="{97A15473-8801-40CD-9E44-2BBA1C11AE2D}" type="parTrans" cxnId="{6A26AFE7-99D8-4E38-8342-1B9EAC327594}">
      <dgm:prSet/>
      <dgm:spPr/>
      <dgm:t>
        <a:bodyPr/>
        <a:lstStyle/>
        <a:p>
          <a:endParaRPr lang="en-ZA" sz="1100"/>
        </a:p>
      </dgm:t>
    </dgm:pt>
    <dgm:pt modelId="{8AB3786A-09E5-4D9C-81CF-A3EFBC065607}" type="sibTrans" cxnId="{6A26AFE7-99D8-4E38-8342-1B9EAC327594}">
      <dgm:prSet/>
      <dgm:spPr/>
      <dgm:t>
        <a:bodyPr/>
        <a:lstStyle/>
        <a:p>
          <a:endParaRPr lang="en-ZA" sz="1100"/>
        </a:p>
      </dgm:t>
    </dgm:pt>
    <dgm:pt modelId="{0BD63882-4B0F-473C-A87F-F232DEF67342}">
      <dgm:prSet phldrT="[Text]" custT="1"/>
      <dgm:spPr>
        <a:xfrm>
          <a:off x="0" y="9787"/>
          <a:ext cx="5819775" cy="561600"/>
        </a:xfrm>
      </dgm:spPr>
      <dgm:t>
        <a:bodyPr/>
        <a:lstStyle/>
        <a:p>
          <a:pPr>
            <a:buNone/>
          </a:pPr>
          <a:r>
            <a:rPr lang="en-ZA" sz="2000" dirty="0">
              <a:latin typeface="Calibri" panose="020F0502020204030204"/>
              <a:ea typeface="+mn-ea"/>
              <a:cs typeface="+mn-cs"/>
            </a:rPr>
            <a:t>Structure</a:t>
          </a:r>
        </a:p>
      </dgm:t>
    </dgm:pt>
    <dgm:pt modelId="{A143E627-76E5-4E35-99AE-1CF2E5BC9311}" type="parTrans" cxnId="{8191962A-EEA2-4DFE-96FE-03241D8AA2C4}">
      <dgm:prSet/>
      <dgm:spPr/>
      <dgm:t>
        <a:bodyPr/>
        <a:lstStyle/>
        <a:p>
          <a:endParaRPr lang="en-ZA" sz="1100"/>
        </a:p>
      </dgm:t>
    </dgm:pt>
    <dgm:pt modelId="{0600BC89-6E60-46E5-B367-DB7B3927A72F}" type="sibTrans" cxnId="{8191962A-EEA2-4DFE-96FE-03241D8AA2C4}">
      <dgm:prSet/>
      <dgm:spPr/>
      <dgm:t>
        <a:bodyPr/>
        <a:lstStyle/>
        <a:p>
          <a:endParaRPr lang="en-ZA" sz="1100"/>
        </a:p>
      </dgm:t>
    </dgm:pt>
    <dgm:pt modelId="{AF28F056-1634-451B-AD26-F465F2A4756D}">
      <dgm:prSet phldrT="[Text]" custT="1"/>
      <dgm:spPr>
        <a:xfrm>
          <a:off x="0" y="1068187"/>
          <a:ext cx="5819775" cy="561600"/>
        </a:xfrm>
      </dgm:spPr>
      <dgm:t>
        <a:bodyPr/>
        <a:lstStyle/>
        <a:p>
          <a:pPr>
            <a:buNone/>
          </a:pPr>
          <a:r>
            <a:rPr lang="en-ZA" sz="2000" dirty="0">
              <a:latin typeface="Calibri" panose="020F0502020204030204"/>
              <a:ea typeface="+mn-ea"/>
              <a:cs typeface="+mn-cs"/>
            </a:rPr>
            <a:t>Operating Model</a:t>
          </a:r>
        </a:p>
      </dgm:t>
    </dgm:pt>
    <dgm:pt modelId="{89CF2158-B03A-47D7-9632-C7660B2BDA94}" type="parTrans" cxnId="{E23A552F-1822-4EA8-AD08-BC9A51FF8AEA}">
      <dgm:prSet/>
      <dgm:spPr/>
      <dgm:t>
        <a:bodyPr/>
        <a:lstStyle/>
        <a:p>
          <a:endParaRPr lang="en-ZA" sz="1100"/>
        </a:p>
      </dgm:t>
    </dgm:pt>
    <dgm:pt modelId="{743B4BB0-EE8D-49D6-A9C9-64CD7D92A680}" type="sibTrans" cxnId="{E23A552F-1822-4EA8-AD08-BC9A51FF8AEA}">
      <dgm:prSet/>
      <dgm:spPr/>
      <dgm:t>
        <a:bodyPr/>
        <a:lstStyle/>
        <a:p>
          <a:endParaRPr lang="en-ZA" sz="1100"/>
        </a:p>
      </dgm:t>
    </dgm:pt>
    <dgm:pt modelId="{64B6B41F-EB62-4A0F-B912-DFD28E644BE6}">
      <dgm:prSet phldrT="[Text]" custT="1"/>
      <dgm:spPr>
        <a:xfrm>
          <a:off x="0" y="3774937"/>
          <a:ext cx="5819775" cy="561600"/>
        </a:xfrm>
      </dgm:spPr>
      <dgm:t>
        <a:bodyPr/>
        <a:lstStyle/>
        <a:p>
          <a:pPr>
            <a:buNone/>
          </a:pPr>
          <a:r>
            <a:rPr lang="en-ZA" sz="2000" dirty="0">
              <a:latin typeface="Calibri" panose="020F0502020204030204"/>
              <a:ea typeface="+mn-ea"/>
              <a:cs typeface="+mn-cs"/>
            </a:rPr>
            <a:t>SWOT Analysis</a:t>
          </a:r>
        </a:p>
      </dgm:t>
    </dgm:pt>
    <dgm:pt modelId="{BC62C9E2-8E3E-4807-8C2E-DA4CFF1FD50C}" type="parTrans" cxnId="{5611F47F-7571-4FBA-8A04-1BEE1E45A043}">
      <dgm:prSet/>
      <dgm:spPr/>
      <dgm:t>
        <a:bodyPr/>
        <a:lstStyle/>
        <a:p>
          <a:endParaRPr lang="en-ZA" sz="1100"/>
        </a:p>
      </dgm:t>
    </dgm:pt>
    <dgm:pt modelId="{90F0107A-7563-4CCB-86E5-3392E6D1730A}" type="sibTrans" cxnId="{5611F47F-7571-4FBA-8A04-1BEE1E45A043}">
      <dgm:prSet/>
      <dgm:spPr/>
      <dgm:t>
        <a:bodyPr/>
        <a:lstStyle/>
        <a:p>
          <a:endParaRPr lang="en-ZA" sz="1100"/>
        </a:p>
      </dgm:t>
    </dgm:pt>
    <dgm:pt modelId="{5F938721-F338-4A04-A9ED-C50D15000CAC}">
      <dgm:prSet phldrT="[Text]" custT="1"/>
      <dgm:spPr>
        <a:xfrm>
          <a:off x="0" y="4336537"/>
          <a:ext cx="5819775" cy="1397250"/>
        </a:xfrm>
      </dgm:spPr>
      <dgm:t>
        <a:bodyPr/>
        <a:lstStyle/>
        <a:p>
          <a:pPr>
            <a:buFont typeface="Arial" panose="020B0604020202020204" pitchFamily="34" charset="0"/>
            <a:buNone/>
          </a:pPr>
          <a:endParaRPr lang="en-ZA" sz="1100" dirty="0">
            <a:latin typeface="Calibri" panose="020F0502020204030204"/>
            <a:ea typeface="+mn-ea"/>
            <a:cs typeface="+mn-cs"/>
          </a:endParaRPr>
        </a:p>
      </dgm:t>
    </dgm:pt>
    <dgm:pt modelId="{A7AD8844-AB30-4370-918D-9B11FF5999CC}" type="parTrans" cxnId="{F15B5AD8-210F-4B7C-A5B2-1462EE445127}">
      <dgm:prSet/>
      <dgm:spPr/>
      <dgm:t>
        <a:bodyPr/>
        <a:lstStyle/>
        <a:p>
          <a:endParaRPr lang="en-ZA" sz="1100"/>
        </a:p>
      </dgm:t>
    </dgm:pt>
    <dgm:pt modelId="{6BA271AB-FD88-4C40-9DB1-D829445E8C40}" type="sibTrans" cxnId="{F15B5AD8-210F-4B7C-A5B2-1462EE445127}">
      <dgm:prSet/>
      <dgm:spPr/>
      <dgm:t>
        <a:bodyPr/>
        <a:lstStyle/>
        <a:p>
          <a:endParaRPr lang="en-ZA" sz="1100"/>
        </a:p>
      </dgm:t>
    </dgm:pt>
    <dgm:pt modelId="{0AC4CE17-D8D8-43AE-8F9F-DEBB72D1BBE8}">
      <dgm:prSet phldrT="[Text]" custT="1"/>
      <dgm:spPr>
        <a:xfrm>
          <a:off x="0" y="571387"/>
          <a:ext cx="5819775" cy="496800"/>
        </a:xfrm>
      </dgm:spPr>
      <dgm:t>
        <a:bodyPr/>
        <a:lstStyle/>
        <a:p>
          <a:pPr>
            <a:buNone/>
          </a:pPr>
          <a:endParaRPr lang="en-ZA" sz="1100" dirty="0">
            <a:latin typeface="Calibri" panose="020F0502020204030204"/>
            <a:ea typeface="+mn-ea"/>
            <a:cs typeface="+mn-cs"/>
          </a:endParaRPr>
        </a:p>
      </dgm:t>
    </dgm:pt>
    <dgm:pt modelId="{C17B9559-B5BA-4C6C-9BA6-DD79866175E2}" type="parTrans" cxnId="{74E94D08-9766-4AFC-AB2A-D576369A2E2D}">
      <dgm:prSet/>
      <dgm:spPr/>
      <dgm:t>
        <a:bodyPr/>
        <a:lstStyle/>
        <a:p>
          <a:endParaRPr lang="en-ZA" sz="1100"/>
        </a:p>
      </dgm:t>
    </dgm:pt>
    <dgm:pt modelId="{5F0D71CF-3AA0-4D26-BDEA-28CFF38A9BF5}" type="sibTrans" cxnId="{74E94D08-9766-4AFC-AB2A-D576369A2E2D}">
      <dgm:prSet/>
      <dgm:spPr/>
      <dgm:t>
        <a:bodyPr/>
        <a:lstStyle/>
        <a:p>
          <a:endParaRPr lang="en-ZA" sz="1100"/>
        </a:p>
      </dgm:t>
    </dgm:pt>
    <dgm:pt modelId="{BF398E30-C126-4458-A733-39A5BD05D1D7}">
      <dgm:prSet phldrT="[Text]" custT="1"/>
      <dgm:spPr>
        <a:xfrm>
          <a:off x="0" y="1629787"/>
          <a:ext cx="5819775" cy="931500"/>
        </a:xfrm>
      </dgm:spPr>
      <dgm:t>
        <a:bodyPr/>
        <a:lstStyle/>
        <a:p>
          <a:pPr algn="just">
            <a:buChar char="•"/>
          </a:pPr>
          <a:r>
            <a:rPr lang="en-ZA" sz="1100" dirty="0">
              <a:latin typeface="Calibri" panose="020F0502020204030204"/>
              <a:ea typeface="+mn-ea"/>
              <a:cs typeface="+mn-cs"/>
            </a:rPr>
            <a:t>The operating model is aligned  to ensure maximum development impact</a:t>
          </a:r>
        </a:p>
      </dgm:t>
    </dgm:pt>
    <dgm:pt modelId="{5C4A960F-8806-4C30-ABAD-7044FDA8ABB7}" type="parTrans" cxnId="{BFC30CA0-5987-4249-A107-E39E46F57CD8}">
      <dgm:prSet/>
      <dgm:spPr/>
      <dgm:t>
        <a:bodyPr/>
        <a:lstStyle/>
        <a:p>
          <a:endParaRPr lang="en-ZA" sz="1100"/>
        </a:p>
      </dgm:t>
    </dgm:pt>
    <dgm:pt modelId="{1078118A-657B-49CB-9908-AA38520918BC}" type="sibTrans" cxnId="{BFC30CA0-5987-4249-A107-E39E46F57CD8}">
      <dgm:prSet/>
      <dgm:spPr/>
      <dgm:t>
        <a:bodyPr/>
        <a:lstStyle/>
        <a:p>
          <a:endParaRPr lang="en-ZA" sz="1100"/>
        </a:p>
      </dgm:t>
    </dgm:pt>
    <dgm:pt modelId="{E5BC4D7C-1EBF-4918-9F6B-F88ED9C1667D}">
      <dgm:prSet phldrT="[Text]" custT="1"/>
      <dgm:spPr>
        <a:xfrm>
          <a:off x="0" y="571387"/>
          <a:ext cx="5819775" cy="496800"/>
        </a:xfrm>
      </dgm:spPr>
      <dgm:t>
        <a:bodyPr/>
        <a:lstStyle/>
        <a:p>
          <a:pPr>
            <a:buChar char="•"/>
          </a:pPr>
          <a:endParaRPr lang="en-ZA" sz="1100" dirty="0">
            <a:latin typeface="Calibri" panose="020F0502020204030204"/>
            <a:ea typeface="+mn-ea"/>
            <a:cs typeface="+mn-cs"/>
          </a:endParaRPr>
        </a:p>
      </dgm:t>
    </dgm:pt>
    <dgm:pt modelId="{F3CB5437-A28E-412E-A83F-5188F66B8F3B}" type="parTrans" cxnId="{D0CA2453-9AC1-400F-9786-14EB09E92BE1}">
      <dgm:prSet/>
      <dgm:spPr/>
      <dgm:t>
        <a:bodyPr/>
        <a:lstStyle/>
        <a:p>
          <a:endParaRPr lang="en-ZA"/>
        </a:p>
      </dgm:t>
    </dgm:pt>
    <dgm:pt modelId="{270C3785-C99D-415F-93B9-8AA0BF618552}" type="sibTrans" cxnId="{D0CA2453-9AC1-400F-9786-14EB09E92BE1}">
      <dgm:prSet/>
      <dgm:spPr/>
      <dgm:t>
        <a:bodyPr/>
        <a:lstStyle/>
        <a:p>
          <a:endParaRPr lang="en-ZA"/>
        </a:p>
      </dgm:t>
    </dgm:pt>
    <dgm:pt modelId="{52F28F30-D639-46D0-8FAC-A4472D9CA4F5}">
      <dgm:prSet custT="1"/>
      <dgm:spPr/>
      <dgm:t>
        <a:bodyPr/>
        <a:lstStyle/>
        <a:p>
          <a:pPr>
            <a:buNone/>
          </a:pPr>
          <a:r>
            <a:rPr lang="en-ZA" sz="1100" dirty="0">
              <a:latin typeface="Calibri" panose="020F0502020204030204"/>
              <a:ea typeface="+mn-ea"/>
              <a:cs typeface="+mn-cs"/>
            </a:rPr>
            <a:t>The current governance structure is appropriate</a:t>
          </a:r>
        </a:p>
      </dgm:t>
    </dgm:pt>
    <dgm:pt modelId="{A43C1790-6F58-487C-97A5-A9A894128DE4}" type="parTrans" cxnId="{5C96B3E7-5003-48E9-A265-E421AB8443D4}">
      <dgm:prSet/>
      <dgm:spPr/>
      <dgm:t>
        <a:bodyPr/>
        <a:lstStyle/>
        <a:p>
          <a:endParaRPr lang="en-ZA"/>
        </a:p>
      </dgm:t>
    </dgm:pt>
    <dgm:pt modelId="{D1360DAD-1A5E-4D20-852D-7265B55F1031}" type="sibTrans" cxnId="{5C96B3E7-5003-48E9-A265-E421AB8443D4}">
      <dgm:prSet/>
      <dgm:spPr/>
      <dgm:t>
        <a:bodyPr/>
        <a:lstStyle/>
        <a:p>
          <a:endParaRPr lang="en-ZA"/>
        </a:p>
      </dgm:t>
    </dgm:pt>
    <dgm:pt modelId="{7C9B4A8D-577C-4779-91A5-3E41EC78D04D}">
      <dgm:prSet custT="1"/>
      <dgm:spPr/>
      <dgm:t>
        <a:bodyPr/>
        <a:lstStyle/>
        <a:p>
          <a:pPr>
            <a:buNone/>
          </a:pPr>
          <a:r>
            <a:rPr lang="en-ZA" sz="1100" dirty="0">
              <a:latin typeface="Calibri" panose="020F0502020204030204"/>
              <a:ea typeface="+mn-ea"/>
              <a:cs typeface="+mn-cs"/>
            </a:rPr>
            <a:t>The </a:t>
          </a:r>
          <a:r>
            <a:rPr lang="en-ZA" sz="1100" dirty="0" smtClean="0">
              <a:latin typeface="Calibri" panose="020F0502020204030204"/>
              <a:ea typeface="+mn-ea"/>
              <a:cs typeface="+mn-cs"/>
            </a:rPr>
            <a:t>Memorandum of Incorporation provides for a minimum of 8 non </a:t>
          </a:r>
          <a:r>
            <a:rPr lang="en-ZA" sz="1100" dirty="0">
              <a:latin typeface="Calibri" panose="020F0502020204030204"/>
              <a:ea typeface="+mn-ea"/>
              <a:cs typeface="+mn-cs"/>
            </a:rPr>
            <a:t>executive directors and 1 executive director. A balanced mix of gender, race and age, 5 males and 3 females </a:t>
          </a:r>
        </a:p>
      </dgm:t>
    </dgm:pt>
    <dgm:pt modelId="{EE489447-7C18-4673-9AD7-13A96C725A4A}" type="parTrans" cxnId="{5C2DF795-6AF3-44AB-AD05-AAB3E9747491}">
      <dgm:prSet/>
      <dgm:spPr/>
      <dgm:t>
        <a:bodyPr/>
        <a:lstStyle/>
        <a:p>
          <a:endParaRPr lang="en-ZA"/>
        </a:p>
      </dgm:t>
    </dgm:pt>
    <dgm:pt modelId="{40B68D11-1D4F-42D2-969B-560DBB292C7F}" type="sibTrans" cxnId="{5C2DF795-6AF3-44AB-AD05-AAB3E9747491}">
      <dgm:prSet/>
      <dgm:spPr/>
      <dgm:t>
        <a:bodyPr/>
        <a:lstStyle/>
        <a:p>
          <a:endParaRPr lang="en-ZA"/>
        </a:p>
      </dgm:t>
    </dgm:pt>
    <dgm:pt modelId="{2E07A31D-13F3-4505-AA30-4E72C1A9BF9D}">
      <dgm:prSet custT="1"/>
      <dgm:spPr/>
      <dgm:t>
        <a:bodyPr/>
        <a:lstStyle/>
        <a:p>
          <a:pPr>
            <a:buNone/>
          </a:pPr>
          <a:r>
            <a:rPr lang="en-ZA" sz="1100" dirty="0">
              <a:latin typeface="Calibri" panose="020F0502020204030204"/>
              <a:ea typeface="+mn-ea"/>
              <a:cs typeface="+mn-cs"/>
            </a:rPr>
            <a:t>The executive management committee consists of 10 members, 3 females and 7 males </a:t>
          </a:r>
        </a:p>
      </dgm:t>
    </dgm:pt>
    <dgm:pt modelId="{DDDAF6B3-8EF9-488B-9C25-B221C03120CE}" type="parTrans" cxnId="{E7219407-E94C-4AB3-9F47-69D67CAE2FF4}">
      <dgm:prSet/>
      <dgm:spPr/>
      <dgm:t>
        <a:bodyPr/>
        <a:lstStyle/>
        <a:p>
          <a:endParaRPr lang="en-ZA"/>
        </a:p>
      </dgm:t>
    </dgm:pt>
    <dgm:pt modelId="{C4068EF1-EB82-41DE-9A35-A32315F7892A}" type="sibTrans" cxnId="{E7219407-E94C-4AB3-9F47-69D67CAE2FF4}">
      <dgm:prSet/>
      <dgm:spPr/>
      <dgm:t>
        <a:bodyPr/>
        <a:lstStyle/>
        <a:p>
          <a:endParaRPr lang="en-ZA"/>
        </a:p>
      </dgm:t>
    </dgm:pt>
    <dgm:pt modelId="{C90B7CD7-2CAA-4B70-AA95-0D82AC9E437C}">
      <dgm:prSet phldrT="[Text]" custT="1"/>
      <dgm:spPr>
        <a:xfrm>
          <a:off x="0" y="1629787"/>
          <a:ext cx="5819775" cy="931500"/>
        </a:xfrm>
      </dgm:spPr>
      <dgm:t>
        <a:bodyPr/>
        <a:lstStyle/>
        <a:p>
          <a:pPr algn="just">
            <a:buChar char="•"/>
          </a:pPr>
          <a:r>
            <a:rPr lang="en-ZA" sz="1100" dirty="0">
              <a:latin typeface="Calibri" panose="020F0502020204030204"/>
              <a:ea typeface="+mn-ea"/>
              <a:cs typeface="+mn-cs"/>
            </a:rPr>
            <a:t>The company has strong geographical footprint across South Africa and needs to continue to maintain those touch points nationally</a:t>
          </a:r>
        </a:p>
      </dgm:t>
    </dgm:pt>
    <dgm:pt modelId="{45224B05-01E9-4296-ABA9-8343E057B2C8}" type="parTrans" cxnId="{1E3366CB-ED78-43D7-AC40-8157D280F04A}">
      <dgm:prSet/>
      <dgm:spPr/>
      <dgm:t>
        <a:bodyPr/>
        <a:lstStyle/>
        <a:p>
          <a:endParaRPr lang="en-ZA"/>
        </a:p>
      </dgm:t>
    </dgm:pt>
    <dgm:pt modelId="{BE2DDF30-D494-414B-A10C-FB9AD745B923}" type="sibTrans" cxnId="{1E3366CB-ED78-43D7-AC40-8157D280F04A}">
      <dgm:prSet/>
      <dgm:spPr/>
      <dgm:t>
        <a:bodyPr/>
        <a:lstStyle/>
        <a:p>
          <a:endParaRPr lang="en-ZA"/>
        </a:p>
      </dgm:t>
    </dgm:pt>
    <dgm:pt modelId="{AB5A18AF-8FE0-4683-B80E-8F8E6A2D43D3}">
      <dgm:prSet phldrT="[Text]" custT="1"/>
      <dgm:spPr>
        <a:xfrm>
          <a:off x="0" y="1629787"/>
          <a:ext cx="5819775" cy="931500"/>
        </a:xfrm>
      </dgm:spPr>
      <dgm:t>
        <a:bodyPr/>
        <a:lstStyle/>
        <a:p>
          <a:pPr algn="l">
            <a:buChar char="•"/>
          </a:pPr>
          <a:r>
            <a:rPr lang="en-GB" sz="1100" dirty="0">
              <a:latin typeface="Calibri" panose="020F0502020204030204"/>
              <a:ea typeface="+mn-ea"/>
              <a:cs typeface="+mn-cs"/>
            </a:rPr>
            <a:t>Strategic</a:t>
          </a:r>
          <a:r>
            <a:rPr lang="en-ZA" sz="1100" dirty="0">
              <a:latin typeface="Calibri" panose="020F0502020204030204"/>
              <a:ea typeface="+mn-ea"/>
              <a:cs typeface="+mn-cs"/>
            </a:rPr>
            <a:t> partnerships are imperative to the success and sustainability of the company and the NHFC aims to achieve developmental impact through targeted strategic partnerships</a:t>
          </a:r>
        </a:p>
      </dgm:t>
    </dgm:pt>
    <dgm:pt modelId="{175F3832-0A83-476B-90B0-A89C0E549763}" type="parTrans" cxnId="{81EDBFA4-6D46-495E-95A2-C5F7865EC648}">
      <dgm:prSet/>
      <dgm:spPr/>
      <dgm:t>
        <a:bodyPr/>
        <a:lstStyle/>
        <a:p>
          <a:endParaRPr lang="en-ZA"/>
        </a:p>
      </dgm:t>
    </dgm:pt>
    <dgm:pt modelId="{FF2ABD46-14AE-44EA-8728-52FDF8B02382}" type="sibTrans" cxnId="{81EDBFA4-6D46-495E-95A2-C5F7865EC648}">
      <dgm:prSet/>
      <dgm:spPr/>
      <dgm:t>
        <a:bodyPr/>
        <a:lstStyle/>
        <a:p>
          <a:endParaRPr lang="en-ZA"/>
        </a:p>
      </dgm:t>
    </dgm:pt>
    <dgm:pt modelId="{856B02CE-2F9A-4D56-8646-0BB3F06472F9}">
      <dgm:prSet phldrT="[Text]" custT="1"/>
      <dgm:spPr>
        <a:xfrm>
          <a:off x="0" y="1629787"/>
          <a:ext cx="5819775" cy="931500"/>
        </a:xfrm>
      </dgm:spPr>
      <dgm:t>
        <a:bodyPr/>
        <a:lstStyle/>
        <a:p>
          <a:pPr algn="just">
            <a:buChar char="•"/>
          </a:pPr>
          <a:r>
            <a:rPr lang="en-ZA" sz="1100" dirty="0">
              <a:latin typeface="Calibri" panose="020F0502020204030204"/>
              <a:ea typeface="+mn-ea"/>
              <a:cs typeface="+mn-cs"/>
            </a:rPr>
            <a:t>Partnership Strategy would further enhance their ability to achieve their objectives</a:t>
          </a:r>
        </a:p>
      </dgm:t>
    </dgm:pt>
    <dgm:pt modelId="{E8A370FF-276A-4355-B646-E869428E7F6D}" type="parTrans" cxnId="{DE94439D-C426-47CA-AA63-3898CF752B6C}">
      <dgm:prSet/>
      <dgm:spPr/>
      <dgm:t>
        <a:bodyPr/>
        <a:lstStyle/>
        <a:p>
          <a:endParaRPr lang="en-ZA"/>
        </a:p>
      </dgm:t>
    </dgm:pt>
    <dgm:pt modelId="{B9C57F0F-B1CF-4525-8C61-E0365E9AAD90}" type="sibTrans" cxnId="{DE94439D-C426-47CA-AA63-3898CF752B6C}">
      <dgm:prSet/>
      <dgm:spPr/>
      <dgm:t>
        <a:bodyPr/>
        <a:lstStyle/>
        <a:p>
          <a:endParaRPr lang="en-ZA"/>
        </a:p>
      </dgm:t>
    </dgm:pt>
    <dgm:pt modelId="{9F55DA71-7D49-4573-8F54-6F0646BEB61B}">
      <dgm:prSet phldrT="[Text]" custT="1"/>
      <dgm:spPr>
        <a:xfrm>
          <a:off x="0" y="4336537"/>
          <a:ext cx="5819775" cy="1397250"/>
        </a:xfrm>
      </dgm:spPr>
      <dgm:t>
        <a:bodyPr/>
        <a:lstStyle/>
        <a:p>
          <a:pPr>
            <a:buFont typeface="Arial" panose="020B0604020202020204" pitchFamily="34" charset="0"/>
            <a:buChar char="•"/>
          </a:pPr>
          <a:endParaRPr lang="en-ZA" sz="1100" dirty="0">
            <a:latin typeface="Calibri" panose="020F0502020204030204"/>
            <a:ea typeface="+mn-ea"/>
            <a:cs typeface="+mn-cs"/>
          </a:endParaRPr>
        </a:p>
      </dgm:t>
    </dgm:pt>
    <dgm:pt modelId="{63E3A611-C3E1-40F5-9E4F-91E0DC264E51}" type="parTrans" cxnId="{C1AD1D33-80FD-43D4-AB9E-61080DF9BBAE}">
      <dgm:prSet/>
      <dgm:spPr/>
      <dgm:t>
        <a:bodyPr/>
        <a:lstStyle/>
        <a:p>
          <a:endParaRPr lang="en-ZA"/>
        </a:p>
      </dgm:t>
    </dgm:pt>
    <dgm:pt modelId="{8E03A8DF-2B1C-4D99-9131-ED73FFC10B96}" type="sibTrans" cxnId="{C1AD1D33-80FD-43D4-AB9E-61080DF9BBAE}">
      <dgm:prSet/>
      <dgm:spPr/>
      <dgm:t>
        <a:bodyPr/>
        <a:lstStyle/>
        <a:p>
          <a:endParaRPr lang="en-ZA"/>
        </a:p>
      </dgm:t>
    </dgm:pt>
    <dgm:pt modelId="{68B0B55B-7421-4AB2-9762-C10F6EDC2309}">
      <dgm:prSet custT="1"/>
      <dgm:spPr/>
      <dgm:t>
        <a:bodyPr/>
        <a:lstStyle/>
        <a:p>
          <a:pPr>
            <a:buNone/>
          </a:pPr>
          <a:r>
            <a:rPr lang="en-US" sz="1100" b="0" dirty="0">
              <a:latin typeface="Calibri" panose="020F0502020204030204"/>
              <a:ea typeface="+mn-ea"/>
              <a:cs typeface="+mn-cs"/>
            </a:rPr>
            <a:t>NHFC has knowledge and existing partnerships and stakeholder relationships which will stand it in good stead to achieve its objectives and maximize development impact</a:t>
          </a:r>
          <a:endParaRPr lang="en-ZA" sz="1100" b="0" dirty="0">
            <a:latin typeface="Calibri" panose="020F0502020204030204"/>
            <a:ea typeface="+mn-ea"/>
            <a:cs typeface="+mn-cs"/>
          </a:endParaRPr>
        </a:p>
      </dgm:t>
    </dgm:pt>
    <dgm:pt modelId="{AC5E0779-EC5D-44C7-B8AD-7785E928EE91}" type="parTrans" cxnId="{1A96BE14-CDDE-4353-9CA1-359F7507FAB5}">
      <dgm:prSet/>
      <dgm:spPr/>
      <dgm:t>
        <a:bodyPr/>
        <a:lstStyle/>
        <a:p>
          <a:endParaRPr lang="en-ZA"/>
        </a:p>
      </dgm:t>
    </dgm:pt>
    <dgm:pt modelId="{98F0B19B-38C7-4C01-B6D4-5D9FC999BB19}" type="sibTrans" cxnId="{1A96BE14-CDDE-4353-9CA1-359F7507FAB5}">
      <dgm:prSet/>
      <dgm:spPr/>
      <dgm:t>
        <a:bodyPr/>
        <a:lstStyle/>
        <a:p>
          <a:endParaRPr lang="en-ZA"/>
        </a:p>
      </dgm:t>
    </dgm:pt>
    <dgm:pt modelId="{BEEF050F-46EA-4817-A1EA-83EC702CA4EA}">
      <dgm:prSet custT="1"/>
      <dgm:spPr/>
      <dgm:t>
        <a:bodyPr/>
        <a:lstStyle/>
        <a:p>
          <a:pPr>
            <a:buNone/>
          </a:pPr>
          <a:r>
            <a:rPr lang="en-US" sz="1100" b="0" dirty="0">
              <a:latin typeface="Calibri" panose="020F0502020204030204"/>
              <a:ea typeface="+mn-ea"/>
              <a:cs typeface="+mn-cs"/>
            </a:rPr>
            <a:t>However, there are numerous weaknesses in terms of its processes and operations which have been highly manual and are in the process of being automated in order to achieve sustainability and continuity </a:t>
          </a:r>
        </a:p>
      </dgm:t>
    </dgm:pt>
    <dgm:pt modelId="{20B4DB73-1A2A-40FC-B7B6-EACB78AD3BBC}" type="parTrans" cxnId="{1FB7D8D6-3F14-454B-B751-CD9D831EF2BF}">
      <dgm:prSet/>
      <dgm:spPr/>
      <dgm:t>
        <a:bodyPr/>
        <a:lstStyle/>
        <a:p>
          <a:endParaRPr lang="en-ZA"/>
        </a:p>
      </dgm:t>
    </dgm:pt>
    <dgm:pt modelId="{57A477BF-C608-467A-9F20-875ADB356A97}" type="sibTrans" cxnId="{1FB7D8D6-3F14-454B-B751-CD9D831EF2BF}">
      <dgm:prSet/>
      <dgm:spPr/>
      <dgm:t>
        <a:bodyPr/>
        <a:lstStyle/>
        <a:p>
          <a:endParaRPr lang="en-ZA"/>
        </a:p>
      </dgm:t>
    </dgm:pt>
    <dgm:pt modelId="{3815403E-7A0D-4F1A-BD15-4084312741F3}">
      <dgm:prSet custT="1"/>
      <dgm:spPr/>
      <dgm:t>
        <a:bodyPr/>
        <a:lstStyle/>
        <a:p>
          <a:pPr>
            <a:buNone/>
          </a:pPr>
          <a:r>
            <a:rPr lang="en-US" sz="1100" b="0" dirty="0">
              <a:latin typeface="Calibri" panose="020F0502020204030204"/>
              <a:ea typeface="+mn-ea"/>
              <a:cs typeface="+mn-cs"/>
            </a:rPr>
            <a:t>Change management is still critical as the entity is in its infancy post consolidation. Procedures for change management are being reviewed to ensure a cohesive entity</a:t>
          </a:r>
        </a:p>
      </dgm:t>
    </dgm:pt>
    <dgm:pt modelId="{762C3593-E087-4123-A5F9-A4C23AB7350D}" type="parTrans" cxnId="{2F1054BE-4928-4E2B-8BC5-DF06C49F2BCF}">
      <dgm:prSet/>
      <dgm:spPr/>
      <dgm:t>
        <a:bodyPr/>
        <a:lstStyle/>
        <a:p>
          <a:endParaRPr lang="en-ZA"/>
        </a:p>
      </dgm:t>
    </dgm:pt>
    <dgm:pt modelId="{C3843B3F-438F-4F0A-ACE5-DBD43C1C8D42}" type="sibTrans" cxnId="{2F1054BE-4928-4E2B-8BC5-DF06C49F2BCF}">
      <dgm:prSet/>
      <dgm:spPr/>
      <dgm:t>
        <a:bodyPr/>
        <a:lstStyle/>
        <a:p>
          <a:endParaRPr lang="en-ZA"/>
        </a:p>
      </dgm:t>
    </dgm:pt>
    <dgm:pt modelId="{AF2490E8-E681-4B20-846F-51E03B8B6919}">
      <dgm:prSet custT="1"/>
      <dgm:spPr/>
      <dgm:t>
        <a:bodyPr/>
        <a:lstStyle/>
        <a:p>
          <a:pPr>
            <a:buNone/>
          </a:pPr>
          <a:r>
            <a:rPr lang="en-US" sz="1100" b="0" dirty="0">
              <a:latin typeface="Calibri" panose="020F0502020204030204"/>
              <a:ea typeface="+mn-ea"/>
              <a:cs typeface="+mn-cs"/>
            </a:rPr>
            <a:t>The weaknesses and the economic situation present many opportunities for NHFC to play a pivotal role in the human settlements value chain and maximize its development impact whilst remaining sustainable, if addressed and target appropriately</a:t>
          </a:r>
          <a:endParaRPr lang="en-ZA" sz="1100" b="0" dirty="0">
            <a:latin typeface="Calibri" panose="020F0502020204030204"/>
            <a:ea typeface="+mn-ea"/>
            <a:cs typeface="+mn-cs"/>
          </a:endParaRPr>
        </a:p>
      </dgm:t>
    </dgm:pt>
    <dgm:pt modelId="{9395BD99-6932-4197-8EF1-4D8E343012BF}" type="parTrans" cxnId="{A94F8360-B861-466E-B1B1-8B98DF5B69B1}">
      <dgm:prSet/>
      <dgm:spPr/>
      <dgm:t>
        <a:bodyPr/>
        <a:lstStyle/>
        <a:p>
          <a:endParaRPr lang="en-ZA"/>
        </a:p>
      </dgm:t>
    </dgm:pt>
    <dgm:pt modelId="{A81D0AC9-709E-43AF-8440-C5A9B5F0DE45}" type="sibTrans" cxnId="{A94F8360-B861-466E-B1B1-8B98DF5B69B1}">
      <dgm:prSet/>
      <dgm:spPr/>
      <dgm:t>
        <a:bodyPr/>
        <a:lstStyle/>
        <a:p>
          <a:endParaRPr lang="en-ZA"/>
        </a:p>
      </dgm:t>
    </dgm:pt>
    <dgm:pt modelId="{305C1813-32F7-42F5-82FD-7DF2C21B8344}">
      <dgm:prSet phldrT="[Text]" custT="1"/>
      <dgm:spPr>
        <a:xfrm>
          <a:off x="0" y="3122887"/>
          <a:ext cx="5819775" cy="652050"/>
        </a:xfrm>
      </dgm:spPr>
      <dgm:t>
        <a:bodyPr/>
        <a:lstStyle/>
        <a:p>
          <a:pPr>
            <a:buChar char="•"/>
          </a:pPr>
          <a:r>
            <a:rPr lang="en-ZA" sz="1100" b="0" dirty="0">
              <a:latin typeface="Calibri" panose="020F0502020204030204"/>
              <a:ea typeface="+mn-ea"/>
              <a:cs typeface="+mn-cs"/>
            </a:rPr>
            <a:t>The Group's balance sheet shows capacity to leverage with a low debt to equity ratio. </a:t>
          </a:r>
          <a:endParaRPr lang="en-ZA" sz="1100" dirty="0">
            <a:latin typeface="Calibri" panose="020F0502020204030204"/>
            <a:ea typeface="+mn-ea"/>
            <a:cs typeface="+mn-cs"/>
          </a:endParaRPr>
        </a:p>
      </dgm:t>
    </dgm:pt>
    <dgm:pt modelId="{FECABF99-1046-4C77-9F32-5C2CA461ACA5}" type="parTrans" cxnId="{E963C5BC-EF7E-4815-9914-3848B2BFB816}">
      <dgm:prSet/>
      <dgm:spPr/>
      <dgm:t>
        <a:bodyPr/>
        <a:lstStyle/>
        <a:p>
          <a:endParaRPr lang="en-ZA"/>
        </a:p>
      </dgm:t>
    </dgm:pt>
    <dgm:pt modelId="{794125BC-E318-4897-A02A-8A8C560BE3C1}" type="sibTrans" cxnId="{E963C5BC-EF7E-4815-9914-3848B2BFB816}">
      <dgm:prSet/>
      <dgm:spPr/>
      <dgm:t>
        <a:bodyPr/>
        <a:lstStyle/>
        <a:p>
          <a:endParaRPr lang="en-ZA"/>
        </a:p>
      </dgm:t>
    </dgm:pt>
    <dgm:pt modelId="{553A63C7-6629-48D3-89B2-6B284AE698E3}">
      <dgm:prSet custT="1"/>
      <dgm:spPr/>
      <dgm:t>
        <a:bodyPr/>
        <a:lstStyle/>
        <a:p>
          <a:pPr>
            <a:buNone/>
          </a:pPr>
          <a:r>
            <a:rPr lang="en-ZA" sz="1100" b="0" dirty="0">
              <a:latin typeface="Calibri" panose="020F0502020204030204"/>
              <a:ea typeface="+mn-ea"/>
              <a:cs typeface="+mn-cs"/>
            </a:rPr>
            <a:t>There is clearly demand for the product offerings as the loans and advances balances continue increasing</a:t>
          </a:r>
        </a:p>
      </dgm:t>
    </dgm:pt>
    <dgm:pt modelId="{04569150-751A-4A2D-887B-136D8718AF44}" type="parTrans" cxnId="{976B48FB-2F76-4FC0-BB38-626BE3D8D8EF}">
      <dgm:prSet/>
      <dgm:spPr/>
      <dgm:t>
        <a:bodyPr/>
        <a:lstStyle/>
        <a:p>
          <a:endParaRPr lang="en-ZA"/>
        </a:p>
      </dgm:t>
    </dgm:pt>
    <dgm:pt modelId="{621B7E55-0366-4679-914F-E29FE3569AE5}" type="sibTrans" cxnId="{976B48FB-2F76-4FC0-BB38-626BE3D8D8EF}">
      <dgm:prSet/>
      <dgm:spPr/>
      <dgm:t>
        <a:bodyPr/>
        <a:lstStyle/>
        <a:p>
          <a:endParaRPr lang="en-ZA"/>
        </a:p>
      </dgm:t>
    </dgm:pt>
    <dgm:pt modelId="{2F412FDF-6C90-4B8C-B4EB-0D22096D767D}">
      <dgm:prSet custT="1"/>
      <dgm:spPr/>
      <dgm:t>
        <a:bodyPr/>
        <a:lstStyle/>
        <a:p>
          <a:pPr>
            <a:buNone/>
          </a:pPr>
          <a:r>
            <a:rPr lang="en-US" sz="1100" b="0" dirty="0">
              <a:latin typeface="Calibri" panose="020F0502020204030204"/>
              <a:ea typeface="+mn-ea"/>
              <a:cs typeface="+mn-cs"/>
            </a:rPr>
            <a:t>The entity continues to monitor its cost to income ratio which needs to be addressed to ensure financial sustainability</a:t>
          </a:r>
          <a:endParaRPr lang="en-ZA" sz="1100" b="0" dirty="0">
            <a:latin typeface="Calibri" panose="020F0502020204030204"/>
            <a:ea typeface="+mn-ea"/>
            <a:cs typeface="+mn-cs"/>
          </a:endParaRPr>
        </a:p>
      </dgm:t>
    </dgm:pt>
    <dgm:pt modelId="{36935E95-EB57-43C5-8334-F43824182A43}" type="parTrans" cxnId="{DF5EF9D1-D5AE-47AA-BC5B-A36BB32CBB7C}">
      <dgm:prSet/>
      <dgm:spPr/>
      <dgm:t>
        <a:bodyPr/>
        <a:lstStyle/>
        <a:p>
          <a:endParaRPr lang="en-ZA"/>
        </a:p>
      </dgm:t>
    </dgm:pt>
    <dgm:pt modelId="{CAB64539-2598-436F-9CAA-4AB0DC20BD42}" type="sibTrans" cxnId="{DF5EF9D1-D5AE-47AA-BC5B-A36BB32CBB7C}">
      <dgm:prSet/>
      <dgm:spPr/>
      <dgm:t>
        <a:bodyPr/>
        <a:lstStyle/>
        <a:p>
          <a:endParaRPr lang="en-ZA"/>
        </a:p>
      </dgm:t>
    </dgm:pt>
    <dgm:pt modelId="{8545D631-FD34-4706-A36C-84E61D7A6299}" type="pres">
      <dgm:prSet presAssocID="{2E019380-ADC8-49ED-8ED3-AE5C1C0042E8}" presName="linear" presStyleCnt="0">
        <dgm:presLayoutVars>
          <dgm:dir/>
          <dgm:animLvl val="lvl"/>
          <dgm:resizeHandles val="exact"/>
        </dgm:presLayoutVars>
      </dgm:prSet>
      <dgm:spPr/>
      <dgm:t>
        <a:bodyPr/>
        <a:lstStyle/>
        <a:p>
          <a:endParaRPr lang="en-US"/>
        </a:p>
      </dgm:t>
    </dgm:pt>
    <dgm:pt modelId="{810A72E8-8905-4611-93F5-E297A8BA6C86}" type="pres">
      <dgm:prSet presAssocID="{0BD63882-4B0F-473C-A87F-F232DEF67342}" presName="parentLin" presStyleCnt="0"/>
      <dgm:spPr/>
    </dgm:pt>
    <dgm:pt modelId="{4904707A-5517-4C40-880F-6C8772A3A28B}" type="pres">
      <dgm:prSet presAssocID="{0BD63882-4B0F-473C-A87F-F232DEF67342}" presName="parentLeftMargin" presStyleLbl="node1" presStyleIdx="0" presStyleCnt="4"/>
      <dgm:spPr/>
      <dgm:t>
        <a:bodyPr/>
        <a:lstStyle/>
        <a:p>
          <a:endParaRPr lang="en-US"/>
        </a:p>
      </dgm:t>
    </dgm:pt>
    <dgm:pt modelId="{F598F2CE-8F62-4454-AF99-D34BC3D743A0}" type="pres">
      <dgm:prSet presAssocID="{0BD63882-4B0F-473C-A87F-F232DEF67342}" presName="parentText" presStyleLbl="node1" presStyleIdx="0" presStyleCnt="4" custScaleX="107658">
        <dgm:presLayoutVars>
          <dgm:chMax val="0"/>
          <dgm:bulletEnabled val="1"/>
        </dgm:presLayoutVars>
      </dgm:prSet>
      <dgm:spPr/>
      <dgm:t>
        <a:bodyPr/>
        <a:lstStyle/>
        <a:p>
          <a:endParaRPr lang="en-US"/>
        </a:p>
      </dgm:t>
    </dgm:pt>
    <dgm:pt modelId="{66222656-B340-494A-9BDA-AB0C54CE0C60}" type="pres">
      <dgm:prSet presAssocID="{0BD63882-4B0F-473C-A87F-F232DEF67342}" presName="negativeSpace" presStyleCnt="0"/>
      <dgm:spPr/>
    </dgm:pt>
    <dgm:pt modelId="{74E4CB29-C9B9-4CC3-B6A4-4643094873FA}" type="pres">
      <dgm:prSet presAssocID="{0BD63882-4B0F-473C-A87F-F232DEF67342}" presName="childText" presStyleLbl="conFgAcc1" presStyleIdx="0" presStyleCnt="4">
        <dgm:presLayoutVars>
          <dgm:bulletEnabled val="1"/>
        </dgm:presLayoutVars>
      </dgm:prSet>
      <dgm:spPr/>
      <dgm:t>
        <a:bodyPr/>
        <a:lstStyle/>
        <a:p>
          <a:endParaRPr lang="en-US"/>
        </a:p>
      </dgm:t>
    </dgm:pt>
    <dgm:pt modelId="{9AC2C970-C00E-4681-B90D-08F2DF322C6F}" type="pres">
      <dgm:prSet presAssocID="{0600BC89-6E60-46E5-B367-DB7B3927A72F}" presName="spaceBetweenRectangles" presStyleCnt="0"/>
      <dgm:spPr/>
    </dgm:pt>
    <dgm:pt modelId="{1661098F-59BD-4472-A7D3-70B013F78204}" type="pres">
      <dgm:prSet presAssocID="{AF28F056-1634-451B-AD26-F465F2A4756D}" presName="parentLin" presStyleCnt="0"/>
      <dgm:spPr/>
    </dgm:pt>
    <dgm:pt modelId="{175DC224-FC2F-4A51-889F-D3C4A28CF656}" type="pres">
      <dgm:prSet presAssocID="{AF28F056-1634-451B-AD26-F465F2A4756D}" presName="parentLeftMargin" presStyleLbl="node1" presStyleIdx="0" presStyleCnt="4"/>
      <dgm:spPr/>
      <dgm:t>
        <a:bodyPr/>
        <a:lstStyle/>
        <a:p>
          <a:endParaRPr lang="en-US"/>
        </a:p>
      </dgm:t>
    </dgm:pt>
    <dgm:pt modelId="{4ED081EB-FA82-451F-856F-26E0C9872F3C}" type="pres">
      <dgm:prSet presAssocID="{AF28F056-1634-451B-AD26-F465F2A4756D}" presName="parentText" presStyleLbl="node1" presStyleIdx="1" presStyleCnt="4" custScaleX="107658">
        <dgm:presLayoutVars>
          <dgm:chMax val="0"/>
          <dgm:bulletEnabled val="1"/>
        </dgm:presLayoutVars>
      </dgm:prSet>
      <dgm:spPr/>
      <dgm:t>
        <a:bodyPr/>
        <a:lstStyle/>
        <a:p>
          <a:endParaRPr lang="en-US"/>
        </a:p>
      </dgm:t>
    </dgm:pt>
    <dgm:pt modelId="{328AAE20-3A41-402D-A397-3DD7672B1FB4}" type="pres">
      <dgm:prSet presAssocID="{AF28F056-1634-451B-AD26-F465F2A4756D}" presName="negativeSpace" presStyleCnt="0"/>
      <dgm:spPr/>
    </dgm:pt>
    <dgm:pt modelId="{A2FC661B-5B6F-4AC4-9E21-1F6B642B7A15}" type="pres">
      <dgm:prSet presAssocID="{AF28F056-1634-451B-AD26-F465F2A4756D}" presName="childText" presStyleLbl="conFgAcc1" presStyleIdx="1" presStyleCnt="4">
        <dgm:presLayoutVars>
          <dgm:bulletEnabled val="1"/>
        </dgm:presLayoutVars>
      </dgm:prSet>
      <dgm:spPr/>
      <dgm:t>
        <a:bodyPr/>
        <a:lstStyle/>
        <a:p>
          <a:endParaRPr lang="en-US"/>
        </a:p>
      </dgm:t>
    </dgm:pt>
    <dgm:pt modelId="{7229CC29-69A9-42EF-8D90-1114EBDC55C1}" type="pres">
      <dgm:prSet presAssocID="{743B4BB0-EE8D-49D6-A9C9-64CD7D92A680}" presName="spaceBetweenRectangles" presStyleCnt="0"/>
      <dgm:spPr/>
    </dgm:pt>
    <dgm:pt modelId="{6080D933-B612-496B-BAC6-38EC226CCA15}" type="pres">
      <dgm:prSet presAssocID="{F7BEA67D-FE33-4714-A8DD-70C6856D5108}" presName="parentLin" presStyleCnt="0"/>
      <dgm:spPr/>
    </dgm:pt>
    <dgm:pt modelId="{B98FF902-BDDD-4175-889E-27453E822B9C}" type="pres">
      <dgm:prSet presAssocID="{F7BEA67D-FE33-4714-A8DD-70C6856D5108}" presName="parentLeftMargin" presStyleLbl="node1" presStyleIdx="1" presStyleCnt="4"/>
      <dgm:spPr/>
      <dgm:t>
        <a:bodyPr/>
        <a:lstStyle/>
        <a:p>
          <a:endParaRPr lang="en-US"/>
        </a:p>
      </dgm:t>
    </dgm:pt>
    <dgm:pt modelId="{252F28AA-155B-47D5-80D6-8E1603562039}" type="pres">
      <dgm:prSet presAssocID="{F7BEA67D-FE33-4714-A8DD-70C6856D5108}" presName="parentText" presStyleLbl="node1" presStyleIdx="2" presStyleCnt="4" custScaleX="107658">
        <dgm:presLayoutVars>
          <dgm:chMax val="0"/>
          <dgm:bulletEnabled val="1"/>
        </dgm:presLayoutVars>
      </dgm:prSet>
      <dgm:spPr/>
      <dgm:t>
        <a:bodyPr/>
        <a:lstStyle/>
        <a:p>
          <a:endParaRPr lang="en-US"/>
        </a:p>
      </dgm:t>
    </dgm:pt>
    <dgm:pt modelId="{AEFC013D-E13B-4572-A2B7-6BC162A1F9AD}" type="pres">
      <dgm:prSet presAssocID="{F7BEA67D-FE33-4714-A8DD-70C6856D5108}" presName="negativeSpace" presStyleCnt="0"/>
      <dgm:spPr/>
    </dgm:pt>
    <dgm:pt modelId="{0FB8D866-3843-4585-85C9-6AC582F2B428}" type="pres">
      <dgm:prSet presAssocID="{F7BEA67D-FE33-4714-A8DD-70C6856D5108}" presName="childText" presStyleLbl="conFgAcc1" presStyleIdx="2" presStyleCnt="4">
        <dgm:presLayoutVars>
          <dgm:bulletEnabled val="1"/>
        </dgm:presLayoutVars>
      </dgm:prSet>
      <dgm:spPr/>
      <dgm:t>
        <a:bodyPr/>
        <a:lstStyle/>
        <a:p>
          <a:endParaRPr lang="en-US"/>
        </a:p>
      </dgm:t>
    </dgm:pt>
    <dgm:pt modelId="{861E3F50-C465-4B86-B6A1-02DFB692C072}" type="pres">
      <dgm:prSet presAssocID="{9F9E6E27-1377-4E9F-90BF-B61F4D047F1C}" presName="spaceBetweenRectangles" presStyleCnt="0"/>
      <dgm:spPr/>
    </dgm:pt>
    <dgm:pt modelId="{1C36E568-7D97-42DD-81A2-BD10A0DC9BB3}" type="pres">
      <dgm:prSet presAssocID="{64B6B41F-EB62-4A0F-B912-DFD28E644BE6}" presName="parentLin" presStyleCnt="0"/>
      <dgm:spPr/>
    </dgm:pt>
    <dgm:pt modelId="{5F82A31C-89B9-4BE5-9CBE-95C4F2B75C89}" type="pres">
      <dgm:prSet presAssocID="{64B6B41F-EB62-4A0F-B912-DFD28E644BE6}" presName="parentLeftMargin" presStyleLbl="node1" presStyleIdx="2" presStyleCnt="4"/>
      <dgm:spPr/>
      <dgm:t>
        <a:bodyPr/>
        <a:lstStyle/>
        <a:p>
          <a:endParaRPr lang="en-US"/>
        </a:p>
      </dgm:t>
    </dgm:pt>
    <dgm:pt modelId="{968AA161-D88A-4017-8C98-29D21EAB6AB6}" type="pres">
      <dgm:prSet presAssocID="{64B6B41F-EB62-4A0F-B912-DFD28E644BE6}" presName="parentText" presStyleLbl="node1" presStyleIdx="3" presStyleCnt="4" custScaleX="107658">
        <dgm:presLayoutVars>
          <dgm:chMax val="0"/>
          <dgm:bulletEnabled val="1"/>
        </dgm:presLayoutVars>
      </dgm:prSet>
      <dgm:spPr/>
      <dgm:t>
        <a:bodyPr/>
        <a:lstStyle/>
        <a:p>
          <a:endParaRPr lang="en-US"/>
        </a:p>
      </dgm:t>
    </dgm:pt>
    <dgm:pt modelId="{83741271-E0F9-4611-9BDA-E0798212CB61}" type="pres">
      <dgm:prSet presAssocID="{64B6B41F-EB62-4A0F-B912-DFD28E644BE6}" presName="negativeSpace" presStyleCnt="0"/>
      <dgm:spPr/>
    </dgm:pt>
    <dgm:pt modelId="{76274C5A-1554-4016-B3F5-16BE0198B102}" type="pres">
      <dgm:prSet presAssocID="{64B6B41F-EB62-4A0F-B912-DFD28E644BE6}" presName="childText" presStyleLbl="conFgAcc1" presStyleIdx="3" presStyleCnt="4">
        <dgm:presLayoutVars>
          <dgm:bulletEnabled val="1"/>
        </dgm:presLayoutVars>
      </dgm:prSet>
      <dgm:spPr/>
      <dgm:t>
        <a:bodyPr/>
        <a:lstStyle/>
        <a:p>
          <a:endParaRPr lang="en-US"/>
        </a:p>
      </dgm:t>
    </dgm:pt>
  </dgm:ptLst>
  <dgm:cxnLst>
    <dgm:cxn modelId="{EBF9D18D-7F88-4174-8564-E8686B536123}" type="presOf" srcId="{AF28F056-1634-451B-AD26-F465F2A4756D}" destId="{175DC224-FC2F-4A51-889F-D3C4A28CF656}" srcOrd="0" destOrd="0" presId="urn:microsoft.com/office/officeart/2005/8/layout/list1"/>
    <dgm:cxn modelId="{E963C5BC-EF7E-4815-9914-3848B2BFB816}" srcId="{F7BEA67D-FE33-4714-A8DD-70C6856D5108}" destId="{305C1813-32F7-42F5-82FD-7DF2C21B8344}" srcOrd="1" destOrd="0" parTransId="{FECABF99-1046-4C77-9F32-5C2CA461ACA5}" sibTransId="{794125BC-E318-4897-A02A-8A8C560BE3C1}"/>
    <dgm:cxn modelId="{1E591803-6D5A-4987-827C-4D5D80447F2F}" type="presOf" srcId="{AF2490E8-E681-4B20-846F-51E03B8B6919}" destId="{76274C5A-1554-4016-B3F5-16BE0198B102}" srcOrd="0" destOrd="4" presId="urn:microsoft.com/office/officeart/2005/8/layout/list1"/>
    <dgm:cxn modelId="{B85CAFD4-4DFC-4BEB-8100-60BBD694914F}" type="presOf" srcId="{F7BEA67D-FE33-4714-A8DD-70C6856D5108}" destId="{252F28AA-155B-47D5-80D6-8E1603562039}" srcOrd="1" destOrd="0" presId="urn:microsoft.com/office/officeart/2005/8/layout/list1"/>
    <dgm:cxn modelId="{5C2DF795-6AF3-44AB-AD05-AAB3E9747491}" srcId="{0BD63882-4B0F-473C-A87F-F232DEF67342}" destId="{7C9B4A8D-577C-4779-91A5-3E41EC78D04D}" srcOrd="2" destOrd="0" parTransId="{EE489447-7C18-4673-9AD7-13A96C725A4A}" sibTransId="{40B68D11-1D4F-42D2-969B-560DBB292C7F}"/>
    <dgm:cxn modelId="{6425E143-D743-4531-B292-BB836D675C21}" type="presOf" srcId="{AF28F056-1634-451B-AD26-F465F2A4756D}" destId="{4ED081EB-FA82-451F-856F-26E0C9872F3C}" srcOrd="1" destOrd="0" presId="urn:microsoft.com/office/officeart/2005/8/layout/list1"/>
    <dgm:cxn modelId="{1E3366CB-ED78-43D7-AC40-8157D280F04A}" srcId="{AF28F056-1634-451B-AD26-F465F2A4756D}" destId="{C90B7CD7-2CAA-4B70-AA95-0D82AC9E437C}" srcOrd="1" destOrd="0" parTransId="{45224B05-01E9-4296-ABA9-8343E057B2C8}" sibTransId="{BE2DDF30-D494-414B-A10C-FB9AD745B923}"/>
    <dgm:cxn modelId="{F4EA36C1-54AC-48D1-9EC7-9264BE551DCD}" type="presOf" srcId="{5F938721-F338-4A04-A9ED-C50D15000CAC}" destId="{76274C5A-1554-4016-B3F5-16BE0198B102}" srcOrd="0" destOrd="0" presId="urn:microsoft.com/office/officeart/2005/8/layout/list1"/>
    <dgm:cxn modelId="{DF5EF9D1-D5AE-47AA-BC5B-A36BB32CBB7C}" srcId="{F7BEA67D-FE33-4714-A8DD-70C6856D5108}" destId="{2F412FDF-6C90-4B8C-B4EB-0D22096D767D}" srcOrd="3" destOrd="0" parTransId="{36935E95-EB57-43C5-8334-F43824182A43}" sibTransId="{CAB64539-2598-436F-9CAA-4AB0DC20BD42}"/>
    <dgm:cxn modelId="{4B426969-923B-45BC-99D2-9AC2ACEB2FD7}" type="presOf" srcId="{BF398E30-C126-4458-A733-39A5BD05D1D7}" destId="{A2FC661B-5B6F-4AC4-9E21-1F6B642B7A15}" srcOrd="0" destOrd="0" presId="urn:microsoft.com/office/officeart/2005/8/layout/list1"/>
    <dgm:cxn modelId="{7E86FF09-4ACA-442E-B9ED-14AD9CA9EB52}" type="presOf" srcId="{553A63C7-6629-48D3-89B2-6B284AE698E3}" destId="{0FB8D866-3843-4585-85C9-6AC582F2B428}" srcOrd="0" destOrd="2" presId="urn:microsoft.com/office/officeart/2005/8/layout/list1"/>
    <dgm:cxn modelId="{5C96B3E7-5003-48E9-A265-E421AB8443D4}" srcId="{0BD63882-4B0F-473C-A87F-F232DEF67342}" destId="{52F28F30-D639-46D0-8FAC-A4472D9CA4F5}" srcOrd="1" destOrd="0" parTransId="{A43C1790-6F58-487C-97A5-A9A894128DE4}" sibTransId="{D1360DAD-1A5E-4D20-852D-7265B55F1031}"/>
    <dgm:cxn modelId="{E7219407-E94C-4AB3-9F47-69D67CAE2FF4}" srcId="{0BD63882-4B0F-473C-A87F-F232DEF67342}" destId="{2E07A31D-13F3-4505-AA30-4E72C1A9BF9D}" srcOrd="3" destOrd="0" parTransId="{DDDAF6B3-8EF9-488B-9C25-B221C03120CE}" sibTransId="{C4068EF1-EB82-41DE-9A35-A32315F7892A}"/>
    <dgm:cxn modelId="{A94F8360-B861-466E-B1B1-8B98DF5B69B1}" srcId="{64B6B41F-EB62-4A0F-B912-DFD28E644BE6}" destId="{AF2490E8-E681-4B20-846F-51E03B8B6919}" srcOrd="4" destOrd="0" parTransId="{9395BD99-6932-4197-8EF1-4D8E343012BF}" sibTransId="{A81D0AC9-709E-43AF-8440-C5A9B5F0DE45}"/>
    <dgm:cxn modelId="{1D4E0096-371B-4969-8D53-23C31BCCEE30}" type="presOf" srcId="{2F412FDF-6C90-4B8C-B4EB-0D22096D767D}" destId="{0FB8D866-3843-4585-85C9-6AC582F2B428}" srcOrd="0" destOrd="3" presId="urn:microsoft.com/office/officeart/2005/8/layout/list1"/>
    <dgm:cxn modelId="{74E94D08-9766-4AFC-AB2A-D576369A2E2D}" srcId="{0BD63882-4B0F-473C-A87F-F232DEF67342}" destId="{0AC4CE17-D8D8-43AE-8F9F-DEBB72D1BBE8}" srcOrd="0" destOrd="0" parTransId="{C17B9559-B5BA-4C6C-9BA6-DD79866175E2}" sibTransId="{5F0D71CF-3AA0-4D26-BDEA-28CFF38A9BF5}"/>
    <dgm:cxn modelId="{C1AD1D33-80FD-43D4-AB9E-61080DF9BBAE}" srcId="{64B6B41F-EB62-4A0F-B912-DFD28E644BE6}" destId="{9F55DA71-7D49-4573-8F54-6F0646BEB61B}" srcOrd="5" destOrd="0" parTransId="{63E3A611-C3E1-40F5-9E4F-91E0DC264E51}" sibTransId="{8E03A8DF-2B1C-4D99-9131-ED73FFC10B96}"/>
    <dgm:cxn modelId="{1A96BE14-CDDE-4353-9CA1-359F7507FAB5}" srcId="{64B6B41F-EB62-4A0F-B912-DFD28E644BE6}" destId="{68B0B55B-7421-4AB2-9762-C10F6EDC2309}" srcOrd="1" destOrd="0" parTransId="{AC5E0779-EC5D-44C7-B8AD-7785E928EE91}" sibTransId="{98F0B19B-38C7-4C01-B6D4-5D9FC999BB19}"/>
    <dgm:cxn modelId="{8103937D-8EED-464E-914C-33CBC390B44C}" type="presOf" srcId="{2E07A31D-13F3-4505-AA30-4E72C1A9BF9D}" destId="{74E4CB29-C9B9-4CC3-B6A4-4643094873FA}" srcOrd="0" destOrd="3" presId="urn:microsoft.com/office/officeart/2005/8/layout/list1"/>
    <dgm:cxn modelId="{93905AB3-97B9-4956-80B2-145E8CC20DCA}" type="presOf" srcId="{68B0B55B-7421-4AB2-9762-C10F6EDC2309}" destId="{76274C5A-1554-4016-B3F5-16BE0198B102}" srcOrd="0" destOrd="1" presId="urn:microsoft.com/office/officeart/2005/8/layout/list1"/>
    <dgm:cxn modelId="{398F8A24-56E6-4799-A0A1-D425212F3957}" type="presOf" srcId="{CAD704C8-345B-4651-BA04-707F88A92A7B}" destId="{0FB8D866-3843-4585-85C9-6AC582F2B428}" srcOrd="0" destOrd="0" presId="urn:microsoft.com/office/officeart/2005/8/layout/list1"/>
    <dgm:cxn modelId="{34E92F29-358E-4DE2-AB43-894359012630}" type="presOf" srcId="{305C1813-32F7-42F5-82FD-7DF2C21B8344}" destId="{0FB8D866-3843-4585-85C9-6AC582F2B428}" srcOrd="0" destOrd="1" presId="urn:microsoft.com/office/officeart/2005/8/layout/list1"/>
    <dgm:cxn modelId="{B65D9277-17C1-46D7-A9A1-40A1706B8A64}" type="presOf" srcId="{0BD63882-4B0F-473C-A87F-F232DEF67342}" destId="{4904707A-5517-4C40-880F-6C8772A3A28B}" srcOrd="0" destOrd="0" presId="urn:microsoft.com/office/officeart/2005/8/layout/list1"/>
    <dgm:cxn modelId="{1FB7D8D6-3F14-454B-B751-CD9D831EF2BF}" srcId="{64B6B41F-EB62-4A0F-B912-DFD28E644BE6}" destId="{BEEF050F-46EA-4817-A1EA-83EC702CA4EA}" srcOrd="2" destOrd="0" parTransId="{20B4DB73-1A2A-40FC-B7B6-EACB78AD3BBC}" sibTransId="{57A477BF-C608-467A-9F20-875ADB356A97}"/>
    <dgm:cxn modelId="{BFC30CA0-5987-4249-A107-E39E46F57CD8}" srcId="{AF28F056-1634-451B-AD26-F465F2A4756D}" destId="{BF398E30-C126-4458-A733-39A5BD05D1D7}" srcOrd="0" destOrd="0" parTransId="{5C4A960F-8806-4C30-ABAD-7044FDA8ABB7}" sibTransId="{1078118A-657B-49CB-9908-AA38520918BC}"/>
    <dgm:cxn modelId="{E9CE0407-EC20-468D-B589-D346A687EE96}" type="presOf" srcId="{9F55DA71-7D49-4573-8F54-6F0646BEB61B}" destId="{76274C5A-1554-4016-B3F5-16BE0198B102}" srcOrd="0" destOrd="5" presId="urn:microsoft.com/office/officeart/2005/8/layout/list1"/>
    <dgm:cxn modelId="{5611F47F-7571-4FBA-8A04-1BEE1E45A043}" srcId="{2E019380-ADC8-49ED-8ED3-AE5C1C0042E8}" destId="{64B6B41F-EB62-4A0F-B912-DFD28E644BE6}" srcOrd="3" destOrd="0" parTransId="{BC62C9E2-8E3E-4807-8C2E-DA4CFF1FD50C}" sibTransId="{90F0107A-7563-4CCB-86E5-3392E6D1730A}"/>
    <dgm:cxn modelId="{D0CA2453-9AC1-400F-9786-14EB09E92BE1}" srcId="{0BD63882-4B0F-473C-A87F-F232DEF67342}" destId="{E5BC4D7C-1EBF-4918-9F6B-F88ED9C1667D}" srcOrd="4" destOrd="0" parTransId="{F3CB5437-A28E-412E-A83F-5188F66B8F3B}" sibTransId="{270C3785-C99D-415F-93B9-8AA0BF618552}"/>
    <dgm:cxn modelId="{D21E3EFC-6398-459D-966B-DF31858BF751}" type="presOf" srcId="{52F28F30-D639-46D0-8FAC-A4472D9CA4F5}" destId="{74E4CB29-C9B9-4CC3-B6A4-4643094873FA}" srcOrd="0" destOrd="1" presId="urn:microsoft.com/office/officeart/2005/8/layout/list1"/>
    <dgm:cxn modelId="{2505420A-C30B-4210-AB32-DB19C7582642}" type="presOf" srcId="{64B6B41F-EB62-4A0F-B912-DFD28E644BE6}" destId="{5F82A31C-89B9-4BE5-9CBE-95C4F2B75C89}" srcOrd="0" destOrd="0" presId="urn:microsoft.com/office/officeart/2005/8/layout/list1"/>
    <dgm:cxn modelId="{2F8CE3EC-64E5-4DDB-A2E7-8F84119BB496}" type="presOf" srcId="{7C9B4A8D-577C-4779-91A5-3E41EC78D04D}" destId="{74E4CB29-C9B9-4CC3-B6A4-4643094873FA}" srcOrd="0" destOrd="2" presId="urn:microsoft.com/office/officeart/2005/8/layout/list1"/>
    <dgm:cxn modelId="{F15B5AD8-210F-4B7C-A5B2-1462EE445127}" srcId="{64B6B41F-EB62-4A0F-B912-DFD28E644BE6}" destId="{5F938721-F338-4A04-A9ED-C50D15000CAC}" srcOrd="0" destOrd="0" parTransId="{A7AD8844-AB30-4370-918D-9B11FF5999CC}" sibTransId="{6BA271AB-FD88-4C40-9DB1-D829445E8C40}"/>
    <dgm:cxn modelId="{EC3D1C00-E9B9-4852-BE15-F4A44CE8BF8A}" type="presOf" srcId="{2E019380-ADC8-49ED-8ED3-AE5C1C0042E8}" destId="{8545D631-FD34-4706-A36C-84E61D7A6299}" srcOrd="0" destOrd="0" presId="urn:microsoft.com/office/officeart/2005/8/layout/list1"/>
    <dgm:cxn modelId="{2ACE6E78-2937-4C25-9172-292197AF9CDD}" type="presOf" srcId="{AB5A18AF-8FE0-4683-B80E-8F8E6A2D43D3}" destId="{A2FC661B-5B6F-4AC4-9E21-1F6B642B7A15}" srcOrd="0" destOrd="2" presId="urn:microsoft.com/office/officeart/2005/8/layout/list1"/>
    <dgm:cxn modelId="{0BDB6B4F-E7B7-43FA-AB88-A5F9B89FCF06}" type="presOf" srcId="{0AC4CE17-D8D8-43AE-8F9F-DEBB72D1BBE8}" destId="{74E4CB29-C9B9-4CC3-B6A4-4643094873FA}" srcOrd="0" destOrd="0" presId="urn:microsoft.com/office/officeart/2005/8/layout/list1"/>
    <dgm:cxn modelId="{976B48FB-2F76-4FC0-BB38-626BE3D8D8EF}" srcId="{F7BEA67D-FE33-4714-A8DD-70C6856D5108}" destId="{553A63C7-6629-48D3-89B2-6B284AE698E3}" srcOrd="2" destOrd="0" parTransId="{04569150-751A-4A2D-887B-136D8718AF44}" sibTransId="{621B7E55-0366-4679-914F-E29FE3569AE5}"/>
    <dgm:cxn modelId="{81EDBFA4-6D46-495E-95A2-C5F7865EC648}" srcId="{AF28F056-1634-451B-AD26-F465F2A4756D}" destId="{AB5A18AF-8FE0-4683-B80E-8F8E6A2D43D3}" srcOrd="2" destOrd="0" parTransId="{175F3832-0A83-476B-90B0-A89C0E549763}" sibTransId="{FF2ABD46-14AE-44EA-8728-52FDF8B02382}"/>
    <dgm:cxn modelId="{5DC1E269-C3E5-40E9-BB0E-E61D80218205}" type="presOf" srcId="{C90B7CD7-2CAA-4B70-AA95-0D82AC9E437C}" destId="{A2FC661B-5B6F-4AC4-9E21-1F6B642B7A15}" srcOrd="0" destOrd="1" presId="urn:microsoft.com/office/officeart/2005/8/layout/list1"/>
    <dgm:cxn modelId="{65136F99-1B0C-45E6-BDEC-0FFCAE38C72D}" srcId="{2E019380-ADC8-49ED-8ED3-AE5C1C0042E8}" destId="{F7BEA67D-FE33-4714-A8DD-70C6856D5108}" srcOrd="2" destOrd="0" parTransId="{444D3C20-C4A7-46EA-A4C1-4BF80FFFE305}" sibTransId="{9F9E6E27-1377-4E9F-90BF-B61F4D047F1C}"/>
    <dgm:cxn modelId="{8191962A-EEA2-4DFE-96FE-03241D8AA2C4}" srcId="{2E019380-ADC8-49ED-8ED3-AE5C1C0042E8}" destId="{0BD63882-4B0F-473C-A87F-F232DEF67342}" srcOrd="0" destOrd="0" parTransId="{A143E627-76E5-4E35-99AE-1CF2E5BC9311}" sibTransId="{0600BC89-6E60-46E5-B367-DB7B3927A72F}"/>
    <dgm:cxn modelId="{E2EB2867-BFFE-415F-A00D-C16487087CBF}" type="presOf" srcId="{64B6B41F-EB62-4A0F-B912-DFD28E644BE6}" destId="{968AA161-D88A-4017-8C98-29D21EAB6AB6}" srcOrd="1" destOrd="0" presId="urn:microsoft.com/office/officeart/2005/8/layout/list1"/>
    <dgm:cxn modelId="{2F1054BE-4928-4E2B-8BC5-DF06C49F2BCF}" srcId="{64B6B41F-EB62-4A0F-B912-DFD28E644BE6}" destId="{3815403E-7A0D-4F1A-BD15-4084312741F3}" srcOrd="3" destOrd="0" parTransId="{762C3593-E087-4123-A5F9-A4C23AB7350D}" sibTransId="{C3843B3F-438F-4F0A-ACE5-DBD43C1C8D42}"/>
    <dgm:cxn modelId="{D03E3240-E986-4205-87FF-B07F41902873}" type="presOf" srcId="{BEEF050F-46EA-4817-A1EA-83EC702CA4EA}" destId="{76274C5A-1554-4016-B3F5-16BE0198B102}" srcOrd="0" destOrd="2" presId="urn:microsoft.com/office/officeart/2005/8/layout/list1"/>
    <dgm:cxn modelId="{EA1F663D-161A-4E9E-BE5C-2081A248D736}" type="presOf" srcId="{3815403E-7A0D-4F1A-BD15-4084312741F3}" destId="{76274C5A-1554-4016-B3F5-16BE0198B102}" srcOrd="0" destOrd="3" presId="urn:microsoft.com/office/officeart/2005/8/layout/list1"/>
    <dgm:cxn modelId="{6A26AFE7-99D8-4E38-8342-1B9EAC327594}" srcId="{F7BEA67D-FE33-4714-A8DD-70C6856D5108}" destId="{CAD704C8-345B-4651-BA04-707F88A92A7B}" srcOrd="0" destOrd="0" parTransId="{97A15473-8801-40CD-9E44-2BBA1C11AE2D}" sibTransId="{8AB3786A-09E5-4D9C-81CF-A3EFBC065607}"/>
    <dgm:cxn modelId="{E23A552F-1822-4EA8-AD08-BC9A51FF8AEA}" srcId="{2E019380-ADC8-49ED-8ED3-AE5C1C0042E8}" destId="{AF28F056-1634-451B-AD26-F465F2A4756D}" srcOrd="1" destOrd="0" parTransId="{89CF2158-B03A-47D7-9632-C7660B2BDA94}" sibTransId="{743B4BB0-EE8D-49D6-A9C9-64CD7D92A680}"/>
    <dgm:cxn modelId="{9C4EAF14-F342-45C5-9EAD-7049EAEC2404}" type="presOf" srcId="{F7BEA67D-FE33-4714-A8DD-70C6856D5108}" destId="{B98FF902-BDDD-4175-889E-27453E822B9C}" srcOrd="0" destOrd="0" presId="urn:microsoft.com/office/officeart/2005/8/layout/list1"/>
    <dgm:cxn modelId="{0132F285-4D7B-440F-B2B6-DD586A6D64CF}" type="presOf" srcId="{E5BC4D7C-1EBF-4918-9F6B-F88ED9C1667D}" destId="{74E4CB29-C9B9-4CC3-B6A4-4643094873FA}" srcOrd="0" destOrd="4" presId="urn:microsoft.com/office/officeart/2005/8/layout/list1"/>
    <dgm:cxn modelId="{00A5F971-F88B-41A6-88E3-0C1E6CA78C9D}" type="presOf" srcId="{0BD63882-4B0F-473C-A87F-F232DEF67342}" destId="{F598F2CE-8F62-4454-AF99-D34BC3D743A0}" srcOrd="1" destOrd="0" presId="urn:microsoft.com/office/officeart/2005/8/layout/list1"/>
    <dgm:cxn modelId="{DE94439D-C426-47CA-AA63-3898CF752B6C}" srcId="{AF28F056-1634-451B-AD26-F465F2A4756D}" destId="{856B02CE-2F9A-4D56-8646-0BB3F06472F9}" srcOrd="3" destOrd="0" parTransId="{E8A370FF-276A-4355-B646-E869428E7F6D}" sibTransId="{B9C57F0F-B1CF-4525-8C61-E0365E9AAD90}"/>
    <dgm:cxn modelId="{BDCA1058-B757-4DBD-AB53-E28AF22E9F76}" type="presOf" srcId="{856B02CE-2F9A-4D56-8646-0BB3F06472F9}" destId="{A2FC661B-5B6F-4AC4-9E21-1F6B642B7A15}" srcOrd="0" destOrd="3" presId="urn:microsoft.com/office/officeart/2005/8/layout/list1"/>
    <dgm:cxn modelId="{30FBCF28-6E09-4B4B-8ADB-54A523A25D12}" type="presParOf" srcId="{8545D631-FD34-4706-A36C-84E61D7A6299}" destId="{810A72E8-8905-4611-93F5-E297A8BA6C86}" srcOrd="0" destOrd="0" presId="urn:microsoft.com/office/officeart/2005/8/layout/list1"/>
    <dgm:cxn modelId="{B299E987-8376-44C9-822A-866BAF727626}" type="presParOf" srcId="{810A72E8-8905-4611-93F5-E297A8BA6C86}" destId="{4904707A-5517-4C40-880F-6C8772A3A28B}" srcOrd="0" destOrd="0" presId="urn:microsoft.com/office/officeart/2005/8/layout/list1"/>
    <dgm:cxn modelId="{8549EC43-B151-45D4-8658-3F3F15BAAF88}" type="presParOf" srcId="{810A72E8-8905-4611-93F5-E297A8BA6C86}" destId="{F598F2CE-8F62-4454-AF99-D34BC3D743A0}" srcOrd="1" destOrd="0" presId="urn:microsoft.com/office/officeart/2005/8/layout/list1"/>
    <dgm:cxn modelId="{EA956D45-B035-4691-B910-5ED56CFB8111}" type="presParOf" srcId="{8545D631-FD34-4706-A36C-84E61D7A6299}" destId="{66222656-B340-494A-9BDA-AB0C54CE0C60}" srcOrd="1" destOrd="0" presId="urn:microsoft.com/office/officeart/2005/8/layout/list1"/>
    <dgm:cxn modelId="{09773E2A-A02C-433E-906B-1508A23FCAD1}" type="presParOf" srcId="{8545D631-FD34-4706-A36C-84E61D7A6299}" destId="{74E4CB29-C9B9-4CC3-B6A4-4643094873FA}" srcOrd="2" destOrd="0" presId="urn:microsoft.com/office/officeart/2005/8/layout/list1"/>
    <dgm:cxn modelId="{DF080930-3596-4F78-A677-F579A42B955B}" type="presParOf" srcId="{8545D631-FD34-4706-A36C-84E61D7A6299}" destId="{9AC2C970-C00E-4681-B90D-08F2DF322C6F}" srcOrd="3" destOrd="0" presId="urn:microsoft.com/office/officeart/2005/8/layout/list1"/>
    <dgm:cxn modelId="{42CA7CC7-A278-4CA9-BE2E-98E123E5F60A}" type="presParOf" srcId="{8545D631-FD34-4706-A36C-84E61D7A6299}" destId="{1661098F-59BD-4472-A7D3-70B013F78204}" srcOrd="4" destOrd="0" presId="urn:microsoft.com/office/officeart/2005/8/layout/list1"/>
    <dgm:cxn modelId="{4B229468-157C-4E05-A858-ABD0AF287876}" type="presParOf" srcId="{1661098F-59BD-4472-A7D3-70B013F78204}" destId="{175DC224-FC2F-4A51-889F-D3C4A28CF656}" srcOrd="0" destOrd="0" presId="urn:microsoft.com/office/officeart/2005/8/layout/list1"/>
    <dgm:cxn modelId="{F493B770-2EEC-4F78-A1A0-7B0679849D27}" type="presParOf" srcId="{1661098F-59BD-4472-A7D3-70B013F78204}" destId="{4ED081EB-FA82-451F-856F-26E0C9872F3C}" srcOrd="1" destOrd="0" presId="urn:microsoft.com/office/officeart/2005/8/layout/list1"/>
    <dgm:cxn modelId="{0D41D586-2036-462D-AF67-275698795226}" type="presParOf" srcId="{8545D631-FD34-4706-A36C-84E61D7A6299}" destId="{328AAE20-3A41-402D-A397-3DD7672B1FB4}" srcOrd="5" destOrd="0" presId="urn:microsoft.com/office/officeart/2005/8/layout/list1"/>
    <dgm:cxn modelId="{195BDED8-C836-42EA-9D0A-EFFA6CC64D6B}" type="presParOf" srcId="{8545D631-FD34-4706-A36C-84E61D7A6299}" destId="{A2FC661B-5B6F-4AC4-9E21-1F6B642B7A15}" srcOrd="6" destOrd="0" presId="urn:microsoft.com/office/officeart/2005/8/layout/list1"/>
    <dgm:cxn modelId="{B8974429-3EB6-4B5B-8167-3B3334F5952F}" type="presParOf" srcId="{8545D631-FD34-4706-A36C-84E61D7A6299}" destId="{7229CC29-69A9-42EF-8D90-1114EBDC55C1}" srcOrd="7" destOrd="0" presId="urn:microsoft.com/office/officeart/2005/8/layout/list1"/>
    <dgm:cxn modelId="{A8661BC5-70A6-4DD8-9066-2D7D81579AB1}" type="presParOf" srcId="{8545D631-FD34-4706-A36C-84E61D7A6299}" destId="{6080D933-B612-496B-BAC6-38EC226CCA15}" srcOrd="8" destOrd="0" presId="urn:microsoft.com/office/officeart/2005/8/layout/list1"/>
    <dgm:cxn modelId="{4B013A29-ABBF-4E1A-828D-0014F5B1BC67}" type="presParOf" srcId="{6080D933-B612-496B-BAC6-38EC226CCA15}" destId="{B98FF902-BDDD-4175-889E-27453E822B9C}" srcOrd="0" destOrd="0" presId="urn:microsoft.com/office/officeart/2005/8/layout/list1"/>
    <dgm:cxn modelId="{E1271C6F-96C8-441E-B16F-ECD20901DD08}" type="presParOf" srcId="{6080D933-B612-496B-BAC6-38EC226CCA15}" destId="{252F28AA-155B-47D5-80D6-8E1603562039}" srcOrd="1" destOrd="0" presId="urn:microsoft.com/office/officeart/2005/8/layout/list1"/>
    <dgm:cxn modelId="{0D39CADC-E54A-4B68-9C80-8FA6F0A03B88}" type="presParOf" srcId="{8545D631-FD34-4706-A36C-84E61D7A6299}" destId="{AEFC013D-E13B-4572-A2B7-6BC162A1F9AD}" srcOrd="9" destOrd="0" presId="urn:microsoft.com/office/officeart/2005/8/layout/list1"/>
    <dgm:cxn modelId="{0D60965B-F17C-4EFF-8688-A0854512A248}" type="presParOf" srcId="{8545D631-FD34-4706-A36C-84E61D7A6299}" destId="{0FB8D866-3843-4585-85C9-6AC582F2B428}" srcOrd="10" destOrd="0" presId="urn:microsoft.com/office/officeart/2005/8/layout/list1"/>
    <dgm:cxn modelId="{32B869BD-C4A1-464F-AC57-C1B1AA0568DC}" type="presParOf" srcId="{8545D631-FD34-4706-A36C-84E61D7A6299}" destId="{861E3F50-C465-4B86-B6A1-02DFB692C072}" srcOrd="11" destOrd="0" presId="urn:microsoft.com/office/officeart/2005/8/layout/list1"/>
    <dgm:cxn modelId="{B6D1F142-1496-4C5C-B016-732C2E545AAB}" type="presParOf" srcId="{8545D631-FD34-4706-A36C-84E61D7A6299}" destId="{1C36E568-7D97-42DD-81A2-BD10A0DC9BB3}" srcOrd="12" destOrd="0" presId="urn:microsoft.com/office/officeart/2005/8/layout/list1"/>
    <dgm:cxn modelId="{40BB50D0-D39B-4225-A72D-DDE564DEAA34}" type="presParOf" srcId="{1C36E568-7D97-42DD-81A2-BD10A0DC9BB3}" destId="{5F82A31C-89B9-4BE5-9CBE-95C4F2B75C89}" srcOrd="0" destOrd="0" presId="urn:microsoft.com/office/officeart/2005/8/layout/list1"/>
    <dgm:cxn modelId="{47F45E4A-AF35-4D50-A153-DAFC40591F06}" type="presParOf" srcId="{1C36E568-7D97-42DD-81A2-BD10A0DC9BB3}" destId="{968AA161-D88A-4017-8C98-29D21EAB6AB6}" srcOrd="1" destOrd="0" presId="urn:microsoft.com/office/officeart/2005/8/layout/list1"/>
    <dgm:cxn modelId="{64A29A89-17B5-418B-A47B-6448CC75FE99}" type="presParOf" srcId="{8545D631-FD34-4706-A36C-84E61D7A6299}" destId="{83741271-E0F9-4611-9BDA-E0798212CB61}" srcOrd="13" destOrd="0" presId="urn:microsoft.com/office/officeart/2005/8/layout/list1"/>
    <dgm:cxn modelId="{EFFBF34E-6FE9-48A7-A90C-C3FB093E5565}" type="presParOf" srcId="{8545D631-FD34-4706-A36C-84E61D7A6299}" destId="{76274C5A-1554-4016-B3F5-16BE0198B102}" srcOrd="14" destOrd="0" presId="urn:microsoft.com/office/officeart/2005/8/layout/list1"/>
  </dgm:cxnLst>
  <dgm:bg/>
  <dgm:whole>
    <a:ln>
      <a:noFill/>
    </a:ln>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E4CB29-C9B9-4CC3-B6A4-4643094873FA}">
      <dsp:nvSpPr>
        <dsp:cNvPr id="0" name=""/>
        <dsp:cNvSpPr/>
      </dsp:nvSpPr>
      <dsp:spPr>
        <a:xfrm>
          <a:off x="0" y="149475"/>
          <a:ext cx="11824136" cy="1285200"/>
        </a:xfrm>
        <a:prstGeom prst="rect">
          <a:avLst/>
        </a:prstGeom>
        <a:solidFill>
          <a:schemeClr val="lt1">
            <a:alpha val="90000"/>
            <a:hueOff val="0"/>
            <a:satOff val="0"/>
            <a:lumOff val="0"/>
            <a:alphaOff val="0"/>
          </a:schemeClr>
        </a:solidFill>
        <a:ln w="12700" cap="flat" cmpd="sng" algn="ctr">
          <a:solidFill>
            <a:schemeClr val="accent5">
              <a:shade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7684" tIns="166624" rIns="917684" bIns="78232" numCol="1" spcCol="1270" anchor="t" anchorCtr="0">
          <a:noAutofit/>
        </a:bodyPr>
        <a:lstStyle/>
        <a:p>
          <a:pPr marL="57150" lvl="1" indent="-57150" algn="l" defTabSz="488950">
            <a:lnSpc>
              <a:spcPct val="90000"/>
            </a:lnSpc>
            <a:spcBef>
              <a:spcPct val="0"/>
            </a:spcBef>
            <a:spcAft>
              <a:spcPct val="15000"/>
            </a:spcAft>
            <a:buChar char="••"/>
          </a:pPr>
          <a:endParaRPr lang="en-ZA" sz="1100" kern="1200" dirty="0">
            <a:latin typeface="Calibri" panose="020F0502020204030204"/>
            <a:ea typeface="+mn-ea"/>
            <a:cs typeface="+mn-cs"/>
          </a:endParaRPr>
        </a:p>
        <a:p>
          <a:pPr marL="57150" lvl="1" indent="-57150" algn="l" defTabSz="488950">
            <a:lnSpc>
              <a:spcPct val="90000"/>
            </a:lnSpc>
            <a:spcBef>
              <a:spcPct val="0"/>
            </a:spcBef>
            <a:spcAft>
              <a:spcPct val="15000"/>
            </a:spcAft>
            <a:buChar char="••"/>
          </a:pPr>
          <a:r>
            <a:rPr lang="en-ZA" sz="1100" kern="1200" dirty="0">
              <a:latin typeface="Calibri" panose="020F0502020204030204"/>
              <a:ea typeface="+mn-ea"/>
              <a:cs typeface="+mn-cs"/>
            </a:rPr>
            <a:t>The current governance structure is appropriate</a:t>
          </a:r>
        </a:p>
        <a:p>
          <a:pPr marL="57150" lvl="1" indent="-57150" algn="l" defTabSz="488950">
            <a:lnSpc>
              <a:spcPct val="90000"/>
            </a:lnSpc>
            <a:spcBef>
              <a:spcPct val="0"/>
            </a:spcBef>
            <a:spcAft>
              <a:spcPct val="15000"/>
            </a:spcAft>
            <a:buChar char="••"/>
          </a:pPr>
          <a:r>
            <a:rPr lang="en-ZA" sz="1100" kern="1200" dirty="0">
              <a:latin typeface="Calibri" panose="020F0502020204030204"/>
              <a:ea typeface="+mn-ea"/>
              <a:cs typeface="+mn-cs"/>
            </a:rPr>
            <a:t>The </a:t>
          </a:r>
          <a:r>
            <a:rPr lang="en-ZA" sz="1100" kern="1200" dirty="0" smtClean="0">
              <a:latin typeface="Calibri" panose="020F0502020204030204"/>
              <a:ea typeface="+mn-ea"/>
              <a:cs typeface="+mn-cs"/>
            </a:rPr>
            <a:t>Memorandum of Incorporation provides for a minimum of 8 non </a:t>
          </a:r>
          <a:r>
            <a:rPr lang="en-ZA" sz="1100" kern="1200" dirty="0">
              <a:latin typeface="Calibri" panose="020F0502020204030204"/>
              <a:ea typeface="+mn-ea"/>
              <a:cs typeface="+mn-cs"/>
            </a:rPr>
            <a:t>executive directors and 1 executive director. A balanced mix of gender, race and age, 5 males and 3 females </a:t>
          </a:r>
        </a:p>
        <a:p>
          <a:pPr marL="57150" lvl="1" indent="-57150" algn="l" defTabSz="488950">
            <a:lnSpc>
              <a:spcPct val="90000"/>
            </a:lnSpc>
            <a:spcBef>
              <a:spcPct val="0"/>
            </a:spcBef>
            <a:spcAft>
              <a:spcPct val="15000"/>
            </a:spcAft>
            <a:buChar char="••"/>
          </a:pPr>
          <a:r>
            <a:rPr lang="en-ZA" sz="1100" kern="1200" dirty="0">
              <a:latin typeface="Calibri" panose="020F0502020204030204"/>
              <a:ea typeface="+mn-ea"/>
              <a:cs typeface="+mn-cs"/>
            </a:rPr>
            <a:t>The executive management committee consists of 10 members, 3 females and 7 males </a:t>
          </a:r>
        </a:p>
        <a:p>
          <a:pPr marL="57150" lvl="1" indent="-57150" algn="l" defTabSz="488950">
            <a:lnSpc>
              <a:spcPct val="90000"/>
            </a:lnSpc>
            <a:spcBef>
              <a:spcPct val="0"/>
            </a:spcBef>
            <a:spcAft>
              <a:spcPct val="15000"/>
            </a:spcAft>
            <a:buChar char="••"/>
          </a:pPr>
          <a:endParaRPr lang="en-ZA" sz="1100" kern="1200" dirty="0">
            <a:latin typeface="Calibri" panose="020F0502020204030204"/>
            <a:ea typeface="+mn-ea"/>
            <a:cs typeface="+mn-cs"/>
          </a:endParaRPr>
        </a:p>
      </dsp:txBody>
      <dsp:txXfrm>
        <a:off x="0" y="149475"/>
        <a:ext cx="11824136" cy="1285200"/>
      </dsp:txXfrm>
    </dsp:sp>
    <dsp:sp modelId="{F598F2CE-8F62-4454-AF99-D34BC3D743A0}">
      <dsp:nvSpPr>
        <dsp:cNvPr id="0" name=""/>
        <dsp:cNvSpPr/>
      </dsp:nvSpPr>
      <dsp:spPr>
        <a:xfrm>
          <a:off x="591206" y="31395"/>
          <a:ext cx="8910740" cy="236160"/>
        </a:xfrm>
        <a:prstGeom prst="roundRect">
          <a:avLst/>
        </a:prstGeom>
        <a:solidFill>
          <a:schemeClr val="accent5">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2847" tIns="0" rIns="312847" bIns="0" numCol="1" spcCol="1270" anchor="ctr" anchorCtr="0">
          <a:noAutofit/>
        </a:bodyPr>
        <a:lstStyle/>
        <a:p>
          <a:pPr lvl="0" algn="l" defTabSz="889000">
            <a:lnSpc>
              <a:spcPct val="90000"/>
            </a:lnSpc>
            <a:spcBef>
              <a:spcPct val="0"/>
            </a:spcBef>
            <a:spcAft>
              <a:spcPct val="35000"/>
            </a:spcAft>
            <a:buNone/>
          </a:pPr>
          <a:r>
            <a:rPr lang="en-ZA" sz="2000" kern="1200" dirty="0">
              <a:latin typeface="Calibri" panose="020F0502020204030204"/>
              <a:ea typeface="+mn-ea"/>
              <a:cs typeface="+mn-cs"/>
            </a:rPr>
            <a:t>Structure</a:t>
          </a:r>
        </a:p>
      </dsp:txBody>
      <dsp:txXfrm>
        <a:off x="602734" y="42923"/>
        <a:ext cx="8887684" cy="213104"/>
      </dsp:txXfrm>
    </dsp:sp>
    <dsp:sp modelId="{A2FC661B-5B6F-4AC4-9E21-1F6B642B7A15}">
      <dsp:nvSpPr>
        <dsp:cNvPr id="0" name=""/>
        <dsp:cNvSpPr/>
      </dsp:nvSpPr>
      <dsp:spPr>
        <a:xfrm>
          <a:off x="0" y="1595955"/>
          <a:ext cx="11824136" cy="1108800"/>
        </a:xfrm>
        <a:prstGeom prst="rect">
          <a:avLst/>
        </a:prstGeom>
        <a:solidFill>
          <a:schemeClr val="lt1">
            <a:alpha val="90000"/>
            <a:hueOff val="0"/>
            <a:satOff val="0"/>
            <a:lumOff val="0"/>
            <a:alphaOff val="0"/>
          </a:schemeClr>
        </a:solidFill>
        <a:ln w="12700" cap="flat" cmpd="sng" algn="ctr">
          <a:solidFill>
            <a:schemeClr val="accent5">
              <a:shade val="50000"/>
              <a:hueOff val="201247"/>
              <a:satOff val="-4901"/>
              <a:lumOff val="2144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7684" tIns="166624" rIns="917684" bIns="78232" numCol="1" spcCol="1270" anchor="t" anchorCtr="0">
          <a:noAutofit/>
        </a:bodyPr>
        <a:lstStyle/>
        <a:p>
          <a:pPr marL="57150" lvl="1" indent="-57150" algn="just" defTabSz="488950">
            <a:lnSpc>
              <a:spcPct val="90000"/>
            </a:lnSpc>
            <a:spcBef>
              <a:spcPct val="0"/>
            </a:spcBef>
            <a:spcAft>
              <a:spcPct val="15000"/>
            </a:spcAft>
            <a:buChar char="••"/>
          </a:pPr>
          <a:r>
            <a:rPr lang="en-ZA" sz="1100" kern="1200" dirty="0">
              <a:latin typeface="Calibri" panose="020F0502020204030204"/>
              <a:ea typeface="+mn-ea"/>
              <a:cs typeface="+mn-cs"/>
            </a:rPr>
            <a:t>The operating model is aligned  to ensure maximum development impact</a:t>
          </a:r>
        </a:p>
        <a:p>
          <a:pPr marL="57150" lvl="1" indent="-57150" algn="just" defTabSz="488950">
            <a:lnSpc>
              <a:spcPct val="90000"/>
            </a:lnSpc>
            <a:spcBef>
              <a:spcPct val="0"/>
            </a:spcBef>
            <a:spcAft>
              <a:spcPct val="15000"/>
            </a:spcAft>
            <a:buChar char="••"/>
          </a:pPr>
          <a:r>
            <a:rPr lang="en-ZA" sz="1100" kern="1200" dirty="0">
              <a:latin typeface="Calibri" panose="020F0502020204030204"/>
              <a:ea typeface="+mn-ea"/>
              <a:cs typeface="+mn-cs"/>
            </a:rPr>
            <a:t>The company has strong geographical footprint across South Africa and needs to continue to maintain those touch points nationally</a:t>
          </a:r>
        </a:p>
        <a:p>
          <a:pPr marL="57150" lvl="1" indent="-57150" algn="l" defTabSz="488950">
            <a:lnSpc>
              <a:spcPct val="90000"/>
            </a:lnSpc>
            <a:spcBef>
              <a:spcPct val="0"/>
            </a:spcBef>
            <a:spcAft>
              <a:spcPct val="15000"/>
            </a:spcAft>
            <a:buChar char="••"/>
          </a:pPr>
          <a:r>
            <a:rPr lang="en-GB" sz="1100" kern="1200" dirty="0">
              <a:latin typeface="Calibri" panose="020F0502020204030204"/>
              <a:ea typeface="+mn-ea"/>
              <a:cs typeface="+mn-cs"/>
            </a:rPr>
            <a:t>Strategic</a:t>
          </a:r>
          <a:r>
            <a:rPr lang="en-ZA" sz="1100" kern="1200" dirty="0">
              <a:latin typeface="Calibri" panose="020F0502020204030204"/>
              <a:ea typeface="+mn-ea"/>
              <a:cs typeface="+mn-cs"/>
            </a:rPr>
            <a:t> partnerships are imperative to the success and sustainability of the company and the NHFC aims to achieve developmental impact through targeted strategic partnerships</a:t>
          </a:r>
        </a:p>
        <a:p>
          <a:pPr marL="57150" lvl="1" indent="-57150" algn="just" defTabSz="488950">
            <a:lnSpc>
              <a:spcPct val="90000"/>
            </a:lnSpc>
            <a:spcBef>
              <a:spcPct val="0"/>
            </a:spcBef>
            <a:spcAft>
              <a:spcPct val="15000"/>
            </a:spcAft>
            <a:buChar char="••"/>
          </a:pPr>
          <a:r>
            <a:rPr lang="en-ZA" sz="1100" kern="1200" dirty="0">
              <a:latin typeface="Calibri" panose="020F0502020204030204"/>
              <a:ea typeface="+mn-ea"/>
              <a:cs typeface="+mn-cs"/>
            </a:rPr>
            <a:t>Partnership Strategy would further enhance their ability to achieve their objectives</a:t>
          </a:r>
        </a:p>
      </dsp:txBody>
      <dsp:txXfrm>
        <a:off x="0" y="1595955"/>
        <a:ext cx="11824136" cy="1108800"/>
      </dsp:txXfrm>
    </dsp:sp>
    <dsp:sp modelId="{4ED081EB-FA82-451F-856F-26E0C9872F3C}">
      <dsp:nvSpPr>
        <dsp:cNvPr id="0" name=""/>
        <dsp:cNvSpPr/>
      </dsp:nvSpPr>
      <dsp:spPr>
        <a:xfrm>
          <a:off x="591206" y="1477875"/>
          <a:ext cx="8910740" cy="236160"/>
        </a:xfrm>
        <a:prstGeom prst="roundRect">
          <a:avLst/>
        </a:prstGeom>
        <a:solidFill>
          <a:schemeClr val="accent5">
            <a:shade val="50000"/>
            <a:hueOff val="201247"/>
            <a:satOff val="-4901"/>
            <a:lumOff val="2144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2847" tIns="0" rIns="312847" bIns="0" numCol="1" spcCol="1270" anchor="ctr" anchorCtr="0">
          <a:noAutofit/>
        </a:bodyPr>
        <a:lstStyle/>
        <a:p>
          <a:pPr lvl="0" algn="l" defTabSz="889000">
            <a:lnSpc>
              <a:spcPct val="90000"/>
            </a:lnSpc>
            <a:spcBef>
              <a:spcPct val="0"/>
            </a:spcBef>
            <a:spcAft>
              <a:spcPct val="35000"/>
            </a:spcAft>
            <a:buNone/>
          </a:pPr>
          <a:r>
            <a:rPr lang="en-ZA" sz="2000" kern="1200" dirty="0">
              <a:latin typeface="Calibri" panose="020F0502020204030204"/>
              <a:ea typeface="+mn-ea"/>
              <a:cs typeface="+mn-cs"/>
            </a:rPr>
            <a:t>Operating Model</a:t>
          </a:r>
        </a:p>
      </dsp:txBody>
      <dsp:txXfrm>
        <a:off x="602734" y="1489403"/>
        <a:ext cx="8887684" cy="213104"/>
      </dsp:txXfrm>
    </dsp:sp>
    <dsp:sp modelId="{0FB8D866-3843-4585-85C9-6AC582F2B428}">
      <dsp:nvSpPr>
        <dsp:cNvPr id="0" name=""/>
        <dsp:cNvSpPr/>
      </dsp:nvSpPr>
      <dsp:spPr>
        <a:xfrm>
          <a:off x="0" y="2866035"/>
          <a:ext cx="11824136" cy="957600"/>
        </a:xfrm>
        <a:prstGeom prst="rect">
          <a:avLst/>
        </a:prstGeom>
        <a:solidFill>
          <a:schemeClr val="lt1">
            <a:alpha val="90000"/>
            <a:hueOff val="0"/>
            <a:satOff val="0"/>
            <a:lumOff val="0"/>
            <a:alphaOff val="0"/>
          </a:schemeClr>
        </a:solidFill>
        <a:ln w="12700" cap="flat" cmpd="sng" algn="ctr">
          <a:solidFill>
            <a:schemeClr val="accent5">
              <a:shade val="50000"/>
              <a:hueOff val="402493"/>
              <a:satOff val="-9802"/>
              <a:lumOff val="4289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7684" tIns="166624" rIns="917684" bIns="78232" numCol="1" spcCol="1270" anchor="t" anchorCtr="0">
          <a:noAutofit/>
        </a:bodyPr>
        <a:lstStyle/>
        <a:p>
          <a:pPr marL="57150" lvl="1" indent="-57150" algn="l" defTabSz="488950">
            <a:lnSpc>
              <a:spcPct val="90000"/>
            </a:lnSpc>
            <a:spcBef>
              <a:spcPct val="0"/>
            </a:spcBef>
            <a:spcAft>
              <a:spcPct val="15000"/>
            </a:spcAft>
            <a:buChar char="••"/>
          </a:pPr>
          <a:endParaRPr lang="en-ZA" sz="1100" kern="1200" dirty="0">
            <a:latin typeface="Calibri" panose="020F0502020204030204"/>
            <a:ea typeface="+mn-ea"/>
            <a:cs typeface="+mn-cs"/>
          </a:endParaRPr>
        </a:p>
        <a:p>
          <a:pPr marL="57150" lvl="1" indent="-57150" algn="l" defTabSz="488950">
            <a:lnSpc>
              <a:spcPct val="90000"/>
            </a:lnSpc>
            <a:spcBef>
              <a:spcPct val="0"/>
            </a:spcBef>
            <a:spcAft>
              <a:spcPct val="15000"/>
            </a:spcAft>
            <a:buChar char="••"/>
          </a:pPr>
          <a:r>
            <a:rPr lang="en-ZA" sz="1100" b="0" kern="1200" dirty="0">
              <a:latin typeface="Calibri" panose="020F0502020204030204"/>
              <a:ea typeface="+mn-ea"/>
              <a:cs typeface="+mn-cs"/>
            </a:rPr>
            <a:t>The Group's balance sheet shows capacity to leverage with a low debt to equity ratio. </a:t>
          </a:r>
          <a:endParaRPr lang="en-ZA" sz="1100" kern="1200" dirty="0">
            <a:latin typeface="Calibri" panose="020F0502020204030204"/>
            <a:ea typeface="+mn-ea"/>
            <a:cs typeface="+mn-cs"/>
          </a:endParaRPr>
        </a:p>
        <a:p>
          <a:pPr marL="57150" lvl="1" indent="-57150" algn="l" defTabSz="488950">
            <a:lnSpc>
              <a:spcPct val="90000"/>
            </a:lnSpc>
            <a:spcBef>
              <a:spcPct val="0"/>
            </a:spcBef>
            <a:spcAft>
              <a:spcPct val="15000"/>
            </a:spcAft>
            <a:buChar char="••"/>
          </a:pPr>
          <a:r>
            <a:rPr lang="en-ZA" sz="1100" b="0" kern="1200" dirty="0">
              <a:latin typeface="Calibri" panose="020F0502020204030204"/>
              <a:ea typeface="+mn-ea"/>
              <a:cs typeface="+mn-cs"/>
            </a:rPr>
            <a:t>There is clearly demand for the product offerings as the loans and advances balances continue increasing</a:t>
          </a:r>
        </a:p>
        <a:p>
          <a:pPr marL="57150" lvl="1" indent="-57150" algn="l" defTabSz="488950">
            <a:lnSpc>
              <a:spcPct val="90000"/>
            </a:lnSpc>
            <a:spcBef>
              <a:spcPct val="0"/>
            </a:spcBef>
            <a:spcAft>
              <a:spcPct val="15000"/>
            </a:spcAft>
            <a:buChar char="••"/>
          </a:pPr>
          <a:r>
            <a:rPr lang="en-US" sz="1100" b="0" kern="1200" dirty="0">
              <a:latin typeface="Calibri" panose="020F0502020204030204"/>
              <a:ea typeface="+mn-ea"/>
              <a:cs typeface="+mn-cs"/>
            </a:rPr>
            <a:t>The entity continues to monitor its cost to income ratio which needs to be addressed to ensure financial sustainability</a:t>
          </a:r>
          <a:endParaRPr lang="en-ZA" sz="1100" b="0" kern="1200" dirty="0">
            <a:latin typeface="Calibri" panose="020F0502020204030204"/>
            <a:ea typeface="+mn-ea"/>
            <a:cs typeface="+mn-cs"/>
          </a:endParaRPr>
        </a:p>
      </dsp:txBody>
      <dsp:txXfrm>
        <a:off x="0" y="2866035"/>
        <a:ext cx="11824136" cy="957600"/>
      </dsp:txXfrm>
    </dsp:sp>
    <dsp:sp modelId="{252F28AA-155B-47D5-80D6-8E1603562039}">
      <dsp:nvSpPr>
        <dsp:cNvPr id="0" name=""/>
        <dsp:cNvSpPr/>
      </dsp:nvSpPr>
      <dsp:spPr>
        <a:xfrm>
          <a:off x="591206" y="2747955"/>
          <a:ext cx="8910740" cy="236160"/>
        </a:xfrm>
        <a:prstGeom prst="roundRect">
          <a:avLst/>
        </a:prstGeom>
        <a:solidFill>
          <a:schemeClr val="accent5">
            <a:shade val="50000"/>
            <a:hueOff val="402493"/>
            <a:satOff val="-9802"/>
            <a:lumOff val="428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2847" tIns="0" rIns="312847" bIns="0" numCol="1" spcCol="1270" anchor="ctr" anchorCtr="0">
          <a:noAutofit/>
        </a:bodyPr>
        <a:lstStyle/>
        <a:p>
          <a:pPr lvl="0" algn="l" defTabSz="889000">
            <a:lnSpc>
              <a:spcPct val="90000"/>
            </a:lnSpc>
            <a:spcBef>
              <a:spcPct val="0"/>
            </a:spcBef>
            <a:spcAft>
              <a:spcPct val="35000"/>
            </a:spcAft>
            <a:buNone/>
          </a:pPr>
          <a:r>
            <a:rPr lang="en-ZA" sz="2000" kern="1200" dirty="0">
              <a:latin typeface="Calibri" panose="020F0502020204030204"/>
              <a:ea typeface="+mn-ea"/>
              <a:cs typeface="+mn-cs"/>
            </a:rPr>
            <a:t>Financial Analysis</a:t>
          </a:r>
        </a:p>
      </dsp:txBody>
      <dsp:txXfrm>
        <a:off x="602734" y="2759483"/>
        <a:ext cx="8887684" cy="213104"/>
      </dsp:txXfrm>
    </dsp:sp>
    <dsp:sp modelId="{76274C5A-1554-4016-B3F5-16BE0198B102}">
      <dsp:nvSpPr>
        <dsp:cNvPr id="0" name=""/>
        <dsp:cNvSpPr/>
      </dsp:nvSpPr>
      <dsp:spPr>
        <a:xfrm>
          <a:off x="0" y="3984915"/>
          <a:ext cx="11824136" cy="1612800"/>
        </a:xfrm>
        <a:prstGeom prst="rect">
          <a:avLst/>
        </a:prstGeom>
        <a:solidFill>
          <a:schemeClr val="lt1">
            <a:alpha val="90000"/>
            <a:hueOff val="0"/>
            <a:satOff val="0"/>
            <a:lumOff val="0"/>
            <a:alphaOff val="0"/>
          </a:schemeClr>
        </a:solidFill>
        <a:ln w="12700" cap="flat" cmpd="sng" algn="ctr">
          <a:solidFill>
            <a:schemeClr val="accent5">
              <a:shade val="50000"/>
              <a:hueOff val="201247"/>
              <a:satOff val="-4901"/>
              <a:lumOff val="2144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7684" tIns="166624" rIns="917684" bIns="78232" numCol="1" spcCol="1270" anchor="t" anchorCtr="0">
          <a:noAutofit/>
        </a:bodyPr>
        <a:lstStyle/>
        <a:p>
          <a:pPr marL="57150" lvl="1" indent="-57150" algn="l" defTabSz="488950">
            <a:lnSpc>
              <a:spcPct val="90000"/>
            </a:lnSpc>
            <a:spcBef>
              <a:spcPct val="0"/>
            </a:spcBef>
            <a:spcAft>
              <a:spcPct val="15000"/>
            </a:spcAft>
            <a:buFont typeface="Arial" panose="020B0604020202020204" pitchFamily="34" charset="0"/>
            <a:buChar char="••"/>
          </a:pPr>
          <a:endParaRPr lang="en-ZA" sz="1100" kern="1200" dirty="0">
            <a:latin typeface="Calibri" panose="020F0502020204030204"/>
            <a:ea typeface="+mn-ea"/>
            <a:cs typeface="+mn-cs"/>
          </a:endParaRPr>
        </a:p>
        <a:p>
          <a:pPr marL="57150" lvl="1" indent="-57150" algn="l" defTabSz="488950">
            <a:lnSpc>
              <a:spcPct val="90000"/>
            </a:lnSpc>
            <a:spcBef>
              <a:spcPct val="0"/>
            </a:spcBef>
            <a:spcAft>
              <a:spcPct val="15000"/>
            </a:spcAft>
            <a:buChar char="••"/>
          </a:pPr>
          <a:r>
            <a:rPr lang="en-US" sz="1100" b="0" kern="1200" dirty="0">
              <a:latin typeface="Calibri" panose="020F0502020204030204"/>
              <a:ea typeface="+mn-ea"/>
              <a:cs typeface="+mn-cs"/>
            </a:rPr>
            <a:t>NHFC has knowledge and existing partnerships and stakeholder relationships which will stand it in good stead to achieve its objectives and maximize development impact</a:t>
          </a:r>
          <a:endParaRPr lang="en-ZA" sz="1100" b="0" kern="1200" dirty="0">
            <a:latin typeface="Calibri" panose="020F0502020204030204"/>
            <a:ea typeface="+mn-ea"/>
            <a:cs typeface="+mn-cs"/>
          </a:endParaRPr>
        </a:p>
        <a:p>
          <a:pPr marL="57150" lvl="1" indent="-57150" algn="l" defTabSz="488950">
            <a:lnSpc>
              <a:spcPct val="90000"/>
            </a:lnSpc>
            <a:spcBef>
              <a:spcPct val="0"/>
            </a:spcBef>
            <a:spcAft>
              <a:spcPct val="15000"/>
            </a:spcAft>
            <a:buChar char="••"/>
          </a:pPr>
          <a:r>
            <a:rPr lang="en-US" sz="1100" b="0" kern="1200" dirty="0">
              <a:latin typeface="Calibri" panose="020F0502020204030204"/>
              <a:ea typeface="+mn-ea"/>
              <a:cs typeface="+mn-cs"/>
            </a:rPr>
            <a:t>However, there are numerous weaknesses in terms of its processes and operations which have been highly manual and are in the process of being automated in order to achieve sustainability and continuity </a:t>
          </a:r>
        </a:p>
        <a:p>
          <a:pPr marL="57150" lvl="1" indent="-57150" algn="l" defTabSz="488950">
            <a:lnSpc>
              <a:spcPct val="90000"/>
            </a:lnSpc>
            <a:spcBef>
              <a:spcPct val="0"/>
            </a:spcBef>
            <a:spcAft>
              <a:spcPct val="15000"/>
            </a:spcAft>
            <a:buChar char="••"/>
          </a:pPr>
          <a:r>
            <a:rPr lang="en-US" sz="1100" b="0" kern="1200" dirty="0">
              <a:latin typeface="Calibri" panose="020F0502020204030204"/>
              <a:ea typeface="+mn-ea"/>
              <a:cs typeface="+mn-cs"/>
            </a:rPr>
            <a:t>Change management is still critical as the entity is in its infancy post consolidation. Procedures for change management are being reviewed to ensure a cohesive entity</a:t>
          </a:r>
        </a:p>
        <a:p>
          <a:pPr marL="57150" lvl="1" indent="-57150" algn="l" defTabSz="488950">
            <a:lnSpc>
              <a:spcPct val="90000"/>
            </a:lnSpc>
            <a:spcBef>
              <a:spcPct val="0"/>
            </a:spcBef>
            <a:spcAft>
              <a:spcPct val="15000"/>
            </a:spcAft>
            <a:buChar char="••"/>
          </a:pPr>
          <a:r>
            <a:rPr lang="en-US" sz="1100" b="0" kern="1200" dirty="0">
              <a:latin typeface="Calibri" panose="020F0502020204030204"/>
              <a:ea typeface="+mn-ea"/>
              <a:cs typeface="+mn-cs"/>
            </a:rPr>
            <a:t>The weaknesses and the economic situation present many opportunities for NHFC to play a pivotal role in the human settlements value chain and maximize its development impact whilst remaining sustainable, if addressed and target appropriately</a:t>
          </a:r>
          <a:endParaRPr lang="en-ZA" sz="1100" b="0" kern="1200" dirty="0">
            <a:latin typeface="Calibri" panose="020F0502020204030204"/>
            <a:ea typeface="+mn-ea"/>
            <a:cs typeface="+mn-cs"/>
          </a:endParaRPr>
        </a:p>
        <a:p>
          <a:pPr marL="57150" lvl="1" indent="-57150" algn="l" defTabSz="488950">
            <a:lnSpc>
              <a:spcPct val="90000"/>
            </a:lnSpc>
            <a:spcBef>
              <a:spcPct val="0"/>
            </a:spcBef>
            <a:spcAft>
              <a:spcPct val="15000"/>
            </a:spcAft>
            <a:buFont typeface="Arial" panose="020B0604020202020204" pitchFamily="34" charset="0"/>
            <a:buChar char="••"/>
          </a:pPr>
          <a:endParaRPr lang="en-ZA" sz="1100" kern="1200" dirty="0">
            <a:latin typeface="Calibri" panose="020F0502020204030204"/>
            <a:ea typeface="+mn-ea"/>
            <a:cs typeface="+mn-cs"/>
          </a:endParaRPr>
        </a:p>
      </dsp:txBody>
      <dsp:txXfrm>
        <a:off x="0" y="3984915"/>
        <a:ext cx="11824136" cy="1612800"/>
      </dsp:txXfrm>
    </dsp:sp>
    <dsp:sp modelId="{968AA161-D88A-4017-8C98-29D21EAB6AB6}">
      <dsp:nvSpPr>
        <dsp:cNvPr id="0" name=""/>
        <dsp:cNvSpPr/>
      </dsp:nvSpPr>
      <dsp:spPr>
        <a:xfrm>
          <a:off x="591206" y="3866835"/>
          <a:ext cx="8910740" cy="236160"/>
        </a:xfrm>
        <a:prstGeom prst="roundRect">
          <a:avLst/>
        </a:prstGeom>
        <a:solidFill>
          <a:schemeClr val="accent5">
            <a:shade val="50000"/>
            <a:hueOff val="201247"/>
            <a:satOff val="-4901"/>
            <a:lumOff val="2144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2847" tIns="0" rIns="312847" bIns="0" numCol="1" spcCol="1270" anchor="ctr" anchorCtr="0">
          <a:noAutofit/>
        </a:bodyPr>
        <a:lstStyle/>
        <a:p>
          <a:pPr lvl="0" algn="l" defTabSz="889000">
            <a:lnSpc>
              <a:spcPct val="90000"/>
            </a:lnSpc>
            <a:spcBef>
              <a:spcPct val="0"/>
            </a:spcBef>
            <a:spcAft>
              <a:spcPct val="35000"/>
            </a:spcAft>
            <a:buNone/>
          </a:pPr>
          <a:r>
            <a:rPr lang="en-ZA" sz="2000" kern="1200" dirty="0">
              <a:latin typeface="Calibri" panose="020F0502020204030204"/>
              <a:ea typeface="+mn-ea"/>
              <a:cs typeface="+mn-cs"/>
            </a:rPr>
            <a:t>SWOT Analysis</a:t>
          </a:r>
        </a:p>
      </dsp:txBody>
      <dsp:txXfrm>
        <a:off x="602734" y="3878363"/>
        <a:ext cx="8887684" cy="213104"/>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2889938" cy="498008"/>
          </a:xfrm>
          <a:prstGeom prst="rect">
            <a:avLst/>
          </a:prstGeom>
        </p:spPr>
        <p:txBody>
          <a:bodyPr vert="horz" lIns="90720" tIns="45360" rIns="90720" bIns="45360" rtlCol="0"/>
          <a:lstStyle>
            <a:lvl1pPr algn="l">
              <a:defRPr sz="1200"/>
            </a:lvl1pPr>
          </a:lstStyle>
          <a:p>
            <a:endParaRPr lang="en-US" dirty="0"/>
          </a:p>
        </p:txBody>
      </p:sp>
      <p:sp>
        <p:nvSpPr>
          <p:cNvPr id="3" name="Date Placeholder 2"/>
          <p:cNvSpPr>
            <a:spLocks noGrp="1"/>
          </p:cNvSpPr>
          <p:nvPr>
            <p:ph type="dt" sz="quarter" idx="1"/>
          </p:nvPr>
        </p:nvSpPr>
        <p:spPr>
          <a:xfrm>
            <a:off x="3777609" y="0"/>
            <a:ext cx="2889938" cy="498008"/>
          </a:xfrm>
          <a:prstGeom prst="rect">
            <a:avLst/>
          </a:prstGeom>
        </p:spPr>
        <p:txBody>
          <a:bodyPr vert="horz" lIns="90720" tIns="45360" rIns="90720" bIns="45360" rtlCol="0"/>
          <a:lstStyle>
            <a:lvl1pPr algn="r">
              <a:defRPr sz="1200"/>
            </a:lvl1pPr>
          </a:lstStyle>
          <a:p>
            <a:fld id="{B4A2A978-418B-4C33-A9A1-1AFF5BBACE27}" type="datetimeFigureOut">
              <a:rPr lang="en-US" smtClean="0"/>
              <a:t>4/26/2021</a:t>
            </a:fld>
            <a:endParaRPr lang="en-US" dirty="0"/>
          </a:p>
        </p:txBody>
      </p:sp>
      <p:sp>
        <p:nvSpPr>
          <p:cNvPr id="4" name="Footer Placeholder 3"/>
          <p:cNvSpPr>
            <a:spLocks noGrp="1"/>
          </p:cNvSpPr>
          <p:nvPr>
            <p:ph type="ftr" sz="quarter" idx="2"/>
          </p:nvPr>
        </p:nvSpPr>
        <p:spPr>
          <a:xfrm>
            <a:off x="2" y="9428630"/>
            <a:ext cx="2889938" cy="498008"/>
          </a:xfrm>
          <a:prstGeom prst="rect">
            <a:avLst/>
          </a:prstGeom>
        </p:spPr>
        <p:txBody>
          <a:bodyPr vert="horz" lIns="90720" tIns="45360" rIns="90720" bIns="4536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777609" y="9428630"/>
            <a:ext cx="2889938" cy="498008"/>
          </a:xfrm>
          <a:prstGeom prst="rect">
            <a:avLst/>
          </a:prstGeom>
        </p:spPr>
        <p:txBody>
          <a:bodyPr vert="horz" lIns="90720" tIns="45360" rIns="90720" bIns="45360" rtlCol="0" anchor="b"/>
          <a:lstStyle>
            <a:lvl1pPr algn="r">
              <a:defRPr sz="1200"/>
            </a:lvl1pPr>
          </a:lstStyle>
          <a:p>
            <a:fld id="{30B6FE85-0CB5-47E5-B240-E10FDD5B3945}" type="slidenum">
              <a:rPr lang="en-US" smtClean="0"/>
              <a:t>‹#›</a:t>
            </a:fld>
            <a:endParaRPr lang="en-US" dirty="0"/>
          </a:p>
        </p:txBody>
      </p:sp>
    </p:spTree>
    <p:extLst>
      <p:ext uri="{BB962C8B-B14F-4D97-AF65-F5344CB8AC3E}">
        <p14:creationId xmlns:p14="http://schemas.microsoft.com/office/powerpoint/2010/main" val="315024696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2890665" cy="496333"/>
          </a:xfrm>
          <a:prstGeom prst="rect">
            <a:avLst/>
          </a:prstGeom>
        </p:spPr>
        <p:txBody>
          <a:bodyPr vert="horz" lIns="90720" tIns="45360" rIns="90720" bIns="45360" rtlCol="0"/>
          <a:lstStyle>
            <a:lvl1pPr algn="l">
              <a:defRPr sz="1200"/>
            </a:lvl1pPr>
          </a:lstStyle>
          <a:p>
            <a:endParaRPr lang="en-ZA" dirty="0"/>
          </a:p>
        </p:txBody>
      </p:sp>
      <p:sp>
        <p:nvSpPr>
          <p:cNvPr id="3" name="Date Placeholder 2"/>
          <p:cNvSpPr>
            <a:spLocks noGrp="1"/>
          </p:cNvSpPr>
          <p:nvPr>
            <p:ph type="dt" idx="1"/>
          </p:nvPr>
        </p:nvSpPr>
        <p:spPr>
          <a:xfrm>
            <a:off x="3776868" y="2"/>
            <a:ext cx="2890665" cy="496333"/>
          </a:xfrm>
          <a:prstGeom prst="rect">
            <a:avLst/>
          </a:prstGeom>
        </p:spPr>
        <p:txBody>
          <a:bodyPr vert="horz" lIns="90720" tIns="45360" rIns="90720" bIns="45360" rtlCol="0"/>
          <a:lstStyle>
            <a:lvl1pPr algn="r">
              <a:defRPr sz="1200"/>
            </a:lvl1pPr>
          </a:lstStyle>
          <a:p>
            <a:fld id="{F9876C56-0CCB-460F-ABA4-BD2845E4919E}" type="datetimeFigureOut">
              <a:rPr lang="en-ZA" smtClean="0"/>
              <a:t>2021/04/26</a:t>
            </a:fld>
            <a:endParaRPr lang="en-ZA" dirty="0"/>
          </a:p>
        </p:txBody>
      </p:sp>
      <p:sp>
        <p:nvSpPr>
          <p:cNvPr id="4" name="Slide Image Placeholder 3"/>
          <p:cNvSpPr>
            <a:spLocks noGrp="1" noRot="1" noChangeAspect="1"/>
          </p:cNvSpPr>
          <p:nvPr>
            <p:ph type="sldImg" idx="2"/>
          </p:nvPr>
        </p:nvSpPr>
        <p:spPr>
          <a:xfrm>
            <a:off x="26988" y="746125"/>
            <a:ext cx="6615112" cy="3721100"/>
          </a:xfrm>
          <a:prstGeom prst="rect">
            <a:avLst/>
          </a:prstGeom>
          <a:noFill/>
          <a:ln w="12700">
            <a:solidFill>
              <a:prstClr val="black"/>
            </a:solidFill>
          </a:ln>
        </p:spPr>
        <p:txBody>
          <a:bodyPr vert="horz" lIns="90720" tIns="45360" rIns="90720" bIns="45360" rtlCol="0" anchor="ctr"/>
          <a:lstStyle/>
          <a:p>
            <a:endParaRPr lang="en-ZA" dirty="0"/>
          </a:p>
        </p:txBody>
      </p:sp>
      <p:sp>
        <p:nvSpPr>
          <p:cNvPr id="5" name="Notes Placeholder 4"/>
          <p:cNvSpPr>
            <a:spLocks noGrp="1"/>
          </p:cNvSpPr>
          <p:nvPr>
            <p:ph type="body" sz="quarter" idx="3"/>
          </p:nvPr>
        </p:nvSpPr>
        <p:spPr>
          <a:xfrm>
            <a:off x="666602" y="4715953"/>
            <a:ext cx="5335893" cy="4466987"/>
          </a:xfrm>
          <a:prstGeom prst="rect">
            <a:avLst/>
          </a:prstGeom>
        </p:spPr>
        <p:txBody>
          <a:bodyPr vert="horz" lIns="90720" tIns="45360" rIns="90720" bIns="4536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1" y="9428710"/>
            <a:ext cx="2890665" cy="496333"/>
          </a:xfrm>
          <a:prstGeom prst="rect">
            <a:avLst/>
          </a:prstGeom>
        </p:spPr>
        <p:txBody>
          <a:bodyPr vert="horz" lIns="90720" tIns="45360" rIns="90720" bIns="45360" rtlCol="0" anchor="b"/>
          <a:lstStyle>
            <a:lvl1pPr algn="l">
              <a:defRPr sz="1200"/>
            </a:lvl1pPr>
          </a:lstStyle>
          <a:p>
            <a:endParaRPr lang="en-ZA" dirty="0"/>
          </a:p>
        </p:txBody>
      </p:sp>
      <p:sp>
        <p:nvSpPr>
          <p:cNvPr id="7" name="Slide Number Placeholder 6"/>
          <p:cNvSpPr>
            <a:spLocks noGrp="1"/>
          </p:cNvSpPr>
          <p:nvPr>
            <p:ph type="sldNum" sz="quarter" idx="5"/>
          </p:nvPr>
        </p:nvSpPr>
        <p:spPr>
          <a:xfrm>
            <a:off x="3776868" y="9428710"/>
            <a:ext cx="2890665" cy="496333"/>
          </a:xfrm>
          <a:prstGeom prst="rect">
            <a:avLst/>
          </a:prstGeom>
        </p:spPr>
        <p:txBody>
          <a:bodyPr vert="horz" lIns="90720" tIns="45360" rIns="90720" bIns="45360" rtlCol="0" anchor="b"/>
          <a:lstStyle>
            <a:lvl1pPr algn="r">
              <a:defRPr sz="1200"/>
            </a:lvl1pPr>
          </a:lstStyle>
          <a:p>
            <a:fld id="{EAD50595-1541-4534-809B-3C30832661D1}" type="slidenum">
              <a:rPr lang="en-ZA" smtClean="0"/>
              <a:t>‹#›</a:t>
            </a:fld>
            <a:endParaRPr lang="en-ZA" dirty="0"/>
          </a:p>
        </p:txBody>
      </p:sp>
    </p:spTree>
    <p:extLst>
      <p:ext uri="{BB962C8B-B14F-4D97-AF65-F5344CB8AC3E}">
        <p14:creationId xmlns:p14="http://schemas.microsoft.com/office/powerpoint/2010/main" val="305606250"/>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AD50595-1541-4534-809B-3C30832661D1}" type="slidenum">
              <a:rPr lang="en-ZA" smtClean="0"/>
              <a:t>1</a:t>
            </a:fld>
            <a:endParaRPr lang="en-ZA" dirty="0"/>
          </a:p>
        </p:txBody>
      </p:sp>
    </p:spTree>
    <p:extLst>
      <p:ext uri="{BB962C8B-B14F-4D97-AF65-F5344CB8AC3E}">
        <p14:creationId xmlns:p14="http://schemas.microsoft.com/office/powerpoint/2010/main" val="24749200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EAD50595-1541-4534-809B-3C30832661D1}" type="slidenum">
              <a:rPr lang="en-ZA" smtClean="0"/>
              <a:t>2</a:t>
            </a:fld>
            <a:endParaRPr lang="en-ZA" dirty="0"/>
          </a:p>
        </p:txBody>
      </p:sp>
    </p:spTree>
    <p:extLst>
      <p:ext uri="{BB962C8B-B14F-4D97-AF65-F5344CB8AC3E}">
        <p14:creationId xmlns:p14="http://schemas.microsoft.com/office/powerpoint/2010/main" val="10351955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2B585CF1-D07E-4103-B39B-BFBBC14C0157}" type="slidenum">
              <a:rPr lang="en-ZA" smtClean="0"/>
              <a:t>24</a:t>
            </a:fld>
            <a:endParaRPr lang="en-ZA" dirty="0"/>
          </a:p>
        </p:txBody>
      </p:sp>
    </p:spTree>
    <p:extLst>
      <p:ext uri="{BB962C8B-B14F-4D97-AF65-F5344CB8AC3E}">
        <p14:creationId xmlns:p14="http://schemas.microsoft.com/office/powerpoint/2010/main" val="33232013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emf"/><Relationship Id="rId2" Type="http://schemas.openxmlformats.org/officeDocument/2006/relationships/tags" Target="../tags/tag24.xml"/><Relationship Id="rId1" Type="http://schemas.openxmlformats.org/officeDocument/2006/relationships/vmlDrawing" Target="../drawings/vmlDrawing7.vml"/><Relationship Id="rId6" Type="http://schemas.openxmlformats.org/officeDocument/2006/relationships/image" Target="../media/image10.jpeg"/><Relationship Id="rId5" Type="http://schemas.openxmlformats.org/officeDocument/2006/relationships/image" Target="../media/image9.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8.vml"/><Relationship Id="rId5" Type="http://schemas.openxmlformats.org/officeDocument/2006/relationships/image" Target="../media/image9.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9.vml"/><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vmlDrawing" Target="../drawings/vmlDrawing10.vml"/><Relationship Id="rId6" Type="http://schemas.openxmlformats.org/officeDocument/2006/relationships/image" Target="../media/image11.jpeg"/><Relationship Id="rId5" Type="http://schemas.openxmlformats.org/officeDocument/2006/relationships/image" Target="../media/image9.emf"/><Relationship Id="rId4" Type="http://schemas.openxmlformats.org/officeDocument/2006/relationships/oleObject" Target="../embeddings/oleObject10.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vmlDrawing" Target="../drawings/vmlDrawing11.vml"/><Relationship Id="rId6" Type="http://schemas.openxmlformats.org/officeDocument/2006/relationships/image" Target="../media/image11.jpeg"/><Relationship Id="rId5" Type="http://schemas.openxmlformats.org/officeDocument/2006/relationships/image" Target="../media/image9.emf"/><Relationship Id="rId4" Type="http://schemas.openxmlformats.org/officeDocument/2006/relationships/oleObject" Target="../embeddings/oleObject11.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vmlDrawing" Target="../drawings/vmlDrawing12.vml"/><Relationship Id="rId6" Type="http://schemas.openxmlformats.org/officeDocument/2006/relationships/image" Target="../media/image12.jpeg"/><Relationship Id="rId5" Type="http://schemas.openxmlformats.org/officeDocument/2006/relationships/image" Target="../media/image9.emf"/><Relationship Id="rId4" Type="http://schemas.openxmlformats.org/officeDocument/2006/relationships/oleObject" Target="../embeddings/oleObject12.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xml"/><Relationship Id="rId1" Type="http://schemas.openxmlformats.org/officeDocument/2006/relationships/vmlDrawing" Target="../drawings/vmlDrawing13.vml"/><Relationship Id="rId6" Type="http://schemas.openxmlformats.org/officeDocument/2006/relationships/image" Target="../media/image12.jpeg"/><Relationship Id="rId5" Type="http://schemas.openxmlformats.org/officeDocument/2006/relationships/image" Target="../media/image9.emf"/><Relationship Id="rId4" Type="http://schemas.openxmlformats.org/officeDocument/2006/relationships/oleObject" Target="../embeddings/oleObject13.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vmlDrawing" Target="../drawings/vmlDrawing14.vml"/><Relationship Id="rId6" Type="http://schemas.openxmlformats.org/officeDocument/2006/relationships/image" Target="../media/image13.jpeg"/><Relationship Id="rId5" Type="http://schemas.openxmlformats.org/officeDocument/2006/relationships/image" Target="../media/image9.emf"/><Relationship Id="rId4" Type="http://schemas.openxmlformats.org/officeDocument/2006/relationships/oleObject" Target="../embeddings/oleObject14.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15.vml"/><Relationship Id="rId6" Type="http://schemas.openxmlformats.org/officeDocument/2006/relationships/image" Target="../media/image13.jpeg"/><Relationship Id="rId5" Type="http://schemas.openxmlformats.org/officeDocument/2006/relationships/image" Target="../media/image9.emf"/><Relationship Id="rId4" Type="http://schemas.openxmlformats.org/officeDocument/2006/relationships/oleObject" Target="../embeddings/oleObject15.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emf"/><Relationship Id="rId2" Type="http://schemas.openxmlformats.org/officeDocument/2006/relationships/tags" Target="../tags/tag33.xml"/><Relationship Id="rId1" Type="http://schemas.openxmlformats.org/officeDocument/2006/relationships/vmlDrawing" Target="../drawings/vmlDrawing16.vml"/><Relationship Id="rId6" Type="http://schemas.openxmlformats.org/officeDocument/2006/relationships/image" Target="../media/image5.emf"/><Relationship Id="rId5" Type="http://schemas.openxmlformats.org/officeDocument/2006/relationships/oleObject" Target="../embeddings/oleObject16.bin"/><Relationship Id="rId4" Type="http://schemas.openxmlformats.org/officeDocument/2006/relationships/image" Target="../media/image14.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17.vml"/><Relationship Id="rId5" Type="http://schemas.openxmlformats.org/officeDocument/2006/relationships/image" Target="../media/image9.emf"/><Relationship Id="rId4" Type="http://schemas.openxmlformats.org/officeDocument/2006/relationships/oleObject" Target="../embeddings/oleObject17.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15.jpeg"/><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vmlDrawing" Target="../drawings/vmlDrawing19.vml"/><Relationship Id="rId6" Type="http://schemas.openxmlformats.org/officeDocument/2006/relationships/image" Target="../media/image15.jpeg"/><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vmlDrawing" Target="../drawings/vmlDrawing20.vml"/><Relationship Id="rId6" Type="http://schemas.openxmlformats.org/officeDocument/2006/relationships/image" Target="../media/image16.jpeg"/><Relationship Id="rId5" Type="http://schemas.openxmlformats.org/officeDocument/2006/relationships/image" Target="../media/image5.emf"/><Relationship Id="rId4" Type="http://schemas.openxmlformats.org/officeDocument/2006/relationships/oleObject" Target="../embeddings/oleObject20.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vmlDrawing" Target="../drawings/vmlDrawing21.vml"/><Relationship Id="rId6" Type="http://schemas.openxmlformats.org/officeDocument/2006/relationships/image" Target="../media/image16.jpeg"/><Relationship Id="rId5" Type="http://schemas.openxmlformats.org/officeDocument/2006/relationships/image" Target="../media/image5.emf"/><Relationship Id="rId4" Type="http://schemas.openxmlformats.org/officeDocument/2006/relationships/oleObject" Target="../embeddings/oleObject21.bin"/></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7.png"/><Relationship Id="rId2" Type="http://schemas.openxmlformats.org/officeDocument/2006/relationships/tags" Target="../tags/tag39.xml"/><Relationship Id="rId1" Type="http://schemas.openxmlformats.org/officeDocument/2006/relationships/vmlDrawing" Target="../drawings/vmlDrawing22.vml"/><Relationship Id="rId6" Type="http://schemas.openxmlformats.org/officeDocument/2006/relationships/image" Target="../media/image9.emf"/><Relationship Id="rId5" Type="http://schemas.openxmlformats.org/officeDocument/2006/relationships/oleObject" Target="../embeddings/oleObject22.bin"/><Relationship Id="rId4"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7.png"/><Relationship Id="rId2" Type="http://schemas.openxmlformats.org/officeDocument/2006/relationships/tags" Target="../tags/tag41.xml"/><Relationship Id="rId1" Type="http://schemas.openxmlformats.org/officeDocument/2006/relationships/vmlDrawing" Target="../drawings/vmlDrawing23.vml"/><Relationship Id="rId6" Type="http://schemas.openxmlformats.org/officeDocument/2006/relationships/image" Target="../media/image9.emf"/><Relationship Id="rId5" Type="http://schemas.openxmlformats.org/officeDocument/2006/relationships/oleObject" Target="../embeddings/oleObject23.bin"/><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png"/><Relationship Id="rId2" Type="http://schemas.openxmlformats.org/officeDocument/2006/relationships/tags" Target="../tags/tag20.xml"/><Relationship Id="rId1" Type="http://schemas.openxmlformats.org/officeDocument/2006/relationships/vmlDrawing" Target="../drawings/vmlDrawing3.v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22.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6.vml"/><Relationship Id="rId5" Type="http://schemas.openxmlformats.org/officeDocument/2006/relationships/image" Target="../media/image9.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ZA"/>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ZA"/>
          </a:p>
        </p:txBody>
      </p:sp>
      <p:sp>
        <p:nvSpPr>
          <p:cNvPr id="4" name="Date Placeholder 3"/>
          <p:cNvSpPr>
            <a:spLocks noGrp="1"/>
          </p:cNvSpPr>
          <p:nvPr>
            <p:ph type="dt" sz="half" idx="10"/>
          </p:nvPr>
        </p:nvSpPr>
        <p:spPr/>
        <p:txBody>
          <a:bodyPr/>
          <a:lstStyle/>
          <a:p>
            <a:fld id="{91718E62-3EB5-4610-9B2F-8ED42189A2E7}" type="datetime1">
              <a:rPr lang="en-ZA" smtClean="0"/>
              <a:t>2021/04/26</a:t>
            </a:fld>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87102F09-8F7D-4EC1-9AE5-82CA77F49212}" type="slidenum">
              <a:rPr lang="en-ZA" smtClean="0"/>
              <a:t>‹#›</a:t>
            </a:fld>
            <a:endParaRPr lang="en-ZA" dirty="0"/>
          </a:p>
        </p:txBody>
      </p:sp>
      <p:sp>
        <p:nvSpPr>
          <p:cNvPr id="7" name="TextBox 6">
            <a:extLst>
              <a:ext uri="{FF2B5EF4-FFF2-40B4-BE49-F238E27FC236}">
                <a16:creationId xmlns:a16="http://schemas.microsoft.com/office/drawing/2014/main" id="{3D439905-6431-4F54-924D-36556D96FECB}"/>
              </a:ext>
            </a:extLst>
          </p:cNvPr>
          <p:cNvSpPr txBox="1"/>
          <p:nvPr userDrawn="1"/>
        </p:nvSpPr>
        <p:spPr>
          <a:xfrm>
            <a:off x="0" y="6484140"/>
            <a:ext cx="12192000" cy="373859"/>
          </a:xfrm>
          <a:prstGeom prst="rect">
            <a:avLst/>
          </a:prstGeom>
          <a:solidFill>
            <a:schemeClr val="bg1">
              <a:alpha val="43000"/>
            </a:schemeClr>
          </a:solidFill>
        </p:spPr>
        <p:txBody>
          <a:bodyPr wrap="square" rtlCol="0" anchor="ctr">
            <a:noAutofit/>
          </a:bodyPr>
          <a:lstStyle/>
          <a:p>
            <a:pPr indent="361950"/>
            <a:endParaRPr lang="en-ZA" sz="1000" b="1" dirty="0"/>
          </a:p>
        </p:txBody>
      </p:sp>
    </p:spTree>
    <p:extLst>
      <p:ext uri="{BB962C8B-B14F-4D97-AF65-F5344CB8AC3E}">
        <p14:creationId xmlns:p14="http://schemas.microsoft.com/office/powerpoint/2010/main" val="24976200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1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32AFF6B-0477-48B7-9CB9-814FB554370D}"/>
              </a:ext>
            </a:extLst>
          </p:cNvPr>
          <p:cNvGraphicFramePr>
            <a:graphicFrameLocks noChangeAspect="1"/>
          </p:cNvGraphicFramePr>
          <p:nvPr userDrawn="1">
            <p:custDataLst>
              <p:tags r:id="rId2"/>
            </p:custData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spid="_x0000_s7173"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332AFF6B-0477-48B7-9CB9-814FB554370D}"/>
                          </a:ext>
                        </a:extLst>
                      </p:cNvPr>
                      <p:cNvPicPr/>
                      <p:nvPr/>
                    </p:nvPicPr>
                    <p:blipFill>
                      <a:blip r:embed="rId5"/>
                      <a:stretch>
                        <a:fillRect/>
                      </a:stretch>
                    </p:blipFill>
                    <p:spPr>
                      <a:xfrm>
                        <a:off x="2161" y="1621"/>
                        <a:ext cx="2159" cy="1619"/>
                      </a:xfrm>
                      <a:prstGeom prst="rect">
                        <a:avLst/>
                      </a:prstGeom>
                    </p:spPr>
                  </p:pic>
                </p:oleObj>
              </mc:Fallback>
            </mc:AlternateContent>
          </a:graphicData>
        </a:graphic>
      </p:graphicFrame>
      <p:sp>
        <p:nvSpPr>
          <p:cNvPr id="7" name="Title 1"/>
          <p:cNvSpPr>
            <a:spLocks noGrp="1"/>
          </p:cNvSpPr>
          <p:nvPr>
            <p:ph type="title" hasCustomPrompt="1"/>
          </p:nvPr>
        </p:nvSpPr>
        <p:spPr>
          <a:xfrm>
            <a:off x="630768" y="515970"/>
            <a:ext cx="9447077" cy="335098"/>
          </a:xfrm>
          <a:solidFill>
            <a:schemeClr val="bg1"/>
          </a:solidFill>
        </p:spPr>
        <p:txBody>
          <a:bodyPr lIns="36000">
            <a:noAutofit/>
          </a:bodyPr>
          <a:lstStyle>
            <a:lvl1pPr algn="l">
              <a:defRPr sz="2000">
                <a:solidFill>
                  <a:schemeClr val="accent6">
                    <a:lumMod val="90000"/>
                    <a:lumOff val="10000"/>
                  </a:schemeClr>
                </a:solidFill>
                <a:latin typeface="+mj-lt"/>
              </a:defRPr>
            </a:lvl1pPr>
          </a:lstStyle>
          <a:p>
            <a:r>
              <a:rPr lang="en-US"/>
              <a:t>Click to insert slide title</a:t>
            </a:r>
          </a:p>
        </p:txBody>
      </p:sp>
      <p:sp>
        <p:nvSpPr>
          <p:cNvPr id="13" name="Text Placeholder 12"/>
          <p:cNvSpPr>
            <a:spLocks noGrp="1"/>
          </p:cNvSpPr>
          <p:nvPr>
            <p:ph type="body" sz="quarter" idx="12" hasCustomPrompt="1"/>
          </p:nvPr>
        </p:nvSpPr>
        <p:spPr>
          <a:xfrm>
            <a:off x="630768" y="949199"/>
            <a:ext cx="10943999" cy="646331"/>
          </a:xfrm>
        </p:spPr>
        <p:txBody>
          <a:bodyPr lIns="36000"/>
          <a:lstStyle>
            <a:lvl1pPr marL="0" marR="0" indent="0" algn="l" defTabSz="913526" rtl="0" eaLnBrk="1" fontAlgn="base" latinLnBrk="0" hangingPunct="1">
              <a:lnSpc>
                <a:spcPct val="100000"/>
              </a:lnSpc>
              <a:spcBef>
                <a:spcPct val="0"/>
              </a:spcBef>
              <a:spcAft>
                <a:spcPct val="0"/>
              </a:spcAft>
              <a:buClr>
                <a:srgbClr val="063E59"/>
              </a:buClr>
              <a:buSzPct val="100000"/>
              <a:buFontTx/>
              <a:buNone/>
              <a:tabLst/>
              <a:defRPr sz="1400">
                <a:solidFill>
                  <a:schemeClr val="accent3">
                    <a:lumMod val="90000"/>
                    <a:lumOff val="10000"/>
                  </a:schemeClr>
                </a:solidFill>
                <a:latin typeface="+mn-lt"/>
              </a:defRPr>
            </a:lvl1pPr>
          </a:lstStyle>
          <a:p>
            <a:pPr lvl="0"/>
            <a:r>
              <a:rPr lang="en-ZA"/>
              <a:t>Click to insert sub-title</a:t>
            </a:r>
          </a:p>
          <a:p>
            <a:pPr marL="0" marR="0" lvl="0" indent="0" algn="l" defTabSz="913526" rtl="0" eaLnBrk="1" fontAlgn="base" latinLnBrk="0" hangingPunct="1">
              <a:lnSpc>
                <a:spcPct val="100000"/>
              </a:lnSpc>
              <a:spcBef>
                <a:spcPct val="0"/>
              </a:spcBef>
              <a:spcAft>
                <a:spcPct val="0"/>
              </a:spcAft>
              <a:buClr>
                <a:srgbClr val="063E59"/>
              </a:buClr>
              <a:buSzPct val="100000"/>
              <a:buFontTx/>
              <a:buNone/>
              <a:tabLst/>
              <a:defRPr/>
            </a:pPr>
            <a:r>
              <a:rPr lang="en-ZA"/>
              <a:t>Click to insert sub-title</a:t>
            </a:r>
          </a:p>
          <a:p>
            <a:pPr marL="0" marR="0" lvl="0" indent="0" algn="l" defTabSz="913526" rtl="0" eaLnBrk="1" fontAlgn="base" latinLnBrk="0" hangingPunct="1">
              <a:lnSpc>
                <a:spcPct val="100000"/>
              </a:lnSpc>
              <a:spcBef>
                <a:spcPct val="0"/>
              </a:spcBef>
              <a:spcAft>
                <a:spcPct val="0"/>
              </a:spcAft>
              <a:buClr>
                <a:srgbClr val="063E59"/>
              </a:buClr>
              <a:buSzPct val="100000"/>
              <a:buFontTx/>
              <a:buNone/>
              <a:tabLst/>
              <a:defRPr/>
            </a:pPr>
            <a:r>
              <a:rPr lang="en-ZA"/>
              <a:t>Click to insert sub-title</a:t>
            </a:r>
          </a:p>
        </p:txBody>
      </p:sp>
      <p:sp>
        <p:nvSpPr>
          <p:cNvPr id="5" name="Text Placeholder 3">
            <a:extLst>
              <a:ext uri="{FF2B5EF4-FFF2-40B4-BE49-F238E27FC236}">
                <a16:creationId xmlns:a16="http://schemas.microsoft.com/office/drawing/2014/main" id="{C148230C-FC63-4FD4-B1D0-C4539887B2E7}"/>
              </a:ext>
            </a:extLst>
          </p:cNvPr>
          <p:cNvSpPr>
            <a:spLocks noGrp="1"/>
          </p:cNvSpPr>
          <p:nvPr>
            <p:ph type="body" sz="quarter" idx="10" hasCustomPrompt="1"/>
          </p:nvPr>
        </p:nvSpPr>
        <p:spPr>
          <a:xfrm>
            <a:off x="630768" y="1721976"/>
            <a:ext cx="10943999" cy="4678825"/>
          </a:xfrm>
          <a:prstGeom prst="rect">
            <a:avLst/>
          </a:prstGeom>
        </p:spPr>
        <p:txBody>
          <a:bodyPr vert="horz" wrap="square" lIns="36000" tIns="0" rIns="0" bIns="0" rtlCol="0">
            <a:noAutofit/>
          </a:bodyPr>
          <a:lstStyle>
            <a:lvl1pPr marL="92075" indent="-92075">
              <a:tabLst>
                <a:tab pos="92075" algn="l"/>
              </a:tabLst>
              <a:defRPr sz="1200">
                <a:solidFill>
                  <a:schemeClr val="accent3">
                    <a:lumMod val="90000"/>
                    <a:lumOff val="10000"/>
                  </a:schemeClr>
                </a:solidFill>
                <a:latin typeface="+mn-lt"/>
              </a:defRPr>
            </a:lvl1pPr>
            <a:lvl2pPr>
              <a:defRPr lang="en-US" sz="1200" dirty="0" smtClean="0">
                <a:solidFill>
                  <a:schemeClr val="accent3">
                    <a:lumMod val="90000"/>
                    <a:lumOff val="10000"/>
                  </a:schemeClr>
                </a:solidFill>
                <a:latin typeface="+mn-lt"/>
              </a:defRPr>
            </a:lvl2pPr>
            <a:lvl3pPr>
              <a:defRPr lang="en-US" sz="1200" dirty="0" smtClean="0">
                <a:solidFill>
                  <a:schemeClr val="accent3">
                    <a:lumMod val="90000"/>
                    <a:lumOff val="10000"/>
                  </a:schemeClr>
                </a:solidFill>
                <a:latin typeface="+mn-lt"/>
              </a:defRPr>
            </a:lvl3pPr>
            <a:lvl4pPr>
              <a:defRPr lang="en-US" sz="1200" dirty="0" smtClean="0">
                <a:solidFill>
                  <a:schemeClr val="accent3">
                    <a:lumMod val="90000"/>
                    <a:lumOff val="10000"/>
                  </a:schemeClr>
                </a:solidFill>
                <a:latin typeface="+mn-lt"/>
              </a:defRPr>
            </a:lvl4pPr>
            <a:lvl5pPr>
              <a:defRPr lang="en-GB" dirty="0">
                <a:solidFill>
                  <a:schemeClr val="accent3">
                    <a:lumMod val="90000"/>
                    <a:lumOff val="10000"/>
                  </a:schemeClr>
                </a:solidFill>
                <a:latin typeface="Calibri" panose="020F0502020204030204" pitchFamily="34" charset="0"/>
              </a:defRPr>
            </a:lvl5pPr>
          </a:lstStyle>
          <a:p>
            <a:pPr lvl="0"/>
            <a:r>
              <a:rPr lang="en-US"/>
              <a:t>First level bullet</a:t>
            </a:r>
          </a:p>
          <a:p>
            <a:pPr lvl="1"/>
            <a:r>
              <a:rPr lang="en-US"/>
              <a:t>Second level bullet</a:t>
            </a:r>
          </a:p>
          <a:p>
            <a:pPr lvl="2"/>
            <a:r>
              <a:rPr lang="en-US"/>
              <a:t>Third level bullet</a:t>
            </a:r>
          </a:p>
          <a:p>
            <a:pPr lvl="3"/>
            <a:r>
              <a:rPr lang="en-US"/>
              <a:t>Fourth level bullet</a:t>
            </a:r>
          </a:p>
        </p:txBody>
      </p:sp>
      <p:grpSp>
        <p:nvGrpSpPr>
          <p:cNvPr id="6" name="Group 5">
            <a:extLst>
              <a:ext uri="{FF2B5EF4-FFF2-40B4-BE49-F238E27FC236}">
                <a16:creationId xmlns:a16="http://schemas.microsoft.com/office/drawing/2014/main" id="{E9B224F6-9AD1-48BD-B4A4-CE7EFEE8D136}"/>
              </a:ext>
            </a:extLst>
          </p:cNvPr>
          <p:cNvGrpSpPr/>
          <p:nvPr userDrawn="1"/>
        </p:nvGrpSpPr>
        <p:grpSpPr>
          <a:xfrm flipH="1">
            <a:off x="7045234" y="0"/>
            <a:ext cx="5146765" cy="6857998"/>
            <a:chOff x="-1" y="0"/>
            <a:chExt cx="5000264" cy="6667014"/>
          </a:xfrm>
          <a:blipFill dpi="0" rotWithShape="1">
            <a:blip r:embed="rId6">
              <a:extLst>
                <a:ext uri="{28A0092B-C50C-407E-A947-70E740481C1C}">
                  <a14:useLocalDpi xmlns:a14="http://schemas.microsoft.com/office/drawing/2010/main" val="0"/>
                </a:ext>
              </a:extLst>
            </a:blip>
            <a:srcRect/>
            <a:stretch>
              <a:fillRect/>
            </a:stretch>
          </a:blipFill>
        </p:grpSpPr>
        <p:sp>
          <p:nvSpPr>
            <p:cNvPr id="8" name="Rectangle 7">
              <a:extLst>
                <a:ext uri="{FF2B5EF4-FFF2-40B4-BE49-F238E27FC236}">
                  <a16:creationId xmlns:a16="http://schemas.microsoft.com/office/drawing/2014/main" id="{CDE9E0CF-6556-4341-B41E-8A7C44D04501}"/>
                </a:ext>
              </a:extLst>
            </p:cNvPr>
            <p:cNvSpPr/>
            <p:nvPr/>
          </p:nvSpPr>
          <p:spPr>
            <a:xfrm>
              <a:off x="-1" y="0"/>
              <a:ext cx="1666755" cy="1666755"/>
            </a:xfrm>
            <a:prstGeom prst="rect">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00" dirty="0">
                <a:solidFill>
                  <a:schemeClr val="bg1"/>
                </a:solidFill>
                <a:latin typeface="Calibri" panose="020F0502020204030204" pitchFamily="34" charset="0"/>
              </a:endParaRPr>
            </a:p>
          </p:txBody>
        </p:sp>
        <p:sp>
          <p:nvSpPr>
            <p:cNvPr id="9" name="Rectangle 8">
              <a:extLst>
                <a:ext uri="{FF2B5EF4-FFF2-40B4-BE49-F238E27FC236}">
                  <a16:creationId xmlns:a16="http://schemas.microsoft.com/office/drawing/2014/main" id="{9257DA10-423B-4B01-8FCE-E451DB77135E}"/>
                </a:ext>
              </a:extLst>
            </p:cNvPr>
            <p:cNvSpPr/>
            <p:nvPr/>
          </p:nvSpPr>
          <p:spPr>
            <a:xfrm>
              <a:off x="-1" y="1666755"/>
              <a:ext cx="1666755" cy="1666755"/>
            </a:xfrm>
            <a:prstGeom prst="rect">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00" dirty="0">
                <a:solidFill>
                  <a:schemeClr val="bg1"/>
                </a:solidFill>
                <a:latin typeface="Calibri" panose="020F0502020204030204" pitchFamily="34" charset="0"/>
              </a:endParaRPr>
            </a:p>
          </p:txBody>
        </p:sp>
        <p:sp>
          <p:nvSpPr>
            <p:cNvPr id="10" name="Rectangle 9">
              <a:extLst>
                <a:ext uri="{FF2B5EF4-FFF2-40B4-BE49-F238E27FC236}">
                  <a16:creationId xmlns:a16="http://schemas.microsoft.com/office/drawing/2014/main" id="{0A1DCDC4-BEF8-4ECD-B02C-0F4292B78539}"/>
                </a:ext>
              </a:extLst>
            </p:cNvPr>
            <p:cNvSpPr/>
            <p:nvPr/>
          </p:nvSpPr>
          <p:spPr>
            <a:xfrm>
              <a:off x="-1" y="3333510"/>
              <a:ext cx="1666755" cy="1666755"/>
            </a:xfrm>
            <a:prstGeom prst="rect">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00" dirty="0">
                <a:solidFill>
                  <a:schemeClr val="bg1"/>
                </a:solidFill>
                <a:latin typeface="Calibri" panose="020F0502020204030204" pitchFamily="34" charset="0"/>
              </a:endParaRPr>
            </a:p>
          </p:txBody>
        </p:sp>
        <p:sp>
          <p:nvSpPr>
            <p:cNvPr id="11" name="Rectangle 10">
              <a:extLst>
                <a:ext uri="{FF2B5EF4-FFF2-40B4-BE49-F238E27FC236}">
                  <a16:creationId xmlns:a16="http://schemas.microsoft.com/office/drawing/2014/main" id="{CC032061-5110-48EC-AD27-04F0A5BE57E0}"/>
                </a:ext>
              </a:extLst>
            </p:cNvPr>
            <p:cNvSpPr/>
            <p:nvPr/>
          </p:nvSpPr>
          <p:spPr>
            <a:xfrm>
              <a:off x="-1" y="5000259"/>
              <a:ext cx="1666755" cy="1666755"/>
            </a:xfrm>
            <a:prstGeom prst="rect">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00" dirty="0">
                <a:solidFill>
                  <a:schemeClr val="bg1"/>
                </a:solidFill>
                <a:latin typeface="Calibri" panose="020F0502020204030204" pitchFamily="34" charset="0"/>
              </a:endParaRPr>
            </a:p>
          </p:txBody>
        </p:sp>
        <p:sp>
          <p:nvSpPr>
            <p:cNvPr id="12" name="Rectangle 11">
              <a:extLst>
                <a:ext uri="{FF2B5EF4-FFF2-40B4-BE49-F238E27FC236}">
                  <a16:creationId xmlns:a16="http://schemas.microsoft.com/office/drawing/2014/main" id="{CB281DB3-17BA-4C19-9640-982AA2DE0F70}"/>
                </a:ext>
              </a:extLst>
            </p:cNvPr>
            <p:cNvSpPr/>
            <p:nvPr/>
          </p:nvSpPr>
          <p:spPr>
            <a:xfrm>
              <a:off x="1666753" y="3333509"/>
              <a:ext cx="1666755" cy="1666755"/>
            </a:xfrm>
            <a:prstGeom prst="rect">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00" dirty="0">
                <a:solidFill>
                  <a:schemeClr val="bg1"/>
                </a:solidFill>
                <a:latin typeface="Calibri" panose="020F0502020204030204" pitchFamily="34" charset="0"/>
              </a:endParaRPr>
            </a:p>
          </p:txBody>
        </p:sp>
        <p:sp>
          <p:nvSpPr>
            <p:cNvPr id="14" name="Rectangle 13">
              <a:extLst>
                <a:ext uri="{FF2B5EF4-FFF2-40B4-BE49-F238E27FC236}">
                  <a16:creationId xmlns:a16="http://schemas.microsoft.com/office/drawing/2014/main" id="{C00E3650-2AEF-4F8B-9FA4-0D0AD89A1334}"/>
                </a:ext>
              </a:extLst>
            </p:cNvPr>
            <p:cNvSpPr/>
            <p:nvPr/>
          </p:nvSpPr>
          <p:spPr>
            <a:xfrm>
              <a:off x="1666754" y="5000261"/>
              <a:ext cx="1666756" cy="1666751"/>
            </a:xfrm>
            <a:prstGeom prst="rect">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00" dirty="0">
                <a:solidFill>
                  <a:schemeClr val="bg1"/>
                </a:solidFill>
                <a:latin typeface="Calibri" panose="020F0502020204030204" pitchFamily="34" charset="0"/>
              </a:endParaRPr>
            </a:p>
          </p:txBody>
        </p:sp>
        <p:sp>
          <p:nvSpPr>
            <p:cNvPr id="15" name="Rectangle 14">
              <a:extLst>
                <a:ext uri="{FF2B5EF4-FFF2-40B4-BE49-F238E27FC236}">
                  <a16:creationId xmlns:a16="http://schemas.microsoft.com/office/drawing/2014/main" id="{AC2967C5-1894-440B-9C8A-C46039ABB7D3}"/>
                </a:ext>
              </a:extLst>
            </p:cNvPr>
            <p:cNvSpPr/>
            <p:nvPr/>
          </p:nvSpPr>
          <p:spPr>
            <a:xfrm>
              <a:off x="1666754" y="1666754"/>
              <a:ext cx="1666755" cy="1666755"/>
            </a:xfrm>
            <a:prstGeom prst="rect">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00" dirty="0">
                <a:solidFill>
                  <a:schemeClr val="bg1"/>
                </a:solidFill>
                <a:latin typeface="Calibri" panose="020F0502020204030204" pitchFamily="34" charset="0"/>
              </a:endParaRPr>
            </a:p>
          </p:txBody>
        </p:sp>
        <p:sp>
          <p:nvSpPr>
            <p:cNvPr id="16" name="Rectangle 15">
              <a:extLst>
                <a:ext uri="{FF2B5EF4-FFF2-40B4-BE49-F238E27FC236}">
                  <a16:creationId xmlns:a16="http://schemas.microsoft.com/office/drawing/2014/main" id="{B547C61F-45D2-48FB-B03A-99BC69B97296}"/>
                </a:ext>
              </a:extLst>
            </p:cNvPr>
            <p:cNvSpPr/>
            <p:nvPr/>
          </p:nvSpPr>
          <p:spPr>
            <a:xfrm>
              <a:off x="3333508" y="3333508"/>
              <a:ext cx="1666755" cy="1666755"/>
            </a:xfrm>
            <a:prstGeom prst="rect">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00" dirty="0">
                <a:solidFill>
                  <a:schemeClr val="bg1"/>
                </a:solidFill>
                <a:latin typeface="Calibri" panose="020F0502020204030204" pitchFamily="34" charset="0"/>
              </a:endParaRPr>
            </a:p>
          </p:txBody>
        </p:sp>
      </p:grpSp>
      <p:pic>
        <p:nvPicPr>
          <p:cNvPr id="17" name="Picture 16">
            <a:extLst>
              <a:ext uri="{FF2B5EF4-FFF2-40B4-BE49-F238E27FC236}">
                <a16:creationId xmlns:a16="http://schemas.microsoft.com/office/drawing/2014/main" id="{6E01EC00-6AB7-45CC-8E80-98B0EDED28C4}"/>
              </a:ext>
            </a:extLst>
          </p:cNvPr>
          <p:cNvPicPr>
            <a:picLocks noChangeAspect="1"/>
          </p:cNvPicPr>
          <p:nvPr userDrawn="1"/>
        </p:nvPicPr>
        <p:blipFill>
          <a:blip r:embed="rId7">
            <a:lum bright="70000" contrast="-70000"/>
          </a:blip>
          <a:stretch>
            <a:fillRect/>
          </a:stretch>
        </p:blipFill>
        <p:spPr>
          <a:xfrm>
            <a:off x="10787005" y="6527247"/>
            <a:ext cx="1094400" cy="144000"/>
          </a:xfrm>
          <a:prstGeom prst="rect">
            <a:avLst/>
          </a:prstGeom>
        </p:spPr>
      </p:pic>
    </p:spTree>
    <p:extLst>
      <p:ext uri="{BB962C8B-B14F-4D97-AF65-F5344CB8AC3E}">
        <p14:creationId xmlns:p14="http://schemas.microsoft.com/office/powerpoint/2010/main" val="6207491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32AFF6B-0477-48B7-9CB9-814FB554370D}"/>
              </a:ext>
            </a:extLst>
          </p:cNvPr>
          <p:cNvGraphicFramePr>
            <a:graphicFrameLocks noChangeAspect="1"/>
          </p:cNvGraphicFramePr>
          <p:nvPr userDrawn="1">
            <p:custDataLst>
              <p:tags r:id="rId2"/>
            </p:custData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spid="_x0000_s8197"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332AFF6B-0477-48B7-9CB9-814FB554370D}"/>
                          </a:ext>
                        </a:extLst>
                      </p:cNvPr>
                      <p:cNvPicPr/>
                      <p:nvPr/>
                    </p:nvPicPr>
                    <p:blipFill>
                      <a:blip r:embed="rId5"/>
                      <a:stretch>
                        <a:fillRect/>
                      </a:stretch>
                    </p:blipFill>
                    <p:spPr>
                      <a:xfrm>
                        <a:off x="2161" y="1621"/>
                        <a:ext cx="2159" cy="1619"/>
                      </a:xfrm>
                      <a:prstGeom prst="rect">
                        <a:avLst/>
                      </a:prstGeom>
                    </p:spPr>
                  </p:pic>
                </p:oleObj>
              </mc:Fallback>
            </mc:AlternateContent>
          </a:graphicData>
        </a:graphic>
      </p:graphicFrame>
      <p:sp>
        <p:nvSpPr>
          <p:cNvPr id="7" name="Title 1"/>
          <p:cNvSpPr>
            <a:spLocks noGrp="1"/>
          </p:cNvSpPr>
          <p:nvPr>
            <p:ph type="title" hasCustomPrompt="1"/>
          </p:nvPr>
        </p:nvSpPr>
        <p:spPr>
          <a:xfrm>
            <a:off x="630768" y="515970"/>
            <a:ext cx="9447077" cy="335098"/>
          </a:xfrm>
          <a:noFill/>
        </p:spPr>
        <p:txBody>
          <a:bodyPr lIns="36000">
            <a:noAutofit/>
          </a:bodyPr>
          <a:lstStyle>
            <a:lvl1pPr algn="l">
              <a:defRPr sz="2000">
                <a:solidFill>
                  <a:schemeClr val="accent6">
                    <a:lumMod val="90000"/>
                    <a:lumOff val="10000"/>
                  </a:schemeClr>
                </a:solidFill>
                <a:latin typeface="+mj-lt"/>
              </a:defRPr>
            </a:lvl1pPr>
          </a:lstStyle>
          <a:p>
            <a:r>
              <a:rPr lang="en-US"/>
              <a:t>Click to insert slide title</a:t>
            </a:r>
          </a:p>
        </p:txBody>
      </p:sp>
      <p:sp>
        <p:nvSpPr>
          <p:cNvPr id="13" name="Text Placeholder 12"/>
          <p:cNvSpPr>
            <a:spLocks noGrp="1"/>
          </p:cNvSpPr>
          <p:nvPr>
            <p:ph type="body" sz="quarter" idx="12" hasCustomPrompt="1"/>
          </p:nvPr>
        </p:nvSpPr>
        <p:spPr>
          <a:xfrm>
            <a:off x="630768" y="949199"/>
            <a:ext cx="10943999" cy="646331"/>
          </a:xfrm>
        </p:spPr>
        <p:txBody>
          <a:bodyPr lIns="36000"/>
          <a:lstStyle>
            <a:lvl1pPr marL="0" marR="0" indent="0" algn="l" defTabSz="913526" rtl="0" eaLnBrk="1" fontAlgn="base" latinLnBrk="0" hangingPunct="1">
              <a:lnSpc>
                <a:spcPct val="100000"/>
              </a:lnSpc>
              <a:spcBef>
                <a:spcPct val="0"/>
              </a:spcBef>
              <a:spcAft>
                <a:spcPct val="0"/>
              </a:spcAft>
              <a:buClr>
                <a:srgbClr val="063E59"/>
              </a:buClr>
              <a:buSzPct val="100000"/>
              <a:buFontTx/>
              <a:buNone/>
              <a:tabLst/>
              <a:defRPr sz="1400">
                <a:solidFill>
                  <a:schemeClr val="accent3">
                    <a:lumMod val="90000"/>
                    <a:lumOff val="10000"/>
                  </a:schemeClr>
                </a:solidFill>
                <a:latin typeface="+mn-lt"/>
              </a:defRPr>
            </a:lvl1pPr>
          </a:lstStyle>
          <a:p>
            <a:pPr lvl="0"/>
            <a:r>
              <a:rPr lang="en-ZA"/>
              <a:t>Click to insert sub-title</a:t>
            </a:r>
          </a:p>
          <a:p>
            <a:pPr marL="0" marR="0" lvl="0" indent="0" algn="l" defTabSz="913526" rtl="0" eaLnBrk="1" fontAlgn="base" latinLnBrk="0" hangingPunct="1">
              <a:lnSpc>
                <a:spcPct val="100000"/>
              </a:lnSpc>
              <a:spcBef>
                <a:spcPct val="0"/>
              </a:spcBef>
              <a:spcAft>
                <a:spcPct val="0"/>
              </a:spcAft>
              <a:buClr>
                <a:srgbClr val="063E59"/>
              </a:buClr>
              <a:buSzPct val="100000"/>
              <a:buFontTx/>
              <a:buNone/>
              <a:tabLst/>
              <a:defRPr/>
            </a:pPr>
            <a:r>
              <a:rPr lang="en-ZA"/>
              <a:t>Click to insert sub-title</a:t>
            </a:r>
          </a:p>
          <a:p>
            <a:pPr marL="0" marR="0" lvl="0" indent="0" algn="l" defTabSz="913526" rtl="0" eaLnBrk="1" fontAlgn="base" latinLnBrk="0" hangingPunct="1">
              <a:lnSpc>
                <a:spcPct val="100000"/>
              </a:lnSpc>
              <a:spcBef>
                <a:spcPct val="0"/>
              </a:spcBef>
              <a:spcAft>
                <a:spcPct val="0"/>
              </a:spcAft>
              <a:buClr>
                <a:srgbClr val="063E59"/>
              </a:buClr>
              <a:buSzPct val="100000"/>
              <a:buFontTx/>
              <a:buNone/>
              <a:tabLst/>
              <a:defRPr/>
            </a:pPr>
            <a:r>
              <a:rPr lang="en-ZA"/>
              <a:t>Click to insert sub-title</a:t>
            </a:r>
          </a:p>
        </p:txBody>
      </p:sp>
    </p:spTree>
    <p:extLst>
      <p:ext uri="{BB962C8B-B14F-4D97-AF65-F5344CB8AC3E}">
        <p14:creationId xmlns:p14="http://schemas.microsoft.com/office/powerpoint/2010/main" val="31858147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8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32AFF6B-0477-48B7-9CB9-814FB554370D}"/>
              </a:ext>
            </a:extLst>
          </p:cNvPr>
          <p:cNvGraphicFramePr>
            <a:graphicFrameLocks noChangeAspect="1"/>
          </p:cNvGraphicFramePr>
          <p:nvPr userDrawn="1">
            <p:custDataLst>
              <p:tags r:id="rId2"/>
            </p:custData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spid="_x0000_s9221"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332AFF6B-0477-48B7-9CB9-814FB554370D}"/>
                          </a:ext>
                        </a:extLst>
                      </p:cNvPr>
                      <p:cNvPicPr/>
                      <p:nvPr/>
                    </p:nvPicPr>
                    <p:blipFill>
                      <a:blip r:embed="rId5"/>
                      <a:stretch>
                        <a:fillRect/>
                      </a:stretch>
                    </p:blipFill>
                    <p:spPr>
                      <a:xfrm>
                        <a:off x="2161" y="1621"/>
                        <a:ext cx="2159" cy="1619"/>
                      </a:xfrm>
                      <a:prstGeom prst="rect">
                        <a:avLst/>
                      </a:prstGeom>
                    </p:spPr>
                  </p:pic>
                </p:oleObj>
              </mc:Fallback>
            </mc:AlternateContent>
          </a:graphicData>
        </a:graphic>
      </p:graphicFrame>
      <p:sp>
        <p:nvSpPr>
          <p:cNvPr id="7" name="Title 1"/>
          <p:cNvSpPr>
            <a:spLocks noGrp="1"/>
          </p:cNvSpPr>
          <p:nvPr>
            <p:ph type="title" hasCustomPrompt="1"/>
          </p:nvPr>
        </p:nvSpPr>
        <p:spPr>
          <a:xfrm>
            <a:off x="630768" y="515970"/>
            <a:ext cx="9447077" cy="335098"/>
          </a:xfrm>
          <a:solidFill>
            <a:schemeClr val="bg1"/>
          </a:solidFill>
        </p:spPr>
        <p:txBody>
          <a:bodyPr lIns="36000">
            <a:noAutofit/>
          </a:bodyPr>
          <a:lstStyle>
            <a:lvl1pPr algn="l">
              <a:defRPr sz="2000">
                <a:solidFill>
                  <a:schemeClr val="accent6">
                    <a:lumMod val="90000"/>
                    <a:lumOff val="10000"/>
                  </a:schemeClr>
                </a:solidFill>
                <a:latin typeface="+mj-lt"/>
              </a:defRPr>
            </a:lvl1pPr>
          </a:lstStyle>
          <a:p>
            <a:r>
              <a:rPr lang="en-US"/>
              <a:t>Click to insert slide title</a:t>
            </a:r>
          </a:p>
        </p:txBody>
      </p:sp>
      <p:sp>
        <p:nvSpPr>
          <p:cNvPr id="13" name="Text Placeholder 12"/>
          <p:cNvSpPr>
            <a:spLocks noGrp="1"/>
          </p:cNvSpPr>
          <p:nvPr>
            <p:ph type="body" sz="quarter" idx="12" hasCustomPrompt="1"/>
          </p:nvPr>
        </p:nvSpPr>
        <p:spPr>
          <a:xfrm>
            <a:off x="630768" y="949199"/>
            <a:ext cx="10943999" cy="646331"/>
          </a:xfrm>
        </p:spPr>
        <p:txBody>
          <a:bodyPr lIns="36000"/>
          <a:lstStyle>
            <a:lvl1pPr marL="0" marR="0" indent="0" algn="l" defTabSz="913526" rtl="0" eaLnBrk="1" fontAlgn="base" latinLnBrk="0" hangingPunct="1">
              <a:lnSpc>
                <a:spcPct val="100000"/>
              </a:lnSpc>
              <a:spcBef>
                <a:spcPct val="0"/>
              </a:spcBef>
              <a:spcAft>
                <a:spcPct val="0"/>
              </a:spcAft>
              <a:buClr>
                <a:srgbClr val="063E59"/>
              </a:buClr>
              <a:buSzPct val="100000"/>
              <a:buFontTx/>
              <a:buNone/>
              <a:tabLst/>
              <a:defRPr sz="1400">
                <a:solidFill>
                  <a:schemeClr val="accent3">
                    <a:lumMod val="90000"/>
                    <a:lumOff val="10000"/>
                  </a:schemeClr>
                </a:solidFill>
                <a:latin typeface="+mn-lt"/>
              </a:defRPr>
            </a:lvl1pPr>
          </a:lstStyle>
          <a:p>
            <a:pPr lvl="0"/>
            <a:r>
              <a:rPr lang="en-ZA"/>
              <a:t>Click to insert sub-title</a:t>
            </a:r>
          </a:p>
          <a:p>
            <a:pPr marL="0" marR="0" lvl="0" indent="0" algn="l" defTabSz="913526" rtl="0" eaLnBrk="1" fontAlgn="base" latinLnBrk="0" hangingPunct="1">
              <a:lnSpc>
                <a:spcPct val="100000"/>
              </a:lnSpc>
              <a:spcBef>
                <a:spcPct val="0"/>
              </a:spcBef>
              <a:spcAft>
                <a:spcPct val="0"/>
              </a:spcAft>
              <a:buClr>
                <a:srgbClr val="063E59"/>
              </a:buClr>
              <a:buSzPct val="100000"/>
              <a:buFontTx/>
              <a:buNone/>
              <a:tabLst/>
              <a:defRPr/>
            </a:pPr>
            <a:r>
              <a:rPr lang="en-ZA"/>
              <a:t>Click to insert sub-title</a:t>
            </a:r>
          </a:p>
          <a:p>
            <a:pPr marL="0" marR="0" lvl="0" indent="0" algn="l" defTabSz="913526" rtl="0" eaLnBrk="1" fontAlgn="base" latinLnBrk="0" hangingPunct="1">
              <a:lnSpc>
                <a:spcPct val="100000"/>
              </a:lnSpc>
              <a:spcBef>
                <a:spcPct val="0"/>
              </a:spcBef>
              <a:spcAft>
                <a:spcPct val="0"/>
              </a:spcAft>
              <a:buClr>
                <a:srgbClr val="063E59"/>
              </a:buClr>
              <a:buSzPct val="100000"/>
              <a:buFontTx/>
              <a:buNone/>
              <a:tabLst/>
              <a:defRPr/>
            </a:pPr>
            <a:r>
              <a:rPr lang="en-ZA"/>
              <a:t>Click to insert sub-title</a:t>
            </a:r>
          </a:p>
        </p:txBody>
      </p:sp>
    </p:spTree>
    <p:extLst>
      <p:ext uri="{BB962C8B-B14F-4D97-AF65-F5344CB8AC3E}">
        <p14:creationId xmlns:p14="http://schemas.microsoft.com/office/powerpoint/2010/main" val="20810768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32AFF6B-0477-48B7-9CB9-814FB554370D}"/>
              </a:ext>
            </a:extLst>
          </p:cNvPr>
          <p:cNvGraphicFramePr>
            <a:graphicFrameLocks noChangeAspect="1"/>
          </p:cNvGraphicFramePr>
          <p:nvPr userDrawn="1">
            <p:custDataLst>
              <p:tags r:id="rId2"/>
            </p:custData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spid="_x0000_s10245"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332AFF6B-0477-48B7-9CB9-814FB554370D}"/>
                          </a:ext>
                        </a:extLst>
                      </p:cNvPr>
                      <p:cNvPicPr/>
                      <p:nvPr/>
                    </p:nvPicPr>
                    <p:blipFill>
                      <a:blip r:embed="rId5"/>
                      <a:stretch>
                        <a:fillRect/>
                      </a:stretch>
                    </p:blipFill>
                    <p:spPr>
                      <a:xfrm>
                        <a:off x="2161" y="1621"/>
                        <a:ext cx="2159" cy="1619"/>
                      </a:xfrm>
                      <a:prstGeom prst="rect">
                        <a:avLst/>
                      </a:prstGeom>
                    </p:spPr>
                  </p:pic>
                </p:oleObj>
              </mc:Fallback>
            </mc:AlternateContent>
          </a:graphicData>
        </a:graphic>
      </p:graphicFrame>
      <p:pic>
        <p:nvPicPr>
          <p:cNvPr id="6" name="Picture 5" descr="A picture containing ground&#10;&#10;Description generated with very high confidence">
            <a:extLst>
              <a:ext uri="{FF2B5EF4-FFF2-40B4-BE49-F238E27FC236}">
                <a16:creationId xmlns:a16="http://schemas.microsoft.com/office/drawing/2014/main" id="{DA3EA458-AA1D-4D1E-BC2C-E48A1E036B83}"/>
              </a:ext>
            </a:extLst>
          </p:cNvPr>
          <p:cNvPicPr>
            <a:picLocks noChangeAspect="1"/>
          </p:cNvPicPr>
          <p:nvPr userDrawn="1"/>
        </p:nvPicPr>
        <p:blipFill rotWithShape="1">
          <a:blip r:embed="rId6"/>
          <a:srcRect l="51588" t="2995" b="15335"/>
          <a:stretch/>
        </p:blipFill>
        <p:spPr>
          <a:xfrm>
            <a:off x="1" y="-1"/>
            <a:ext cx="12192000" cy="6858001"/>
          </a:xfrm>
          <a:prstGeom prst="rect">
            <a:avLst/>
          </a:prstGeom>
        </p:spPr>
      </p:pic>
      <p:sp>
        <p:nvSpPr>
          <p:cNvPr id="7" name="Title 1"/>
          <p:cNvSpPr>
            <a:spLocks noGrp="1"/>
          </p:cNvSpPr>
          <p:nvPr>
            <p:ph type="title" hasCustomPrompt="1"/>
          </p:nvPr>
        </p:nvSpPr>
        <p:spPr>
          <a:xfrm>
            <a:off x="630768" y="515970"/>
            <a:ext cx="9447077" cy="335098"/>
          </a:xfrm>
          <a:noFill/>
        </p:spPr>
        <p:txBody>
          <a:bodyPr lIns="36000">
            <a:noAutofit/>
          </a:bodyPr>
          <a:lstStyle>
            <a:lvl1pPr algn="l">
              <a:defRPr sz="2400">
                <a:solidFill>
                  <a:schemeClr val="bg2"/>
                </a:solidFill>
                <a:latin typeface="+mj-lt"/>
              </a:defRPr>
            </a:lvl1pPr>
          </a:lstStyle>
          <a:p>
            <a:r>
              <a:rPr lang="en-US"/>
              <a:t>Click to insert slide title</a:t>
            </a:r>
          </a:p>
        </p:txBody>
      </p:sp>
      <p:sp>
        <p:nvSpPr>
          <p:cNvPr id="13" name="Text Placeholder 12"/>
          <p:cNvSpPr>
            <a:spLocks noGrp="1"/>
          </p:cNvSpPr>
          <p:nvPr>
            <p:ph type="body" sz="quarter" idx="12" hasCustomPrompt="1"/>
          </p:nvPr>
        </p:nvSpPr>
        <p:spPr>
          <a:xfrm>
            <a:off x="630768" y="949199"/>
            <a:ext cx="10943999" cy="646331"/>
          </a:xfrm>
        </p:spPr>
        <p:txBody>
          <a:bodyPr lIns="36000"/>
          <a:lstStyle>
            <a:lvl1pPr marL="0" marR="0" indent="0" algn="l" defTabSz="913526" rtl="0" eaLnBrk="1" fontAlgn="base" latinLnBrk="0" hangingPunct="1">
              <a:lnSpc>
                <a:spcPct val="100000"/>
              </a:lnSpc>
              <a:spcBef>
                <a:spcPct val="0"/>
              </a:spcBef>
              <a:spcAft>
                <a:spcPct val="0"/>
              </a:spcAft>
              <a:buClr>
                <a:srgbClr val="063E59"/>
              </a:buClr>
              <a:buSzPct val="100000"/>
              <a:buFontTx/>
              <a:buNone/>
              <a:tabLst/>
              <a:defRPr sz="1400">
                <a:solidFill>
                  <a:schemeClr val="bg2"/>
                </a:solidFill>
                <a:latin typeface="+mn-lt"/>
              </a:defRPr>
            </a:lvl1pPr>
          </a:lstStyle>
          <a:p>
            <a:pPr lvl="0"/>
            <a:r>
              <a:rPr lang="en-ZA"/>
              <a:t>Click to insert sub-title</a:t>
            </a:r>
          </a:p>
          <a:p>
            <a:pPr marL="0" marR="0" lvl="0" indent="0" algn="l" defTabSz="913526" rtl="0" eaLnBrk="1" fontAlgn="base" latinLnBrk="0" hangingPunct="1">
              <a:lnSpc>
                <a:spcPct val="100000"/>
              </a:lnSpc>
              <a:spcBef>
                <a:spcPct val="0"/>
              </a:spcBef>
              <a:spcAft>
                <a:spcPct val="0"/>
              </a:spcAft>
              <a:buClr>
                <a:srgbClr val="063E59"/>
              </a:buClr>
              <a:buSzPct val="100000"/>
              <a:buFontTx/>
              <a:buNone/>
              <a:tabLst/>
              <a:defRPr/>
            </a:pPr>
            <a:r>
              <a:rPr lang="en-ZA"/>
              <a:t>Click to insert sub-title</a:t>
            </a:r>
          </a:p>
          <a:p>
            <a:pPr marL="0" marR="0" lvl="0" indent="0" algn="l" defTabSz="913526" rtl="0" eaLnBrk="1" fontAlgn="base" latinLnBrk="0" hangingPunct="1">
              <a:lnSpc>
                <a:spcPct val="100000"/>
              </a:lnSpc>
              <a:spcBef>
                <a:spcPct val="0"/>
              </a:spcBef>
              <a:spcAft>
                <a:spcPct val="0"/>
              </a:spcAft>
              <a:buClr>
                <a:srgbClr val="063E59"/>
              </a:buClr>
              <a:buSzPct val="100000"/>
              <a:buFontTx/>
              <a:buNone/>
              <a:tabLst/>
              <a:defRPr/>
            </a:pPr>
            <a:r>
              <a:rPr lang="en-ZA"/>
              <a:t>Click to insert sub-title</a:t>
            </a:r>
          </a:p>
        </p:txBody>
      </p:sp>
    </p:spTree>
    <p:extLst>
      <p:ext uri="{BB962C8B-B14F-4D97-AF65-F5344CB8AC3E}">
        <p14:creationId xmlns:p14="http://schemas.microsoft.com/office/powerpoint/2010/main" val="17388715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7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32AFF6B-0477-48B7-9CB9-814FB554370D}"/>
              </a:ext>
            </a:extLst>
          </p:cNvPr>
          <p:cNvGraphicFramePr>
            <a:graphicFrameLocks noChangeAspect="1"/>
          </p:cNvGraphicFramePr>
          <p:nvPr userDrawn="1">
            <p:custDataLst>
              <p:tags r:id="rId2"/>
            </p:custData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spid="_x0000_s11269"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332AFF6B-0477-48B7-9CB9-814FB554370D}"/>
                          </a:ext>
                        </a:extLst>
                      </p:cNvPr>
                      <p:cNvPicPr/>
                      <p:nvPr/>
                    </p:nvPicPr>
                    <p:blipFill>
                      <a:blip r:embed="rId5"/>
                      <a:stretch>
                        <a:fillRect/>
                      </a:stretch>
                    </p:blipFill>
                    <p:spPr>
                      <a:xfrm>
                        <a:off x="2161" y="1621"/>
                        <a:ext cx="2159" cy="1619"/>
                      </a:xfrm>
                      <a:prstGeom prst="rect">
                        <a:avLst/>
                      </a:prstGeom>
                    </p:spPr>
                  </p:pic>
                </p:oleObj>
              </mc:Fallback>
            </mc:AlternateContent>
          </a:graphicData>
        </a:graphic>
      </p:graphicFrame>
      <p:pic>
        <p:nvPicPr>
          <p:cNvPr id="10" name="Picture 9" descr="A picture containing ground&#10;&#10;Description generated with very high confidence">
            <a:extLst>
              <a:ext uri="{FF2B5EF4-FFF2-40B4-BE49-F238E27FC236}">
                <a16:creationId xmlns:a16="http://schemas.microsoft.com/office/drawing/2014/main" id="{2BB9C680-4934-4BC1-8204-F47027798641}"/>
              </a:ext>
            </a:extLst>
          </p:cNvPr>
          <p:cNvPicPr>
            <a:picLocks noChangeAspect="1"/>
          </p:cNvPicPr>
          <p:nvPr userDrawn="1"/>
        </p:nvPicPr>
        <p:blipFill rotWithShape="1">
          <a:blip r:embed="rId6"/>
          <a:srcRect l="3177" t="2995" r="48411" b="15335"/>
          <a:stretch/>
        </p:blipFill>
        <p:spPr>
          <a:xfrm>
            <a:off x="6767" y="-2"/>
            <a:ext cx="12192000" cy="6858001"/>
          </a:xfrm>
          <a:prstGeom prst="rect">
            <a:avLst/>
          </a:prstGeom>
        </p:spPr>
      </p:pic>
      <p:sp>
        <p:nvSpPr>
          <p:cNvPr id="7" name="Title 1"/>
          <p:cNvSpPr>
            <a:spLocks noGrp="1"/>
          </p:cNvSpPr>
          <p:nvPr>
            <p:ph type="title" hasCustomPrompt="1"/>
          </p:nvPr>
        </p:nvSpPr>
        <p:spPr>
          <a:xfrm>
            <a:off x="630768" y="515970"/>
            <a:ext cx="9447077" cy="335098"/>
          </a:xfrm>
          <a:noFill/>
        </p:spPr>
        <p:txBody>
          <a:bodyPr lIns="36000">
            <a:noAutofit/>
          </a:bodyPr>
          <a:lstStyle>
            <a:lvl1pPr algn="l">
              <a:defRPr sz="2400">
                <a:solidFill>
                  <a:schemeClr val="bg2"/>
                </a:solidFill>
                <a:latin typeface="+mj-lt"/>
              </a:defRPr>
            </a:lvl1pPr>
          </a:lstStyle>
          <a:p>
            <a:r>
              <a:rPr lang="en-US"/>
              <a:t>Click to insert slide title</a:t>
            </a:r>
          </a:p>
        </p:txBody>
      </p:sp>
      <p:sp>
        <p:nvSpPr>
          <p:cNvPr id="13" name="Text Placeholder 12"/>
          <p:cNvSpPr>
            <a:spLocks noGrp="1"/>
          </p:cNvSpPr>
          <p:nvPr>
            <p:ph type="body" sz="quarter" idx="12" hasCustomPrompt="1"/>
          </p:nvPr>
        </p:nvSpPr>
        <p:spPr>
          <a:xfrm>
            <a:off x="630768" y="949199"/>
            <a:ext cx="10943999" cy="646331"/>
          </a:xfrm>
        </p:spPr>
        <p:txBody>
          <a:bodyPr lIns="36000"/>
          <a:lstStyle>
            <a:lvl1pPr marL="0" marR="0" indent="0" algn="l" defTabSz="913526" rtl="0" eaLnBrk="1" fontAlgn="base" latinLnBrk="0" hangingPunct="1">
              <a:lnSpc>
                <a:spcPct val="100000"/>
              </a:lnSpc>
              <a:spcBef>
                <a:spcPct val="0"/>
              </a:spcBef>
              <a:spcAft>
                <a:spcPct val="0"/>
              </a:spcAft>
              <a:buClr>
                <a:srgbClr val="063E59"/>
              </a:buClr>
              <a:buSzPct val="100000"/>
              <a:buFontTx/>
              <a:buNone/>
              <a:tabLst/>
              <a:defRPr sz="1400">
                <a:solidFill>
                  <a:schemeClr val="bg2"/>
                </a:solidFill>
                <a:latin typeface="+mn-lt"/>
              </a:defRPr>
            </a:lvl1pPr>
          </a:lstStyle>
          <a:p>
            <a:pPr lvl="0"/>
            <a:r>
              <a:rPr lang="en-ZA"/>
              <a:t>Click to insert sub-title</a:t>
            </a:r>
          </a:p>
          <a:p>
            <a:pPr marL="0" marR="0" lvl="0" indent="0" algn="l" defTabSz="913526" rtl="0" eaLnBrk="1" fontAlgn="base" latinLnBrk="0" hangingPunct="1">
              <a:lnSpc>
                <a:spcPct val="100000"/>
              </a:lnSpc>
              <a:spcBef>
                <a:spcPct val="0"/>
              </a:spcBef>
              <a:spcAft>
                <a:spcPct val="0"/>
              </a:spcAft>
              <a:buClr>
                <a:srgbClr val="063E59"/>
              </a:buClr>
              <a:buSzPct val="100000"/>
              <a:buFontTx/>
              <a:buNone/>
              <a:tabLst/>
              <a:defRPr/>
            </a:pPr>
            <a:r>
              <a:rPr lang="en-ZA"/>
              <a:t>Click to insert sub-title</a:t>
            </a:r>
          </a:p>
          <a:p>
            <a:pPr marL="0" marR="0" lvl="0" indent="0" algn="l" defTabSz="913526" rtl="0" eaLnBrk="1" fontAlgn="base" latinLnBrk="0" hangingPunct="1">
              <a:lnSpc>
                <a:spcPct val="100000"/>
              </a:lnSpc>
              <a:spcBef>
                <a:spcPct val="0"/>
              </a:spcBef>
              <a:spcAft>
                <a:spcPct val="0"/>
              </a:spcAft>
              <a:buClr>
                <a:srgbClr val="063E59"/>
              </a:buClr>
              <a:buSzPct val="100000"/>
              <a:buFontTx/>
              <a:buNone/>
              <a:tabLst/>
              <a:defRPr/>
            </a:pPr>
            <a:r>
              <a:rPr lang="en-ZA"/>
              <a:t>Click to insert sub-title</a:t>
            </a:r>
          </a:p>
        </p:txBody>
      </p:sp>
    </p:spTree>
    <p:extLst>
      <p:ext uri="{BB962C8B-B14F-4D97-AF65-F5344CB8AC3E}">
        <p14:creationId xmlns:p14="http://schemas.microsoft.com/office/powerpoint/2010/main" val="13661801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32AFF6B-0477-48B7-9CB9-814FB554370D}"/>
              </a:ext>
            </a:extLst>
          </p:cNvPr>
          <p:cNvGraphicFramePr>
            <a:graphicFrameLocks noChangeAspect="1"/>
          </p:cNvGraphicFramePr>
          <p:nvPr userDrawn="1">
            <p:custDataLst>
              <p:tags r:id="rId2"/>
            </p:custData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spid="_x0000_s12293"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332AFF6B-0477-48B7-9CB9-814FB554370D}"/>
                          </a:ext>
                        </a:extLst>
                      </p:cNvPr>
                      <p:cNvPicPr/>
                      <p:nvPr/>
                    </p:nvPicPr>
                    <p:blipFill>
                      <a:blip r:embed="rId5"/>
                      <a:stretch>
                        <a:fillRect/>
                      </a:stretch>
                    </p:blipFill>
                    <p:spPr>
                      <a:xfrm>
                        <a:off x="2161" y="1621"/>
                        <a:ext cx="2159" cy="1619"/>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E2FFA4DF-5267-405F-895B-B4780DA65A48}"/>
              </a:ext>
            </a:extLst>
          </p:cNvPr>
          <p:cNvPicPr>
            <a:picLocks noChangeAspect="1"/>
          </p:cNvPicPr>
          <p:nvPr userDrawn="1"/>
        </p:nvPicPr>
        <p:blipFill rotWithShape="1">
          <a:blip r:embed="rId6"/>
          <a:srcRect r="50000" b="15697"/>
          <a:stretch/>
        </p:blipFill>
        <p:spPr>
          <a:xfrm>
            <a:off x="0" y="-1"/>
            <a:ext cx="12198767" cy="6858001"/>
          </a:xfrm>
          <a:prstGeom prst="rect">
            <a:avLst/>
          </a:prstGeom>
        </p:spPr>
      </p:pic>
      <p:sp>
        <p:nvSpPr>
          <p:cNvPr id="7" name="Title 1"/>
          <p:cNvSpPr>
            <a:spLocks noGrp="1"/>
          </p:cNvSpPr>
          <p:nvPr>
            <p:ph type="title" hasCustomPrompt="1"/>
          </p:nvPr>
        </p:nvSpPr>
        <p:spPr>
          <a:xfrm>
            <a:off x="630768" y="515970"/>
            <a:ext cx="9447077" cy="335098"/>
          </a:xfrm>
          <a:noFill/>
        </p:spPr>
        <p:txBody>
          <a:bodyPr lIns="36000">
            <a:noAutofit/>
          </a:bodyPr>
          <a:lstStyle>
            <a:lvl1pPr algn="l">
              <a:defRPr sz="2400">
                <a:solidFill>
                  <a:schemeClr val="bg2"/>
                </a:solidFill>
                <a:latin typeface="+mj-lt"/>
              </a:defRPr>
            </a:lvl1pPr>
          </a:lstStyle>
          <a:p>
            <a:r>
              <a:rPr lang="en-US"/>
              <a:t>Click to insert slide title</a:t>
            </a:r>
          </a:p>
        </p:txBody>
      </p:sp>
      <p:sp>
        <p:nvSpPr>
          <p:cNvPr id="13" name="Text Placeholder 12"/>
          <p:cNvSpPr>
            <a:spLocks noGrp="1"/>
          </p:cNvSpPr>
          <p:nvPr>
            <p:ph type="body" sz="quarter" idx="12" hasCustomPrompt="1"/>
          </p:nvPr>
        </p:nvSpPr>
        <p:spPr>
          <a:xfrm>
            <a:off x="630768" y="949199"/>
            <a:ext cx="10943999" cy="646331"/>
          </a:xfrm>
        </p:spPr>
        <p:txBody>
          <a:bodyPr lIns="36000"/>
          <a:lstStyle>
            <a:lvl1pPr marL="0" marR="0" indent="0" algn="l" defTabSz="913526" rtl="0" eaLnBrk="1" fontAlgn="base" latinLnBrk="0" hangingPunct="1">
              <a:lnSpc>
                <a:spcPct val="100000"/>
              </a:lnSpc>
              <a:spcBef>
                <a:spcPct val="0"/>
              </a:spcBef>
              <a:spcAft>
                <a:spcPct val="0"/>
              </a:spcAft>
              <a:buClr>
                <a:srgbClr val="063E59"/>
              </a:buClr>
              <a:buSzPct val="100000"/>
              <a:buFontTx/>
              <a:buNone/>
              <a:tabLst/>
              <a:defRPr sz="1400">
                <a:solidFill>
                  <a:schemeClr val="bg2"/>
                </a:solidFill>
                <a:latin typeface="+mn-lt"/>
              </a:defRPr>
            </a:lvl1pPr>
          </a:lstStyle>
          <a:p>
            <a:pPr lvl="0"/>
            <a:r>
              <a:rPr lang="en-ZA"/>
              <a:t>Click to insert sub-title</a:t>
            </a:r>
          </a:p>
          <a:p>
            <a:pPr marL="0" marR="0" lvl="0" indent="0" algn="l" defTabSz="913526" rtl="0" eaLnBrk="1" fontAlgn="base" latinLnBrk="0" hangingPunct="1">
              <a:lnSpc>
                <a:spcPct val="100000"/>
              </a:lnSpc>
              <a:spcBef>
                <a:spcPct val="0"/>
              </a:spcBef>
              <a:spcAft>
                <a:spcPct val="0"/>
              </a:spcAft>
              <a:buClr>
                <a:srgbClr val="063E59"/>
              </a:buClr>
              <a:buSzPct val="100000"/>
              <a:buFontTx/>
              <a:buNone/>
              <a:tabLst/>
              <a:defRPr/>
            </a:pPr>
            <a:r>
              <a:rPr lang="en-ZA"/>
              <a:t>Click to insert sub-title</a:t>
            </a:r>
          </a:p>
          <a:p>
            <a:pPr marL="0" marR="0" lvl="0" indent="0" algn="l" defTabSz="913526" rtl="0" eaLnBrk="1" fontAlgn="base" latinLnBrk="0" hangingPunct="1">
              <a:lnSpc>
                <a:spcPct val="100000"/>
              </a:lnSpc>
              <a:spcBef>
                <a:spcPct val="0"/>
              </a:spcBef>
              <a:spcAft>
                <a:spcPct val="0"/>
              </a:spcAft>
              <a:buClr>
                <a:srgbClr val="063E59"/>
              </a:buClr>
              <a:buSzPct val="100000"/>
              <a:buFontTx/>
              <a:buNone/>
              <a:tabLst/>
              <a:defRPr/>
            </a:pPr>
            <a:r>
              <a:rPr lang="en-ZA"/>
              <a:t>Click to insert sub-title</a:t>
            </a:r>
          </a:p>
        </p:txBody>
      </p:sp>
    </p:spTree>
    <p:extLst>
      <p:ext uri="{BB962C8B-B14F-4D97-AF65-F5344CB8AC3E}">
        <p14:creationId xmlns:p14="http://schemas.microsoft.com/office/powerpoint/2010/main" val="21594408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32AFF6B-0477-48B7-9CB9-814FB554370D}"/>
              </a:ext>
            </a:extLst>
          </p:cNvPr>
          <p:cNvGraphicFramePr>
            <a:graphicFrameLocks noChangeAspect="1"/>
          </p:cNvGraphicFramePr>
          <p:nvPr userDrawn="1">
            <p:custDataLst>
              <p:tags r:id="rId2"/>
            </p:custData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spid="_x0000_s13317"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332AFF6B-0477-48B7-9CB9-814FB554370D}"/>
                          </a:ext>
                        </a:extLst>
                      </p:cNvPr>
                      <p:cNvPicPr/>
                      <p:nvPr/>
                    </p:nvPicPr>
                    <p:blipFill>
                      <a:blip r:embed="rId5"/>
                      <a:stretch>
                        <a:fillRect/>
                      </a:stretch>
                    </p:blipFill>
                    <p:spPr>
                      <a:xfrm>
                        <a:off x="2161" y="1621"/>
                        <a:ext cx="2159" cy="1619"/>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28768378-D554-4DA9-B99B-2CCEAB026116}"/>
              </a:ext>
            </a:extLst>
          </p:cNvPr>
          <p:cNvPicPr>
            <a:picLocks noChangeAspect="1"/>
          </p:cNvPicPr>
          <p:nvPr userDrawn="1"/>
        </p:nvPicPr>
        <p:blipFill rotWithShape="1">
          <a:blip r:embed="rId6"/>
          <a:srcRect l="49629" t="1265" r="463" b="14542"/>
          <a:stretch/>
        </p:blipFill>
        <p:spPr>
          <a:xfrm>
            <a:off x="0" y="0"/>
            <a:ext cx="12192000" cy="6858000"/>
          </a:xfrm>
          <a:prstGeom prst="rect">
            <a:avLst/>
          </a:prstGeom>
        </p:spPr>
      </p:pic>
      <p:sp>
        <p:nvSpPr>
          <p:cNvPr id="7" name="Title 1"/>
          <p:cNvSpPr>
            <a:spLocks noGrp="1"/>
          </p:cNvSpPr>
          <p:nvPr>
            <p:ph type="title" hasCustomPrompt="1"/>
          </p:nvPr>
        </p:nvSpPr>
        <p:spPr>
          <a:xfrm>
            <a:off x="630768" y="515970"/>
            <a:ext cx="9447077" cy="335098"/>
          </a:xfrm>
          <a:noFill/>
        </p:spPr>
        <p:txBody>
          <a:bodyPr lIns="36000">
            <a:noAutofit/>
          </a:bodyPr>
          <a:lstStyle>
            <a:lvl1pPr algn="l">
              <a:defRPr sz="2400">
                <a:solidFill>
                  <a:schemeClr val="bg2"/>
                </a:solidFill>
                <a:latin typeface="+mj-lt"/>
              </a:defRPr>
            </a:lvl1pPr>
          </a:lstStyle>
          <a:p>
            <a:r>
              <a:rPr lang="en-US"/>
              <a:t>Click to insert slide title</a:t>
            </a:r>
          </a:p>
        </p:txBody>
      </p:sp>
      <p:sp>
        <p:nvSpPr>
          <p:cNvPr id="13" name="Text Placeholder 12"/>
          <p:cNvSpPr>
            <a:spLocks noGrp="1"/>
          </p:cNvSpPr>
          <p:nvPr>
            <p:ph type="body" sz="quarter" idx="12" hasCustomPrompt="1"/>
          </p:nvPr>
        </p:nvSpPr>
        <p:spPr>
          <a:xfrm>
            <a:off x="630768" y="949199"/>
            <a:ext cx="10943999" cy="646331"/>
          </a:xfrm>
        </p:spPr>
        <p:txBody>
          <a:bodyPr lIns="36000"/>
          <a:lstStyle>
            <a:lvl1pPr marL="0" marR="0" indent="0" algn="l" defTabSz="913526" rtl="0" eaLnBrk="1" fontAlgn="base" latinLnBrk="0" hangingPunct="1">
              <a:lnSpc>
                <a:spcPct val="100000"/>
              </a:lnSpc>
              <a:spcBef>
                <a:spcPct val="0"/>
              </a:spcBef>
              <a:spcAft>
                <a:spcPct val="0"/>
              </a:spcAft>
              <a:buClr>
                <a:srgbClr val="063E59"/>
              </a:buClr>
              <a:buSzPct val="100000"/>
              <a:buFontTx/>
              <a:buNone/>
              <a:tabLst/>
              <a:defRPr sz="1400">
                <a:solidFill>
                  <a:schemeClr val="bg2"/>
                </a:solidFill>
                <a:latin typeface="+mn-lt"/>
              </a:defRPr>
            </a:lvl1pPr>
          </a:lstStyle>
          <a:p>
            <a:pPr lvl="0"/>
            <a:r>
              <a:rPr lang="en-ZA"/>
              <a:t>Click to insert sub-title</a:t>
            </a:r>
          </a:p>
          <a:p>
            <a:pPr marL="0" marR="0" lvl="0" indent="0" algn="l" defTabSz="913526" rtl="0" eaLnBrk="1" fontAlgn="base" latinLnBrk="0" hangingPunct="1">
              <a:lnSpc>
                <a:spcPct val="100000"/>
              </a:lnSpc>
              <a:spcBef>
                <a:spcPct val="0"/>
              </a:spcBef>
              <a:spcAft>
                <a:spcPct val="0"/>
              </a:spcAft>
              <a:buClr>
                <a:srgbClr val="063E59"/>
              </a:buClr>
              <a:buSzPct val="100000"/>
              <a:buFontTx/>
              <a:buNone/>
              <a:tabLst/>
              <a:defRPr/>
            </a:pPr>
            <a:r>
              <a:rPr lang="en-ZA"/>
              <a:t>Click to insert sub-title</a:t>
            </a:r>
          </a:p>
          <a:p>
            <a:pPr marL="0" marR="0" lvl="0" indent="0" algn="l" defTabSz="913526" rtl="0" eaLnBrk="1" fontAlgn="base" latinLnBrk="0" hangingPunct="1">
              <a:lnSpc>
                <a:spcPct val="100000"/>
              </a:lnSpc>
              <a:spcBef>
                <a:spcPct val="0"/>
              </a:spcBef>
              <a:spcAft>
                <a:spcPct val="0"/>
              </a:spcAft>
              <a:buClr>
                <a:srgbClr val="063E59"/>
              </a:buClr>
              <a:buSzPct val="100000"/>
              <a:buFontTx/>
              <a:buNone/>
              <a:tabLst/>
              <a:defRPr/>
            </a:pPr>
            <a:r>
              <a:rPr lang="en-ZA"/>
              <a:t>Click to insert sub-title</a:t>
            </a:r>
          </a:p>
        </p:txBody>
      </p:sp>
    </p:spTree>
    <p:extLst>
      <p:ext uri="{BB962C8B-B14F-4D97-AF65-F5344CB8AC3E}">
        <p14:creationId xmlns:p14="http://schemas.microsoft.com/office/powerpoint/2010/main" val="23662242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32AFF6B-0477-48B7-9CB9-814FB554370D}"/>
              </a:ext>
            </a:extLst>
          </p:cNvPr>
          <p:cNvGraphicFramePr>
            <a:graphicFrameLocks noChangeAspect="1"/>
          </p:cNvGraphicFramePr>
          <p:nvPr userDrawn="1">
            <p:custDataLst>
              <p:tags r:id="rId2"/>
            </p:custData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spid="_x0000_s14341"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332AFF6B-0477-48B7-9CB9-814FB554370D}"/>
                          </a:ext>
                        </a:extLst>
                      </p:cNvPr>
                      <p:cNvPicPr/>
                      <p:nvPr/>
                    </p:nvPicPr>
                    <p:blipFill>
                      <a:blip r:embed="rId5"/>
                      <a:stretch>
                        <a:fillRect/>
                      </a:stretch>
                    </p:blipFill>
                    <p:spPr>
                      <a:xfrm>
                        <a:off x="2161" y="1621"/>
                        <a:ext cx="2159" cy="1619"/>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F2C32EA4-7249-49F9-B22A-F8C633554B59}"/>
              </a:ext>
            </a:extLst>
          </p:cNvPr>
          <p:cNvPicPr>
            <a:picLocks noChangeAspect="1"/>
          </p:cNvPicPr>
          <p:nvPr userDrawn="1"/>
        </p:nvPicPr>
        <p:blipFill rotWithShape="1">
          <a:blip r:embed="rId6"/>
          <a:srcRect r="50000" b="50000"/>
          <a:stretch/>
        </p:blipFill>
        <p:spPr>
          <a:xfrm>
            <a:off x="-4764" y="0"/>
            <a:ext cx="12192000" cy="6858000"/>
          </a:xfrm>
          <a:prstGeom prst="rect">
            <a:avLst/>
          </a:prstGeom>
        </p:spPr>
      </p:pic>
      <p:sp>
        <p:nvSpPr>
          <p:cNvPr id="7" name="Title 1"/>
          <p:cNvSpPr>
            <a:spLocks noGrp="1"/>
          </p:cNvSpPr>
          <p:nvPr>
            <p:ph type="title" hasCustomPrompt="1"/>
          </p:nvPr>
        </p:nvSpPr>
        <p:spPr>
          <a:xfrm>
            <a:off x="694927" y="515970"/>
            <a:ext cx="9298851" cy="335098"/>
          </a:xfrm>
          <a:noFill/>
        </p:spPr>
        <p:txBody>
          <a:bodyPr lIns="36000">
            <a:noAutofit/>
          </a:bodyPr>
          <a:lstStyle>
            <a:lvl1pPr algn="l">
              <a:defRPr sz="2400">
                <a:solidFill>
                  <a:schemeClr val="bg2"/>
                </a:solidFill>
                <a:latin typeface="+mj-lt"/>
              </a:defRPr>
            </a:lvl1pPr>
          </a:lstStyle>
          <a:p>
            <a:r>
              <a:rPr lang="en-US"/>
              <a:t>Click to insert slide title</a:t>
            </a:r>
          </a:p>
        </p:txBody>
      </p:sp>
      <p:sp>
        <p:nvSpPr>
          <p:cNvPr id="13" name="Text Placeholder 12"/>
          <p:cNvSpPr>
            <a:spLocks noGrp="1"/>
          </p:cNvSpPr>
          <p:nvPr>
            <p:ph type="body" sz="quarter" idx="12" hasCustomPrompt="1"/>
          </p:nvPr>
        </p:nvSpPr>
        <p:spPr>
          <a:xfrm>
            <a:off x="705093" y="949199"/>
            <a:ext cx="10772286" cy="646331"/>
          </a:xfrm>
        </p:spPr>
        <p:txBody>
          <a:bodyPr lIns="36000"/>
          <a:lstStyle>
            <a:lvl1pPr marL="0" marR="0" indent="0" algn="l" defTabSz="913526" rtl="0" eaLnBrk="1" fontAlgn="base" latinLnBrk="0" hangingPunct="1">
              <a:lnSpc>
                <a:spcPct val="100000"/>
              </a:lnSpc>
              <a:spcBef>
                <a:spcPct val="0"/>
              </a:spcBef>
              <a:spcAft>
                <a:spcPct val="0"/>
              </a:spcAft>
              <a:buClr>
                <a:srgbClr val="063E59"/>
              </a:buClr>
              <a:buSzPct val="100000"/>
              <a:buFontTx/>
              <a:buNone/>
              <a:tabLst/>
              <a:defRPr sz="1400">
                <a:solidFill>
                  <a:schemeClr val="bg2"/>
                </a:solidFill>
                <a:latin typeface="+mn-lt"/>
              </a:defRPr>
            </a:lvl1pPr>
          </a:lstStyle>
          <a:p>
            <a:pPr lvl="0"/>
            <a:r>
              <a:rPr lang="en-ZA"/>
              <a:t>Click to insert sub-title</a:t>
            </a:r>
          </a:p>
          <a:p>
            <a:pPr marL="0" marR="0" lvl="0" indent="0" algn="l" defTabSz="913526" rtl="0" eaLnBrk="1" fontAlgn="base" latinLnBrk="0" hangingPunct="1">
              <a:lnSpc>
                <a:spcPct val="100000"/>
              </a:lnSpc>
              <a:spcBef>
                <a:spcPct val="0"/>
              </a:spcBef>
              <a:spcAft>
                <a:spcPct val="0"/>
              </a:spcAft>
              <a:buClr>
                <a:srgbClr val="063E59"/>
              </a:buClr>
              <a:buSzPct val="100000"/>
              <a:buFontTx/>
              <a:buNone/>
              <a:tabLst/>
              <a:defRPr/>
            </a:pPr>
            <a:r>
              <a:rPr lang="en-ZA"/>
              <a:t>Click to insert sub-title</a:t>
            </a:r>
          </a:p>
          <a:p>
            <a:pPr marL="0" marR="0" lvl="0" indent="0" algn="l" defTabSz="913526" rtl="0" eaLnBrk="1" fontAlgn="base" latinLnBrk="0" hangingPunct="1">
              <a:lnSpc>
                <a:spcPct val="100000"/>
              </a:lnSpc>
              <a:spcBef>
                <a:spcPct val="0"/>
              </a:spcBef>
              <a:spcAft>
                <a:spcPct val="0"/>
              </a:spcAft>
              <a:buClr>
                <a:srgbClr val="063E59"/>
              </a:buClr>
              <a:buSzPct val="100000"/>
              <a:buFontTx/>
              <a:buNone/>
              <a:tabLst/>
              <a:defRPr/>
            </a:pPr>
            <a:r>
              <a:rPr lang="en-ZA"/>
              <a:t>Click to insert sub-title</a:t>
            </a:r>
          </a:p>
        </p:txBody>
      </p:sp>
    </p:spTree>
    <p:extLst>
      <p:ext uri="{BB962C8B-B14F-4D97-AF65-F5344CB8AC3E}">
        <p14:creationId xmlns:p14="http://schemas.microsoft.com/office/powerpoint/2010/main" val="2764087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0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32AFF6B-0477-48B7-9CB9-814FB554370D}"/>
              </a:ext>
            </a:extLst>
          </p:cNvPr>
          <p:cNvGraphicFramePr>
            <a:graphicFrameLocks noChangeAspect="1"/>
          </p:cNvGraphicFramePr>
          <p:nvPr userDrawn="1">
            <p:custDataLst>
              <p:tags r:id="rId2"/>
            </p:custData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spid="_x0000_s15365"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332AFF6B-0477-48B7-9CB9-814FB554370D}"/>
                          </a:ext>
                        </a:extLst>
                      </p:cNvPr>
                      <p:cNvPicPr/>
                      <p:nvPr/>
                    </p:nvPicPr>
                    <p:blipFill>
                      <a:blip r:embed="rId5"/>
                      <a:stretch>
                        <a:fillRect/>
                      </a:stretch>
                    </p:blipFill>
                    <p:spPr>
                      <a:xfrm>
                        <a:off x="2161" y="1621"/>
                        <a:ext cx="2159" cy="1619"/>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A0893F9E-6D33-44D0-9985-BEDE56C123B6}"/>
              </a:ext>
            </a:extLst>
          </p:cNvPr>
          <p:cNvPicPr>
            <a:picLocks noChangeAspect="1"/>
          </p:cNvPicPr>
          <p:nvPr userDrawn="1"/>
        </p:nvPicPr>
        <p:blipFill rotWithShape="1">
          <a:blip r:embed="rId6"/>
          <a:srcRect l="50000" b="50000"/>
          <a:stretch/>
        </p:blipFill>
        <p:spPr>
          <a:xfrm>
            <a:off x="0" y="0"/>
            <a:ext cx="12192000" cy="6858000"/>
          </a:xfrm>
          <a:prstGeom prst="rect">
            <a:avLst/>
          </a:prstGeom>
        </p:spPr>
      </p:pic>
      <p:sp>
        <p:nvSpPr>
          <p:cNvPr id="7" name="Title 1"/>
          <p:cNvSpPr>
            <a:spLocks noGrp="1"/>
          </p:cNvSpPr>
          <p:nvPr>
            <p:ph type="title" hasCustomPrompt="1"/>
          </p:nvPr>
        </p:nvSpPr>
        <p:spPr>
          <a:xfrm>
            <a:off x="694927" y="515970"/>
            <a:ext cx="9298851" cy="335098"/>
          </a:xfrm>
          <a:noFill/>
        </p:spPr>
        <p:txBody>
          <a:bodyPr lIns="36000">
            <a:noAutofit/>
          </a:bodyPr>
          <a:lstStyle>
            <a:lvl1pPr algn="l">
              <a:defRPr sz="2400">
                <a:solidFill>
                  <a:schemeClr val="bg2"/>
                </a:solidFill>
                <a:latin typeface="+mj-lt"/>
              </a:defRPr>
            </a:lvl1pPr>
          </a:lstStyle>
          <a:p>
            <a:r>
              <a:rPr lang="en-US"/>
              <a:t>Click to insert slide title</a:t>
            </a:r>
          </a:p>
        </p:txBody>
      </p:sp>
      <p:sp>
        <p:nvSpPr>
          <p:cNvPr id="13" name="Text Placeholder 12"/>
          <p:cNvSpPr>
            <a:spLocks noGrp="1"/>
          </p:cNvSpPr>
          <p:nvPr>
            <p:ph type="body" sz="quarter" idx="12" hasCustomPrompt="1"/>
          </p:nvPr>
        </p:nvSpPr>
        <p:spPr>
          <a:xfrm>
            <a:off x="705093" y="949199"/>
            <a:ext cx="10772286" cy="646331"/>
          </a:xfrm>
        </p:spPr>
        <p:txBody>
          <a:bodyPr lIns="36000"/>
          <a:lstStyle>
            <a:lvl1pPr marL="0" marR="0" indent="0" algn="l" defTabSz="913526" rtl="0" eaLnBrk="1" fontAlgn="base" latinLnBrk="0" hangingPunct="1">
              <a:lnSpc>
                <a:spcPct val="100000"/>
              </a:lnSpc>
              <a:spcBef>
                <a:spcPct val="0"/>
              </a:spcBef>
              <a:spcAft>
                <a:spcPct val="0"/>
              </a:spcAft>
              <a:buClr>
                <a:srgbClr val="063E59"/>
              </a:buClr>
              <a:buSzPct val="100000"/>
              <a:buFontTx/>
              <a:buNone/>
              <a:tabLst/>
              <a:defRPr sz="1400">
                <a:solidFill>
                  <a:schemeClr val="bg2"/>
                </a:solidFill>
                <a:latin typeface="+mn-lt"/>
              </a:defRPr>
            </a:lvl1pPr>
          </a:lstStyle>
          <a:p>
            <a:pPr lvl="0"/>
            <a:r>
              <a:rPr lang="en-ZA"/>
              <a:t>Click to insert sub-title</a:t>
            </a:r>
          </a:p>
          <a:p>
            <a:pPr marL="0" marR="0" lvl="0" indent="0" algn="l" defTabSz="913526" rtl="0" eaLnBrk="1" fontAlgn="base" latinLnBrk="0" hangingPunct="1">
              <a:lnSpc>
                <a:spcPct val="100000"/>
              </a:lnSpc>
              <a:spcBef>
                <a:spcPct val="0"/>
              </a:spcBef>
              <a:spcAft>
                <a:spcPct val="0"/>
              </a:spcAft>
              <a:buClr>
                <a:srgbClr val="063E59"/>
              </a:buClr>
              <a:buSzPct val="100000"/>
              <a:buFontTx/>
              <a:buNone/>
              <a:tabLst/>
              <a:defRPr/>
            </a:pPr>
            <a:r>
              <a:rPr lang="en-ZA"/>
              <a:t>Click to insert sub-title</a:t>
            </a:r>
          </a:p>
          <a:p>
            <a:pPr marL="0" marR="0" lvl="0" indent="0" algn="l" defTabSz="913526" rtl="0" eaLnBrk="1" fontAlgn="base" latinLnBrk="0" hangingPunct="1">
              <a:lnSpc>
                <a:spcPct val="100000"/>
              </a:lnSpc>
              <a:spcBef>
                <a:spcPct val="0"/>
              </a:spcBef>
              <a:spcAft>
                <a:spcPct val="0"/>
              </a:spcAft>
              <a:buClr>
                <a:srgbClr val="063E59"/>
              </a:buClr>
              <a:buSzPct val="100000"/>
              <a:buFontTx/>
              <a:buNone/>
              <a:tabLst/>
              <a:defRPr/>
            </a:pPr>
            <a:r>
              <a:rPr lang="en-ZA"/>
              <a:t>Click to insert sub-title</a:t>
            </a:r>
          </a:p>
        </p:txBody>
      </p:sp>
    </p:spTree>
    <p:extLst>
      <p:ext uri="{BB962C8B-B14F-4D97-AF65-F5344CB8AC3E}">
        <p14:creationId xmlns:p14="http://schemas.microsoft.com/office/powerpoint/2010/main" val="214389975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7_Title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0D122A59-0BEF-4E60-93E9-07619F9C0A3D}"/>
              </a:ext>
            </a:extLst>
          </p:cNvPr>
          <p:cNvPicPr>
            <a:picLocks noChangeAspect="1"/>
          </p:cNvPicPr>
          <p:nvPr userDrawn="1"/>
        </p:nvPicPr>
        <p:blipFill rotWithShape="1">
          <a:blip r:embed="rId4"/>
          <a:srcRect b="8250"/>
          <a:stretch/>
        </p:blipFill>
        <p:spPr>
          <a:xfrm>
            <a:off x="0" y="0"/>
            <a:ext cx="12192000" cy="6292223"/>
          </a:xfrm>
          <a:prstGeom prst="rect">
            <a:avLst/>
          </a:prstGeom>
        </p:spPr>
      </p:pic>
      <p:graphicFrame>
        <p:nvGraphicFramePr>
          <p:cNvPr id="3" name="Object 2" hidden="1"/>
          <p:cNvGraphicFramePr>
            <a:graphicFrameLocks noChangeAspect="1"/>
          </p:cNvGraphicFramePr>
          <p:nvPr userDrawn="1">
            <p:custDataLst>
              <p:tags r:id="rId2"/>
            </p:custDataLst>
          </p:nvPr>
        </p:nvGraphicFramePr>
        <p:xfrm>
          <a:off x="2161" y="1623"/>
          <a:ext cx="2159" cy="1619"/>
        </p:xfrm>
        <a:graphic>
          <a:graphicData uri="http://schemas.openxmlformats.org/presentationml/2006/ole">
            <mc:AlternateContent xmlns:mc="http://schemas.openxmlformats.org/markup-compatibility/2006">
              <mc:Choice xmlns:v="urn:schemas-microsoft-com:vml" Requires="v">
                <p:oleObj spid="_x0000_s1638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1" y="1623"/>
                        <a:ext cx="2159" cy="1619"/>
                      </a:xfrm>
                      <a:prstGeom prst="rect">
                        <a:avLst/>
                      </a:prstGeom>
                    </p:spPr>
                  </p:pic>
                </p:oleObj>
              </mc:Fallback>
            </mc:AlternateContent>
          </a:graphicData>
        </a:graphic>
      </p:graphicFrame>
      <p:sp>
        <p:nvSpPr>
          <p:cNvPr id="4" name="Working Draft Text" hidden="1"/>
          <p:cNvSpPr txBox="1">
            <a:spLocks noChangeArrowheads="1"/>
          </p:cNvSpPr>
          <p:nvPr userDrawn="1"/>
        </p:nvSpPr>
        <p:spPr bwMode="black">
          <a:xfrm>
            <a:off x="8153071" y="6415252"/>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816" b="1" baseline="0">
                <a:solidFill>
                  <a:srgbClr val="FFFFFF"/>
                </a:solidFill>
                <a:latin typeface="+mn-lt"/>
              </a:rPr>
              <a:t>WORKING DRAFT</a:t>
            </a:r>
          </a:p>
        </p:txBody>
      </p:sp>
      <p:sp>
        <p:nvSpPr>
          <p:cNvPr id="6" name="Working Draft" hidden="1"/>
          <p:cNvSpPr txBox="1">
            <a:spLocks noChangeArrowheads="1"/>
          </p:cNvSpPr>
          <p:nvPr userDrawn="1"/>
        </p:nvSpPr>
        <p:spPr bwMode="black">
          <a:xfrm>
            <a:off x="8153070" y="6540862"/>
            <a:ext cx="403892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16" baseline="0" dirty="0">
                <a:solidFill>
                  <a:srgbClr val="FFFFFF"/>
                </a:solidFill>
                <a:latin typeface="+mn-lt"/>
              </a:rPr>
              <a:t>Last Modified 2017-01-31 05:58 AM South Africa Standard Time</a:t>
            </a:r>
            <a:endParaRPr lang="x-none" sz="816" baseline="0">
              <a:solidFill>
                <a:srgbClr val="FFFFFF"/>
              </a:solidFill>
              <a:latin typeface="+mn-lt"/>
            </a:endParaRPr>
          </a:p>
        </p:txBody>
      </p:sp>
      <p:sp>
        <p:nvSpPr>
          <p:cNvPr id="7" name="Printed" hidden="1"/>
          <p:cNvSpPr txBox="1">
            <a:spLocks noChangeArrowheads="1"/>
          </p:cNvSpPr>
          <p:nvPr userDrawn="1"/>
        </p:nvSpPr>
        <p:spPr bwMode="black">
          <a:xfrm>
            <a:off x="8153071" y="6666474"/>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16" baseline="0" dirty="0">
                <a:solidFill>
                  <a:srgbClr val="FFFFFF"/>
                </a:solidFill>
                <a:latin typeface="+mn-lt"/>
              </a:rPr>
              <a:t>Printed 2016-08-05 09:24 AM South Africa Standard Time</a:t>
            </a:r>
            <a:endParaRPr lang="x-none" sz="816" baseline="0">
              <a:solidFill>
                <a:srgbClr val="FFFFFF"/>
              </a:solidFill>
              <a:latin typeface="+mn-lt"/>
            </a:endParaRPr>
          </a:p>
        </p:txBody>
      </p:sp>
      <p:sp>
        <p:nvSpPr>
          <p:cNvPr id="5" name="doc id" hidden="1"/>
          <p:cNvSpPr txBox="1">
            <a:spLocks noChangeArrowheads="1"/>
          </p:cNvSpPr>
          <p:nvPr userDrawn="1"/>
        </p:nvSpPr>
        <p:spPr bwMode="white">
          <a:xfrm>
            <a:off x="11487912" y="37257"/>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816" baseline="0">
              <a:solidFill>
                <a:srgbClr val="FFFFFF"/>
              </a:solidFill>
              <a:latin typeface="+mn-lt"/>
            </a:endParaRPr>
          </a:p>
        </p:txBody>
      </p:sp>
      <p:sp>
        <p:nvSpPr>
          <p:cNvPr id="57" name="Document type" hidden="1"/>
          <p:cNvSpPr txBox="1">
            <a:spLocks noChangeArrowheads="1"/>
          </p:cNvSpPr>
          <p:nvPr userDrawn="1"/>
        </p:nvSpPr>
        <p:spPr bwMode="gray">
          <a:xfrm>
            <a:off x="3085967" y="3650596"/>
            <a:ext cx="8478152"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1428" baseline="0">
                <a:solidFill>
                  <a:schemeClr val="accent6"/>
                </a:solidFill>
                <a:latin typeface="+mn-lt"/>
              </a:rPr>
              <a:t>Document type | Date</a:t>
            </a:r>
          </a:p>
        </p:txBody>
      </p:sp>
      <p:sp>
        <p:nvSpPr>
          <p:cNvPr id="26" name="Disclaimer-English (United States)" hidden="1"/>
          <p:cNvSpPr>
            <a:spLocks noChangeArrowheads="1"/>
          </p:cNvSpPr>
          <p:nvPr userDrawn="1"/>
        </p:nvSpPr>
        <p:spPr bwMode="black">
          <a:xfrm>
            <a:off x="3085969" y="6540990"/>
            <a:ext cx="4822214" cy="251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21202" eaLnBrk="0" hangingPunct="0"/>
            <a:r>
              <a:rPr lang="x-none" sz="816" baseline="0">
                <a:solidFill>
                  <a:srgbClr val="FFFFFF"/>
                </a:solidFill>
                <a:latin typeface="+mn-lt"/>
              </a:rPr>
              <a:t>CONFIDENTIAL AND PROPRIETARY</a:t>
            </a:r>
          </a:p>
          <a:p>
            <a:pPr defTabSz="821202" eaLnBrk="0" hangingPunct="0"/>
            <a:r>
              <a:rPr lang="x-none" sz="816" baseline="0">
                <a:solidFill>
                  <a:srgbClr val="FFFFFF"/>
                </a:solidFill>
                <a:latin typeface="+mn-lt"/>
              </a:rPr>
              <a:t>Any use of this material without specific permission of McKinsey &amp; Company is strictly prohibited</a:t>
            </a:r>
          </a:p>
        </p:txBody>
      </p:sp>
      <p:sp>
        <p:nvSpPr>
          <p:cNvPr id="16" name="Slide Number">
            <a:extLst>
              <a:ext uri="{FF2B5EF4-FFF2-40B4-BE49-F238E27FC236}">
                <a16:creationId xmlns:a16="http://schemas.microsoft.com/office/drawing/2014/main" id="{D82E0F37-3C65-4C18-A05F-E6884FED6CC8}"/>
              </a:ext>
            </a:extLst>
          </p:cNvPr>
          <p:cNvSpPr txBox="1">
            <a:spLocks/>
          </p:cNvSpPr>
          <p:nvPr userDrawn="1"/>
        </p:nvSpPr>
        <p:spPr bwMode="auto">
          <a:xfrm>
            <a:off x="11832346" y="6586417"/>
            <a:ext cx="129844" cy="12554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x-none" sz="816" baseline="0" smtClean="0">
                <a:solidFill>
                  <a:srgbClr val="808080"/>
                </a:solidFill>
                <a:latin typeface="+mn-lt"/>
              </a:rPr>
              <a:pPr/>
              <a:t>‹#›</a:t>
            </a:fld>
            <a:endParaRPr lang="x-none" sz="816" baseline="0">
              <a:solidFill>
                <a:srgbClr val="808080"/>
              </a:solidFill>
              <a:latin typeface="+mn-lt"/>
            </a:endParaRPr>
          </a:p>
        </p:txBody>
      </p:sp>
      <p:sp>
        <p:nvSpPr>
          <p:cNvPr id="23" name="Text Placeholder 3">
            <a:extLst>
              <a:ext uri="{FF2B5EF4-FFF2-40B4-BE49-F238E27FC236}">
                <a16:creationId xmlns:a16="http://schemas.microsoft.com/office/drawing/2014/main" id="{A0729FAD-589F-406C-AD34-99A5E40CA767}"/>
              </a:ext>
            </a:extLst>
          </p:cNvPr>
          <p:cNvSpPr>
            <a:spLocks noGrp="1"/>
          </p:cNvSpPr>
          <p:nvPr>
            <p:ph type="body" sz="quarter" idx="10"/>
          </p:nvPr>
        </p:nvSpPr>
        <p:spPr>
          <a:xfrm>
            <a:off x="345567" y="2315156"/>
            <a:ext cx="4596343" cy="251222"/>
          </a:xfrm>
          <a:prstGeom prst="rect">
            <a:avLst/>
          </a:prstGeom>
        </p:spPr>
        <p:txBody>
          <a:bodyPr/>
          <a:lstStyle>
            <a:lvl1pPr marL="0" indent="0">
              <a:buNone/>
              <a:defRPr sz="1632" i="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1pPr>
          </a:lstStyle>
          <a:p>
            <a:pPr lvl="0"/>
            <a:endParaRPr lang="en-ZA"/>
          </a:p>
        </p:txBody>
      </p:sp>
      <p:sp>
        <p:nvSpPr>
          <p:cNvPr id="24" name="Text Placeholder 5">
            <a:extLst>
              <a:ext uri="{FF2B5EF4-FFF2-40B4-BE49-F238E27FC236}">
                <a16:creationId xmlns:a16="http://schemas.microsoft.com/office/drawing/2014/main" id="{88C14C44-3BCC-4CAC-95BA-93F4D0221710}"/>
              </a:ext>
            </a:extLst>
          </p:cNvPr>
          <p:cNvSpPr>
            <a:spLocks noGrp="1"/>
          </p:cNvSpPr>
          <p:nvPr>
            <p:ph type="body" sz="quarter" idx="11" hasCustomPrompt="1"/>
          </p:nvPr>
        </p:nvSpPr>
        <p:spPr>
          <a:xfrm>
            <a:off x="345567" y="1287157"/>
            <a:ext cx="2856678" cy="376834"/>
          </a:xfrm>
          <a:prstGeom prst="rect">
            <a:avLst/>
          </a:prstGeom>
          <a:noFill/>
        </p:spPr>
        <p:txBody>
          <a:bodyPr/>
          <a:lstStyle>
            <a:lvl1pPr marL="0" indent="0">
              <a:buNone/>
              <a:defRPr sz="2449" i="0">
                <a:solidFill>
                  <a:schemeClr val="bg1"/>
                </a:solidFill>
                <a:latin typeface="+mj-lt"/>
                <a:ea typeface="Segoe UI" panose="020B0502040204020203" pitchFamily="34" charset="0"/>
                <a:cs typeface="Segoe UI" panose="020B0502040204020203" pitchFamily="34" charset="0"/>
                <a:sym typeface="Segoe UI" panose="020B0502040204020203" pitchFamily="34" charset="0"/>
              </a:defRPr>
            </a:lvl1pPr>
          </a:lstStyle>
          <a:p>
            <a:pPr lvl="0"/>
            <a:r>
              <a:rPr lang="en-US"/>
              <a:t>Click to add</a:t>
            </a:r>
            <a:endParaRPr lang="en-ZA"/>
          </a:p>
        </p:txBody>
      </p:sp>
      <p:sp>
        <p:nvSpPr>
          <p:cNvPr id="17" name="Rectangle 16">
            <a:extLst>
              <a:ext uri="{FF2B5EF4-FFF2-40B4-BE49-F238E27FC236}">
                <a16:creationId xmlns:a16="http://schemas.microsoft.com/office/drawing/2014/main" id="{5CBAB2CC-BE78-45F8-898A-3A9CF2A3EBA4}"/>
              </a:ext>
            </a:extLst>
          </p:cNvPr>
          <p:cNvSpPr/>
          <p:nvPr userDrawn="1"/>
        </p:nvSpPr>
        <p:spPr>
          <a:xfrm>
            <a:off x="0" y="0"/>
            <a:ext cx="12192000" cy="6295292"/>
          </a:xfrm>
          <a:prstGeom prst="rect">
            <a:avLst/>
          </a:prstGeom>
          <a:solidFill>
            <a:schemeClr val="accent2">
              <a:alpha val="3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00" dirty="0">
              <a:solidFill>
                <a:schemeClr val="bg1"/>
              </a:solidFill>
              <a:latin typeface="Calibri" panose="020F0502020204030204" pitchFamily="34" charset="0"/>
            </a:endParaRPr>
          </a:p>
        </p:txBody>
      </p:sp>
      <p:pic>
        <p:nvPicPr>
          <p:cNvPr id="18" name="Picture 17">
            <a:extLst>
              <a:ext uri="{FF2B5EF4-FFF2-40B4-BE49-F238E27FC236}">
                <a16:creationId xmlns:a16="http://schemas.microsoft.com/office/drawing/2014/main" id="{E0E9CB4A-31AF-4C42-939E-3A711D3D1D52}"/>
              </a:ext>
            </a:extLst>
          </p:cNvPr>
          <p:cNvPicPr>
            <a:picLocks noChangeAspect="1"/>
          </p:cNvPicPr>
          <p:nvPr userDrawn="1"/>
        </p:nvPicPr>
        <p:blipFill>
          <a:blip r:embed="rId7"/>
          <a:stretch>
            <a:fillRect/>
          </a:stretch>
        </p:blipFill>
        <p:spPr>
          <a:xfrm>
            <a:off x="10566819" y="6527871"/>
            <a:ext cx="1094400" cy="144000"/>
          </a:xfrm>
          <a:prstGeom prst="rect">
            <a:avLst/>
          </a:prstGeom>
        </p:spPr>
      </p:pic>
    </p:spTree>
    <p:extLst>
      <p:ext uri="{BB962C8B-B14F-4D97-AF65-F5344CB8AC3E}">
        <p14:creationId xmlns:p14="http://schemas.microsoft.com/office/powerpoint/2010/main" val="38480358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9AF85007-D114-4D95-B01D-E310211965DC}" type="datetime1">
              <a:rPr lang="en-ZA" smtClean="0"/>
              <a:t>2021/04/26</a:t>
            </a:fld>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87102F09-8F7D-4EC1-9AE5-82CA77F49212}" type="slidenum">
              <a:rPr lang="en-ZA" smtClean="0"/>
              <a:t>‹#›</a:t>
            </a:fld>
            <a:endParaRPr lang="en-ZA" dirty="0"/>
          </a:p>
        </p:txBody>
      </p:sp>
      <p:sp>
        <p:nvSpPr>
          <p:cNvPr id="7" name="TextBox 6">
            <a:extLst>
              <a:ext uri="{FF2B5EF4-FFF2-40B4-BE49-F238E27FC236}">
                <a16:creationId xmlns:a16="http://schemas.microsoft.com/office/drawing/2014/main" id="{D7E946BF-8602-4D0F-A6B5-1EBB15792259}"/>
              </a:ext>
            </a:extLst>
          </p:cNvPr>
          <p:cNvSpPr txBox="1"/>
          <p:nvPr userDrawn="1"/>
        </p:nvSpPr>
        <p:spPr>
          <a:xfrm>
            <a:off x="0" y="6484140"/>
            <a:ext cx="12192000" cy="373859"/>
          </a:xfrm>
          <a:prstGeom prst="rect">
            <a:avLst/>
          </a:prstGeom>
          <a:solidFill>
            <a:schemeClr val="bg1">
              <a:alpha val="43000"/>
            </a:schemeClr>
          </a:solidFill>
        </p:spPr>
        <p:txBody>
          <a:bodyPr wrap="square" rtlCol="0" anchor="ctr">
            <a:noAutofit/>
          </a:bodyPr>
          <a:lstStyle/>
          <a:p>
            <a:pPr indent="361950"/>
            <a:endParaRPr lang="en-ZA" sz="1000" b="1" dirty="0"/>
          </a:p>
        </p:txBody>
      </p:sp>
    </p:spTree>
    <p:extLst>
      <p:ext uri="{BB962C8B-B14F-4D97-AF65-F5344CB8AC3E}">
        <p14:creationId xmlns:p14="http://schemas.microsoft.com/office/powerpoint/2010/main" val="1670939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32AFF6B-0477-48B7-9CB9-814FB554370D}"/>
              </a:ext>
            </a:extLst>
          </p:cNvPr>
          <p:cNvGraphicFramePr>
            <a:graphicFrameLocks noChangeAspect="1"/>
          </p:cNvGraphicFramePr>
          <p:nvPr userDrawn="1">
            <p:custDataLst>
              <p:tags r:id="rId2"/>
            </p:custData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spid="_x0000_s17413"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332AFF6B-0477-48B7-9CB9-814FB554370D}"/>
                          </a:ext>
                        </a:extLst>
                      </p:cNvPr>
                      <p:cNvPicPr/>
                      <p:nvPr/>
                    </p:nvPicPr>
                    <p:blipFill>
                      <a:blip r:embed="rId5"/>
                      <a:stretch>
                        <a:fillRect/>
                      </a:stretch>
                    </p:blipFill>
                    <p:spPr>
                      <a:xfrm>
                        <a:off x="2161" y="1621"/>
                        <a:ext cx="2159" cy="1619"/>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0D5DC9DD-194B-4137-BD85-DD13D333A24C}"/>
              </a:ext>
            </a:extLst>
          </p:cNvPr>
          <p:cNvSpPr/>
          <p:nvPr userDrawn="1"/>
        </p:nvSpPr>
        <p:spPr>
          <a:xfrm>
            <a:off x="0" y="0"/>
            <a:ext cx="12192000" cy="6295292"/>
          </a:xfrm>
          <a:prstGeom prst="rect">
            <a:avLst/>
          </a:prstGeom>
          <a:solidFill>
            <a:schemeClr val="accent3">
              <a:lumMod val="90000"/>
              <a:lumOff val="1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00" dirty="0">
              <a:solidFill>
                <a:schemeClr val="bg1"/>
              </a:solidFill>
              <a:latin typeface="Calibri" panose="020F0502020204030204" pitchFamily="34" charset="0"/>
            </a:endParaRPr>
          </a:p>
        </p:txBody>
      </p:sp>
      <p:sp>
        <p:nvSpPr>
          <p:cNvPr id="7" name="Title 1"/>
          <p:cNvSpPr>
            <a:spLocks noGrp="1"/>
          </p:cNvSpPr>
          <p:nvPr>
            <p:ph type="title" hasCustomPrompt="1"/>
          </p:nvPr>
        </p:nvSpPr>
        <p:spPr>
          <a:xfrm>
            <a:off x="630768" y="515970"/>
            <a:ext cx="9447077" cy="335098"/>
          </a:xfrm>
          <a:noFill/>
        </p:spPr>
        <p:txBody>
          <a:bodyPr lIns="36000">
            <a:noAutofit/>
          </a:bodyPr>
          <a:lstStyle>
            <a:lvl1pPr algn="l">
              <a:defRPr sz="2400">
                <a:solidFill>
                  <a:schemeClr val="bg2"/>
                </a:solidFill>
                <a:latin typeface="+mj-lt"/>
              </a:defRPr>
            </a:lvl1pPr>
          </a:lstStyle>
          <a:p>
            <a:r>
              <a:rPr lang="en-US"/>
              <a:t>Click to insert slide title</a:t>
            </a:r>
          </a:p>
        </p:txBody>
      </p:sp>
      <p:sp>
        <p:nvSpPr>
          <p:cNvPr id="13" name="Text Placeholder 12"/>
          <p:cNvSpPr>
            <a:spLocks noGrp="1"/>
          </p:cNvSpPr>
          <p:nvPr>
            <p:ph type="body" sz="quarter" idx="12" hasCustomPrompt="1"/>
          </p:nvPr>
        </p:nvSpPr>
        <p:spPr>
          <a:xfrm>
            <a:off x="630768" y="949199"/>
            <a:ext cx="10943999" cy="646331"/>
          </a:xfrm>
        </p:spPr>
        <p:txBody>
          <a:bodyPr lIns="36000"/>
          <a:lstStyle>
            <a:lvl1pPr marL="0" marR="0" indent="0" algn="l" defTabSz="913526" rtl="0" eaLnBrk="1" fontAlgn="base" latinLnBrk="0" hangingPunct="1">
              <a:lnSpc>
                <a:spcPct val="100000"/>
              </a:lnSpc>
              <a:spcBef>
                <a:spcPct val="0"/>
              </a:spcBef>
              <a:spcAft>
                <a:spcPct val="0"/>
              </a:spcAft>
              <a:buClr>
                <a:srgbClr val="063E59"/>
              </a:buClr>
              <a:buSzPct val="100000"/>
              <a:buFontTx/>
              <a:buNone/>
              <a:tabLst/>
              <a:defRPr sz="1400">
                <a:solidFill>
                  <a:schemeClr val="bg2"/>
                </a:solidFill>
                <a:latin typeface="+mn-lt"/>
              </a:defRPr>
            </a:lvl1pPr>
          </a:lstStyle>
          <a:p>
            <a:pPr lvl="0"/>
            <a:r>
              <a:rPr lang="en-ZA"/>
              <a:t>Click to insert sub-title</a:t>
            </a:r>
          </a:p>
          <a:p>
            <a:pPr marL="0" marR="0" lvl="0" indent="0" algn="l" defTabSz="913526" rtl="0" eaLnBrk="1" fontAlgn="base" latinLnBrk="0" hangingPunct="1">
              <a:lnSpc>
                <a:spcPct val="100000"/>
              </a:lnSpc>
              <a:spcBef>
                <a:spcPct val="0"/>
              </a:spcBef>
              <a:spcAft>
                <a:spcPct val="0"/>
              </a:spcAft>
              <a:buClr>
                <a:srgbClr val="063E59"/>
              </a:buClr>
              <a:buSzPct val="100000"/>
              <a:buFontTx/>
              <a:buNone/>
              <a:tabLst/>
              <a:defRPr/>
            </a:pPr>
            <a:r>
              <a:rPr lang="en-ZA"/>
              <a:t>Click to insert sub-title</a:t>
            </a:r>
          </a:p>
          <a:p>
            <a:pPr marL="0" marR="0" lvl="0" indent="0" algn="l" defTabSz="913526" rtl="0" eaLnBrk="1" fontAlgn="base" latinLnBrk="0" hangingPunct="1">
              <a:lnSpc>
                <a:spcPct val="100000"/>
              </a:lnSpc>
              <a:spcBef>
                <a:spcPct val="0"/>
              </a:spcBef>
              <a:spcAft>
                <a:spcPct val="0"/>
              </a:spcAft>
              <a:buClr>
                <a:srgbClr val="063E59"/>
              </a:buClr>
              <a:buSzPct val="100000"/>
              <a:buFontTx/>
              <a:buNone/>
              <a:tabLst/>
              <a:defRPr/>
            </a:pPr>
            <a:r>
              <a:rPr lang="en-ZA"/>
              <a:t>Click to insert sub-title</a:t>
            </a:r>
          </a:p>
        </p:txBody>
      </p:sp>
    </p:spTree>
    <p:extLst>
      <p:ext uri="{BB962C8B-B14F-4D97-AF65-F5344CB8AC3E}">
        <p14:creationId xmlns:p14="http://schemas.microsoft.com/office/powerpoint/2010/main" val="182024649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5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1" y="1623"/>
          <a:ext cx="2159" cy="1619"/>
        </p:xfrm>
        <a:graphic>
          <a:graphicData uri="http://schemas.openxmlformats.org/presentationml/2006/ole">
            <mc:AlternateContent xmlns:mc="http://schemas.openxmlformats.org/markup-compatibility/2006">
              <mc:Choice xmlns:v="urn:schemas-microsoft-com:vml" Requires="v">
                <p:oleObj spid="_x0000_s1843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1" y="1623"/>
                        <a:ext cx="2159" cy="1619"/>
                      </a:xfrm>
                      <a:prstGeom prst="rect">
                        <a:avLst/>
                      </a:prstGeom>
                    </p:spPr>
                  </p:pic>
                </p:oleObj>
              </mc:Fallback>
            </mc:AlternateContent>
          </a:graphicData>
        </a:graphic>
      </p:graphicFrame>
      <p:sp>
        <p:nvSpPr>
          <p:cNvPr id="4" name="Working Draft Text" hidden="1"/>
          <p:cNvSpPr txBox="1">
            <a:spLocks noChangeArrowheads="1"/>
          </p:cNvSpPr>
          <p:nvPr userDrawn="1"/>
        </p:nvSpPr>
        <p:spPr bwMode="black">
          <a:xfrm>
            <a:off x="8153071" y="6415252"/>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816" b="1" baseline="0">
                <a:solidFill>
                  <a:srgbClr val="FFFFFF"/>
                </a:solidFill>
                <a:latin typeface="+mn-lt"/>
              </a:rPr>
              <a:t>WORKING DRAFT</a:t>
            </a:r>
          </a:p>
        </p:txBody>
      </p:sp>
      <p:sp>
        <p:nvSpPr>
          <p:cNvPr id="6" name="Working Draft" hidden="1"/>
          <p:cNvSpPr txBox="1">
            <a:spLocks noChangeArrowheads="1"/>
          </p:cNvSpPr>
          <p:nvPr userDrawn="1"/>
        </p:nvSpPr>
        <p:spPr bwMode="black">
          <a:xfrm>
            <a:off x="8153070" y="6540862"/>
            <a:ext cx="403892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16" baseline="0" dirty="0">
                <a:solidFill>
                  <a:srgbClr val="FFFFFF"/>
                </a:solidFill>
                <a:latin typeface="+mn-lt"/>
              </a:rPr>
              <a:t>Last Modified 2017-01-31 05:58 AM South Africa Standard Time</a:t>
            </a:r>
            <a:endParaRPr lang="x-none" sz="816" baseline="0">
              <a:solidFill>
                <a:srgbClr val="FFFFFF"/>
              </a:solidFill>
              <a:latin typeface="+mn-lt"/>
            </a:endParaRPr>
          </a:p>
        </p:txBody>
      </p:sp>
      <p:sp>
        <p:nvSpPr>
          <p:cNvPr id="7" name="Printed" hidden="1"/>
          <p:cNvSpPr txBox="1">
            <a:spLocks noChangeArrowheads="1"/>
          </p:cNvSpPr>
          <p:nvPr userDrawn="1"/>
        </p:nvSpPr>
        <p:spPr bwMode="black">
          <a:xfrm>
            <a:off x="8153071" y="6666474"/>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16" baseline="0" dirty="0">
                <a:solidFill>
                  <a:srgbClr val="FFFFFF"/>
                </a:solidFill>
                <a:latin typeface="+mn-lt"/>
              </a:rPr>
              <a:t>Printed 2016-08-05 09:24 AM South Africa Standard Time</a:t>
            </a:r>
            <a:endParaRPr lang="x-none" sz="816" baseline="0">
              <a:solidFill>
                <a:srgbClr val="FFFFFF"/>
              </a:solidFill>
              <a:latin typeface="+mn-lt"/>
            </a:endParaRPr>
          </a:p>
        </p:txBody>
      </p:sp>
      <p:sp>
        <p:nvSpPr>
          <p:cNvPr id="5" name="doc id" hidden="1"/>
          <p:cNvSpPr txBox="1">
            <a:spLocks noChangeArrowheads="1"/>
          </p:cNvSpPr>
          <p:nvPr userDrawn="1"/>
        </p:nvSpPr>
        <p:spPr bwMode="white">
          <a:xfrm>
            <a:off x="11487912" y="37257"/>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816" baseline="0">
              <a:solidFill>
                <a:srgbClr val="FFFFFF"/>
              </a:solidFill>
              <a:latin typeface="+mn-lt"/>
            </a:endParaRPr>
          </a:p>
        </p:txBody>
      </p:sp>
      <p:sp>
        <p:nvSpPr>
          <p:cNvPr id="57" name="Document type" hidden="1"/>
          <p:cNvSpPr txBox="1">
            <a:spLocks noChangeArrowheads="1"/>
          </p:cNvSpPr>
          <p:nvPr userDrawn="1"/>
        </p:nvSpPr>
        <p:spPr bwMode="gray">
          <a:xfrm>
            <a:off x="3085967" y="3650596"/>
            <a:ext cx="8478152"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1428" baseline="0">
                <a:solidFill>
                  <a:schemeClr val="accent6"/>
                </a:solidFill>
                <a:latin typeface="+mn-lt"/>
              </a:rPr>
              <a:t>Document type | Date</a:t>
            </a:r>
          </a:p>
        </p:txBody>
      </p:sp>
      <p:sp>
        <p:nvSpPr>
          <p:cNvPr id="26" name="Disclaimer-English (United States)" hidden="1"/>
          <p:cNvSpPr>
            <a:spLocks noChangeArrowheads="1"/>
          </p:cNvSpPr>
          <p:nvPr userDrawn="1"/>
        </p:nvSpPr>
        <p:spPr bwMode="black">
          <a:xfrm>
            <a:off x="3085969" y="6540990"/>
            <a:ext cx="4822214" cy="251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21202" eaLnBrk="0" hangingPunct="0"/>
            <a:r>
              <a:rPr lang="x-none" sz="816" baseline="0">
                <a:solidFill>
                  <a:srgbClr val="FFFFFF"/>
                </a:solidFill>
                <a:latin typeface="+mn-lt"/>
              </a:rPr>
              <a:t>CONFIDENTIAL AND PROPRIETARY</a:t>
            </a:r>
          </a:p>
          <a:p>
            <a:pPr defTabSz="821202" eaLnBrk="0" hangingPunct="0"/>
            <a:r>
              <a:rPr lang="x-none" sz="816" baseline="0">
                <a:solidFill>
                  <a:srgbClr val="FFFFFF"/>
                </a:solidFill>
                <a:latin typeface="+mn-lt"/>
              </a:rPr>
              <a:t>Any use of this material without specific permission of McKinsey &amp; Company is strictly prohibited</a:t>
            </a:r>
          </a:p>
        </p:txBody>
      </p:sp>
      <p:sp>
        <p:nvSpPr>
          <p:cNvPr id="16" name="Slide Number">
            <a:extLst>
              <a:ext uri="{FF2B5EF4-FFF2-40B4-BE49-F238E27FC236}">
                <a16:creationId xmlns:a16="http://schemas.microsoft.com/office/drawing/2014/main" id="{D82E0F37-3C65-4C18-A05F-E6884FED6CC8}"/>
              </a:ext>
            </a:extLst>
          </p:cNvPr>
          <p:cNvSpPr txBox="1">
            <a:spLocks/>
          </p:cNvSpPr>
          <p:nvPr userDrawn="1"/>
        </p:nvSpPr>
        <p:spPr bwMode="auto">
          <a:xfrm>
            <a:off x="11832346" y="6586417"/>
            <a:ext cx="129844" cy="12554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x-none" sz="816" baseline="0" smtClean="0">
                <a:solidFill>
                  <a:srgbClr val="808080"/>
                </a:solidFill>
                <a:latin typeface="+mn-lt"/>
              </a:rPr>
              <a:pPr/>
              <a:t>‹#›</a:t>
            </a:fld>
            <a:endParaRPr lang="x-none" sz="816" baseline="0">
              <a:solidFill>
                <a:srgbClr val="808080"/>
              </a:solidFill>
              <a:latin typeface="+mn-lt"/>
            </a:endParaRPr>
          </a:p>
        </p:txBody>
      </p:sp>
      <p:sp>
        <p:nvSpPr>
          <p:cNvPr id="23" name="Text Placeholder 3">
            <a:extLst>
              <a:ext uri="{FF2B5EF4-FFF2-40B4-BE49-F238E27FC236}">
                <a16:creationId xmlns:a16="http://schemas.microsoft.com/office/drawing/2014/main" id="{A0729FAD-589F-406C-AD34-99A5E40CA767}"/>
              </a:ext>
            </a:extLst>
          </p:cNvPr>
          <p:cNvSpPr>
            <a:spLocks noGrp="1"/>
          </p:cNvSpPr>
          <p:nvPr>
            <p:ph type="body" sz="quarter" idx="10"/>
          </p:nvPr>
        </p:nvSpPr>
        <p:spPr>
          <a:xfrm>
            <a:off x="728341" y="1730365"/>
            <a:ext cx="4596343" cy="251222"/>
          </a:xfrm>
          <a:prstGeom prst="rect">
            <a:avLst/>
          </a:prstGeom>
        </p:spPr>
        <p:txBody>
          <a:bodyPr/>
          <a:lstStyle>
            <a:lvl1pPr marL="0" indent="0">
              <a:buNone/>
              <a:defRPr sz="1632" i="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1pPr>
          </a:lstStyle>
          <a:p>
            <a:pPr lvl="0"/>
            <a:endParaRPr lang="en-ZA"/>
          </a:p>
        </p:txBody>
      </p:sp>
      <p:sp>
        <p:nvSpPr>
          <p:cNvPr id="24" name="Text Placeholder 5">
            <a:extLst>
              <a:ext uri="{FF2B5EF4-FFF2-40B4-BE49-F238E27FC236}">
                <a16:creationId xmlns:a16="http://schemas.microsoft.com/office/drawing/2014/main" id="{88C14C44-3BCC-4CAC-95BA-93F4D0221710}"/>
              </a:ext>
            </a:extLst>
          </p:cNvPr>
          <p:cNvSpPr>
            <a:spLocks noGrp="1"/>
          </p:cNvSpPr>
          <p:nvPr>
            <p:ph type="body" sz="quarter" idx="11" hasCustomPrompt="1"/>
          </p:nvPr>
        </p:nvSpPr>
        <p:spPr>
          <a:xfrm>
            <a:off x="728341" y="702366"/>
            <a:ext cx="2856678" cy="376834"/>
          </a:xfrm>
          <a:prstGeom prst="rect">
            <a:avLst/>
          </a:prstGeom>
          <a:solidFill>
            <a:schemeClr val="accent3">
              <a:lumMod val="90000"/>
              <a:lumOff val="10000"/>
            </a:schemeClr>
          </a:solidFill>
        </p:spPr>
        <p:txBody>
          <a:bodyPr/>
          <a:lstStyle>
            <a:lvl1pPr marL="0" indent="0">
              <a:buNone/>
              <a:defRPr sz="2449" i="0">
                <a:solidFill>
                  <a:schemeClr val="bg1"/>
                </a:solidFill>
                <a:latin typeface="+mj-lt"/>
                <a:ea typeface="Segoe UI" panose="020B0502040204020203" pitchFamily="34" charset="0"/>
                <a:cs typeface="Segoe UI" panose="020B0502040204020203" pitchFamily="34" charset="0"/>
                <a:sym typeface="Segoe UI" panose="020B0502040204020203" pitchFamily="34" charset="0"/>
              </a:defRPr>
            </a:lvl1pPr>
          </a:lstStyle>
          <a:p>
            <a:pPr lvl="0"/>
            <a:r>
              <a:rPr lang="en-US"/>
              <a:t>Click to add</a:t>
            </a:r>
            <a:endParaRPr lang="en-ZA"/>
          </a:p>
        </p:txBody>
      </p:sp>
      <p:sp>
        <p:nvSpPr>
          <p:cNvPr id="2" name="Rectangle 1">
            <a:extLst>
              <a:ext uri="{FF2B5EF4-FFF2-40B4-BE49-F238E27FC236}">
                <a16:creationId xmlns:a16="http://schemas.microsoft.com/office/drawing/2014/main" id="{717ED0F1-C875-45C4-800B-5C3B379D6216}"/>
              </a:ext>
            </a:extLst>
          </p:cNvPr>
          <p:cNvSpPr/>
          <p:nvPr userDrawn="1"/>
        </p:nvSpPr>
        <p:spPr>
          <a:xfrm>
            <a:off x="8600536" y="6136108"/>
            <a:ext cx="3183145" cy="37683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00" dirty="0">
              <a:solidFill>
                <a:schemeClr val="bg1"/>
              </a:solidFill>
              <a:latin typeface="Calibri" panose="020F0502020204030204" pitchFamily="34" charset="0"/>
            </a:endParaRPr>
          </a:p>
        </p:txBody>
      </p:sp>
      <p:pic>
        <p:nvPicPr>
          <p:cNvPr id="14" name="Picture 13">
            <a:extLst>
              <a:ext uri="{FF2B5EF4-FFF2-40B4-BE49-F238E27FC236}">
                <a16:creationId xmlns:a16="http://schemas.microsoft.com/office/drawing/2014/main" id="{D3DCADFD-0F68-49D0-AC35-FDE3FE3A844C}"/>
              </a:ext>
            </a:extLst>
          </p:cNvPr>
          <p:cNvPicPr>
            <a:picLocks noChangeAspect="1"/>
          </p:cNvPicPr>
          <p:nvPr userDrawn="1"/>
        </p:nvPicPr>
        <p:blipFill rotWithShape="1">
          <a:blip r:embed="rId6"/>
          <a:srcRect r="50288" b="50000"/>
          <a:stretch/>
        </p:blipFill>
        <p:spPr>
          <a:xfrm>
            <a:off x="0" y="0"/>
            <a:ext cx="12192000" cy="6897795"/>
          </a:xfrm>
          <a:prstGeom prst="rect">
            <a:avLst/>
          </a:prstGeom>
        </p:spPr>
      </p:pic>
    </p:spTree>
    <p:extLst>
      <p:ext uri="{BB962C8B-B14F-4D97-AF65-F5344CB8AC3E}">
        <p14:creationId xmlns:p14="http://schemas.microsoft.com/office/powerpoint/2010/main" val="25898101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0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1" y="1623"/>
          <a:ext cx="2159" cy="1619"/>
        </p:xfrm>
        <a:graphic>
          <a:graphicData uri="http://schemas.openxmlformats.org/presentationml/2006/ole">
            <mc:AlternateContent xmlns:mc="http://schemas.openxmlformats.org/markup-compatibility/2006">
              <mc:Choice xmlns:v="urn:schemas-microsoft-com:vml" Requires="v">
                <p:oleObj spid="_x0000_s1946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1" y="1623"/>
                        <a:ext cx="2159" cy="1619"/>
                      </a:xfrm>
                      <a:prstGeom prst="rect">
                        <a:avLst/>
                      </a:prstGeom>
                    </p:spPr>
                  </p:pic>
                </p:oleObj>
              </mc:Fallback>
            </mc:AlternateContent>
          </a:graphicData>
        </a:graphic>
      </p:graphicFrame>
      <p:sp>
        <p:nvSpPr>
          <p:cNvPr id="4" name="Working Draft Text" hidden="1"/>
          <p:cNvSpPr txBox="1">
            <a:spLocks noChangeArrowheads="1"/>
          </p:cNvSpPr>
          <p:nvPr userDrawn="1"/>
        </p:nvSpPr>
        <p:spPr bwMode="black">
          <a:xfrm>
            <a:off x="8153071" y="6415252"/>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816" b="1" baseline="0">
                <a:solidFill>
                  <a:srgbClr val="FFFFFF"/>
                </a:solidFill>
                <a:latin typeface="+mn-lt"/>
              </a:rPr>
              <a:t>WORKING DRAFT</a:t>
            </a:r>
          </a:p>
        </p:txBody>
      </p:sp>
      <p:sp>
        <p:nvSpPr>
          <p:cNvPr id="6" name="Working Draft" hidden="1"/>
          <p:cNvSpPr txBox="1">
            <a:spLocks noChangeArrowheads="1"/>
          </p:cNvSpPr>
          <p:nvPr userDrawn="1"/>
        </p:nvSpPr>
        <p:spPr bwMode="black">
          <a:xfrm>
            <a:off x="8153070" y="6540862"/>
            <a:ext cx="403892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16" baseline="0" dirty="0">
                <a:solidFill>
                  <a:srgbClr val="FFFFFF"/>
                </a:solidFill>
                <a:latin typeface="+mn-lt"/>
              </a:rPr>
              <a:t>Last Modified 2017-01-31 05:58 AM South Africa Standard Time</a:t>
            </a:r>
            <a:endParaRPr lang="x-none" sz="816" baseline="0">
              <a:solidFill>
                <a:srgbClr val="FFFFFF"/>
              </a:solidFill>
              <a:latin typeface="+mn-lt"/>
            </a:endParaRPr>
          </a:p>
        </p:txBody>
      </p:sp>
      <p:sp>
        <p:nvSpPr>
          <p:cNvPr id="7" name="Printed" hidden="1"/>
          <p:cNvSpPr txBox="1">
            <a:spLocks noChangeArrowheads="1"/>
          </p:cNvSpPr>
          <p:nvPr userDrawn="1"/>
        </p:nvSpPr>
        <p:spPr bwMode="black">
          <a:xfrm>
            <a:off x="8153071" y="6666474"/>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16" baseline="0" dirty="0">
                <a:solidFill>
                  <a:srgbClr val="FFFFFF"/>
                </a:solidFill>
                <a:latin typeface="+mn-lt"/>
              </a:rPr>
              <a:t>Printed 2016-08-05 09:24 AM South Africa Standard Time</a:t>
            </a:r>
            <a:endParaRPr lang="x-none" sz="816" baseline="0">
              <a:solidFill>
                <a:srgbClr val="FFFFFF"/>
              </a:solidFill>
              <a:latin typeface="+mn-lt"/>
            </a:endParaRPr>
          </a:p>
        </p:txBody>
      </p:sp>
      <p:sp>
        <p:nvSpPr>
          <p:cNvPr id="5" name="doc id" hidden="1"/>
          <p:cNvSpPr txBox="1">
            <a:spLocks noChangeArrowheads="1"/>
          </p:cNvSpPr>
          <p:nvPr userDrawn="1"/>
        </p:nvSpPr>
        <p:spPr bwMode="white">
          <a:xfrm>
            <a:off x="11487912" y="37257"/>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816" baseline="0">
              <a:solidFill>
                <a:srgbClr val="FFFFFF"/>
              </a:solidFill>
              <a:latin typeface="+mn-lt"/>
            </a:endParaRPr>
          </a:p>
        </p:txBody>
      </p:sp>
      <p:sp>
        <p:nvSpPr>
          <p:cNvPr id="57" name="Document type" hidden="1"/>
          <p:cNvSpPr txBox="1">
            <a:spLocks noChangeArrowheads="1"/>
          </p:cNvSpPr>
          <p:nvPr userDrawn="1"/>
        </p:nvSpPr>
        <p:spPr bwMode="gray">
          <a:xfrm>
            <a:off x="3085967" y="3650596"/>
            <a:ext cx="8478152"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1428" baseline="0">
                <a:solidFill>
                  <a:schemeClr val="accent6"/>
                </a:solidFill>
                <a:latin typeface="+mn-lt"/>
              </a:rPr>
              <a:t>Document type | Date</a:t>
            </a:r>
          </a:p>
        </p:txBody>
      </p:sp>
      <p:sp>
        <p:nvSpPr>
          <p:cNvPr id="26" name="Disclaimer-English (United States)" hidden="1"/>
          <p:cNvSpPr>
            <a:spLocks noChangeArrowheads="1"/>
          </p:cNvSpPr>
          <p:nvPr userDrawn="1"/>
        </p:nvSpPr>
        <p:spPr bwMode="black">
          <a:xfrm>
            <a:off x="3085969" y="6540990"/>
            <a:ext cx="4822214" cy="251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21202" eaLnBrk="0" hangingPunct="0"/>
            <a:r>
              <a:rPr lang="x-none" sz="816" baseline="0">
                <a:solidFill>
                  <a:srgbClr val="FFFFFF"/>
                </a:solidFill>
                <a:latin typeface="+mn-lt"/>
              </a:rPr>
              <a:t>CONFIDENTIAL AND PROPRIETARY</a:t>
            </a:r>
          </a:p>
          <a:p>
            <a:pPr defTabSz="821202" eaLnBrk="0" hangingPunct="0"/>
            <a:r>
              <a:rPr lang="x-none" sz="816" baseline="0">
                <a:solidFill>
                  <a:srgbClr val="FFFFFF"/>
                </a:solidFill>
                <a:latin typeface="+mn-lt"/>
              </a:rPr>
              <a:t>Any use of this material without specific permission of McKinsey &amp; Company is strictly prohibited</a:t>
            </a:r>
          </a:p>
        </p:txBody>
      </p:sp>
      <p:sp>
        <p:nvSpPr>
          <p:cNvPr id="16" name="Slide Number">
            <a:extLst>
              <a:ext uri="{FF2B5EF4-FFF2-40B4-BE49-F238E27FC236}">
                <a16:creationId xmlns:a16="http://schemas.microsoft.com/office/drawing/2014/main" id="{D82E0F37-3C65-4C18-A05F-E6884FED6CC8}"/>
              </a:ext>
            </a:extLst>
          </p:cNvPr>
          <p:cNvSpPr txBox="1">
            <a:spLocks/>
          </p:cNvSpPr>
          <p:nvPr userDrawn="1"/>
        </p:nvSpPr>
        <p:spPr bwMode="auto">
          <a:xfrm>
            <a:off x="11832346" y="6586417"/>
            <a:ext cx="129844" cy="12554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x-none" sz="816" baseline="0" smtClean="0">
                <a:solidFill>
                  <a:srgbClr val="808080"/>
                </a:solidFill>
                <a:latin typeface="+mn-lt"/>
              </a:rPr>
              <a:pPr/>
              <a:t>‹#›</a:t>
            </a:fld>
            <a:endParaRPr lang="x-none" sz="816" baseline="0">
              <a:solidFill>
                <a:srgbClr val="808080"/>
              </a:solidFill>
              <a:latin typeface="+mn-lt"/>
            </a:endParaRPr>
          </a:p>
        </p:txBody>
      </p:sp>
      <p:sp>
        <p:nvSpPr>
          <p:cNvPr id="23" name="Text Placeholder 3">
            <a:extLst>
              <a:ext uri="{FF2B5EF4-FFF2-40B4-BE49-F238E27FC236}">
                <a16:creationId xmlns:a16="http://schemas.microsoft.com/office/drawing/2014/main" id="{A0729FAD-589F-406C-AD34-99A5E40CA767}"/>
              </a:ext>
            </a:extLst>
          </p:cNvPr>
          <p:cNvSpPr>
            <a:spLocks noGrp="1"/>
          </p:cNvSpPr>
          <p:nvPr>
            <p:ph type="body" sz="quarter" idx="10"/>
          </p:nvPr>
        </p:nvSpPr>
        <p:spPr>
          <a:xfrm>
            <a:off x="728341" y="1730365"/>
            <a:ext cx="4596343" cy="251222"/>
          </a:xfrm>
          <a:prstGeom prst="rect">
            <a:avLst/>
          </a:prstGeom>
        </p:spPr>
        <p:txBody>
          <a:bodyPr/>
          <a:lstStyle>
            <a:lvl1pPr marL="0" indent="0">
              <a:buNone/>
              <a:defRPr sz="1632" i="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1pPr>
          </a:lstStyle>
          <a:p>
            <a:pPr lvl="0"/>
            <a:endParaRPr lang="en-ZA"/>
          </a:p>
        </p:txBody>
      </p:sp>
      <p:sp>
        <p:nvSpPr>
          <p:cNvPr id="24" name="Text Placeholder 5">
            <a:extLst>
              <a:ext uri="{FF2B5EF4-FFF2-40B4-BE49-F238E27FC236}">
                <a16:creationId xmlns:a16="http://schemas.microsoft.com/office/drawing/2014/main" id="{88C14C44-3BCC-4CAC-95BA-93F4D0221710}"/>
              </a:ext>
            </a:extLst>
          </p:cNvPr>
          <p:cNvSpPr>
            <a:spLocks noGrp="1"/>
          </p:cNvSpPr>
          <p:nvPr>
            <p:ph type="body" sz="quarter" idx="11" hasCustomPrompt="1"/>
          </p:nvPr>
        </p:nvSpPr>
        <p:spPr>
          <a:xfrm>
            <a:off x="728341" y="702366"/>
            <a:ext cx="2856678" cy="376834"/>
          </a:xfrm>
          <a:prstGeom prst="rect">
            <a:avLst/>
          </a:prstGeom>
          <a:solidFill>
            <a:schemeClr val="accent3">
              <a:lumMod val="90000"/>
              <a:lumOff val="10000"/>
            </a:schemeClr>
          </a:solidFill>
        </p:spPr>
        <p:txBody>
          <a:bodyPr/>
          <a:lstStyle>
            <a:lvl1pPr marL="0" indent="0">
              <a:buNone/>
              <a:defRPr sz="2449" i="0">
                <a:solidFill>
                  <a:schemeClr val="bg1"/>
                </a:solidFill>
                <a:latin typeface="+mj-lt"/>
                <a:ea typeface="Segoe UI" panose="020B0502040204020203" pitchFamily="34" charset="0"/>
                <a:cs typeface="Segoe UI" panose="020B0502040204020203" pitchFamily="34" charset="0"/>
                <a:sym typeface="Segoe UI" panose="020B0502040204020203" pitchFamily="34" charset="0"/>
              </a:defRPr>
            </a:lvl1pPr>
          </a:lstStyle>
          <a:p>
            <a:pPr lvl="0"/>
            <a:r>
              <a:rPr lang="en-US"/>
              <a:t>Click to add</a:t>
            </a:r>
            <a:endParaRPr lang="en-ZA"/>
          </a:p>
        </p:txBody>
      </p:sp>
      <p:sp>
        <p:nvSpPr>
          <p:cNvPr id="2" name="Rectangle 1">
            <a:extLst>
              <a:ext uri="{FF2B5EF4-FFF2-40B4-BE49-F238E27FC236}">
                <a16:creationId xmlns:a16="http://schemas.microsoft.com/office/drawing/2014/main" id="{717ED0F1-C875-45C4-800B-5C3B379D6216}"/>
              </a:ext>
            </a:extLst>
          </p:cNvPr>
          <p:cNvSpPr/>
          <p:nvPr userDrawn="1"/>
        </p:nvSpPr>
        <p:spPr>
          <a:xfrm>
            <a:off x="8600536" y="6136108"/>
            <a:ext cx="3183145" cy="37683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00" dirty="0">
              <a:solidFill>
                <a:schemeClr val="bg1"/>
              </a:solidFill>
              <a:latin typeface="Calibri" panose="020F0502020204030204" pitchFamily="34" charset="0"/>
            </a:endParaRPr>
          </a:p>
        </p:txBody>
      </p:sp>
      <p:pic>
        <p:nvPicPr>
          <p:cNvPr id="10" name="Picture 9">
            <a:extLst>
              <a:ext uri="{FF2B5EF4-FFF2-40B4-BE49-F238E27FC236}">
                <a16:creationId xmlns:a16="http://schemas.microsoft.com/office/drawing/2014/main" id="{8D44ACF4-CC5A-43C2-9632-C25015435F66}"/>
              </a:ext>
            </a:extLst>
          </p:cNvPr>
          <p:cNvPicPr>
            <a:picLocks noChangeAspect="1"/>
          </p:cNvPicPr>
          <p:nvPr userDrawn="1"/>
        </p:nvPicPr>
        <p:blipFill rotWithShape="1">
          <a:blip r:embed="rId6"/>
          <a:srcRect l="49711" b="50000"/>
          <a:stretch/>
        </p:blipFill>
        <p:spPr>
          <a:xfrm>
            <a:off x="0" y="0"/>
            <a:ext cx="12262338" cy="6858000"/>
          </a:xfrm>
          <a:prstGeom prst="rect">
            <a:avLst/>
          </a:prstGeom>
        </p:spPr>
      </p:pic>
    </p:spTree>
    <p:extLst>
      <p:ext uri="{BB962C8B-B14F-4D97-AF65-F5344CB8AC3E}">
        <p14:creationId xmlns:p14="http://schemas.microsoft.com/office/powerpoint/2010/main" val="214429950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8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1" y="1623"/>
          <a:ext cx="2159" cy="1619"/>
        </p:xfrm>
        <a:graphic>
          <a:graphicData uri="http://schemas.openxmlformats.org/presentationml/2006/ole">
            <mc:AlternateContent xmlns:mc="http://schemas.openxmlformats.org/markup-compatibility/2006">
              <mc:Choice xmlns:v="urn:schemas-microsoft-com:vml" Requires="v">
                <p:oleObj spid="_x0000_s2048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1" y="1623"/>
                        <a:ext cx="2159" cy="1619"/>
                      </a:xfrm>
                      <a:prstGeom prst="rect">
                        <a:avLst/>
                      </a:prstGeom>
                    </p:spPr>
                  </p:pic>
                </p:oleObj>
              </mc:Fallback>
            </mc:AlternateContent>
          </a:graphicData>
        </a:graphic>
      </p:graphicFrame>
      <p:sp>
        <p:nvSpPr>
          <p:cNvPr id="4" name="Working Draft Text" hidden="1"/>
          <p:cNvSpPr txBox="1">
            <a:spLocks noChangeArrowheads="1"/>
          </p:cNvSpPr>
          <p:nvPr userDrawn="1"/>
        </p:nvSpPr>
        <p:spPr bwMode="black">
          <a:xfrm>
            <a:off x="8153071" y="6415252"/>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816" b="1" baseline="0">
                <a:solidFill>
                  <a:srgbClr val="FFFFFF"/>
                </a:solidFill>
                <a:latin typeface="+mn-lt"/>
              </a:rPr>
              <a:t>WORKING DRAFT</a:t>
            </a:r>
          </a:p>
        </p:txBody>
      </p:sp>
      <p:sp>
        <p:nvSpPr>
          <p:cNvPr id="6" name="Working Draft" hidden="1"/>
          <p:cNvSpPr txBox="1">
            <a:spLocks noChangeArrowheads="1"/>
          </p:cNvSpPr>
          <p:nvPr userDrawn="1"/>
        </p:nvSpPr>
        <p:spPr bwMode="black">
          <a:xfrm>
            <a:off x="8153070" y="6540862"/>
            <a:ext cx="403892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16" baseline="0" dirty="0">
                <a:solidFill>
                  <a:srgbClr val="FFFFFF"/>
                </a:solidFill>
                <a:latin typeface="+mn-lt"/>
              </a:rPr>
              <a:t>Last Modified 2017-01-31 05:58 AM South Africa Standard Time</a:t>
            </a:r>
            <a:endParaRPr lang="x-none" sz="816" baseline="0">
              <a:solidFill>
                <a:srgbClr val="FFFFFF"/>
              </a:solidFill>
              <a:latin typeface="+mn-lt"/>
            </a:endParaRPr>
          </a:p>
        </p:txBody>
      </p:sp>
      <p:sp>
        <p:nvSpPr>
          <p:cNvPr id="7" name="Printed" hidden="1"/>
          <p:cNvSpPr txBox="1">
            <a:spLocks noChangeArrowheads="1"/>
          </p:cNvSpPr>
          <p:nvPr userDrawn="1"/>
        </p:nvSpPr>
        <p:spPr bwMode="black">
          <a:xfrm>
            <a:off x="8153071" y="6666474"/>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16" baseline="0" dirty="0">
                <a:solidFill>
                  <a:srgbClr val="FFFFFF"/>
                </a:solidFill>
                <a:latin typeface="+mn-lt"/>
              </a:rPr>
              <a:t>Printed 2016-08-05 09:24 AM South Africa Standard Time</a:t>
            </a:r>
            <a:endParaRPr lang="x-none" sz="816" baseline="0">
              <a:solidFill>
                <a:srgbClr val="FFFFFF"/>
              </a:solidFill>
              <a:latin typeface="+mn-lt"/>
            </a:endParaRPr>
          </a:p>
        </p:txBody>
      </p:sp>
      <p:sp>
        <p:nvSpPr>
          <p:cNvPr id="5" name="doc id" hidden="1"/>
          <p:cNvSpPr txBox="1">
            <a:spLocks noChangeArrowheads="1"/>
          </p:cNvSpPr>
          <p:nvPr userDrawn="1"/>
        </p:nvSpPr>
        <p:spPr bwMode="white">
          <a:xfrm>
            <a:off x="11487912" y="37257"/>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816" baseline="0">
              <a:solidFill>
                <a:srgbClr val="FFFFFF"/>
              </a:solidFill>
              <a:latin typeface="+mn-lt"/>
            </a:endParaRPr>
          </a:p>
        </p:txBody>
      </p:sp>
      <p:sp>
        <p:nvSpPr>
          <p:cNvPr id="57" name="Document type" hidden="1"/>
          <p:cNvSpPr txBox="1">
            <a:spLocks noChangeArrowheads="1"/>
          </p:cNvSpPr>
          <p:nvPr userDrawn="1"/>
        </p:nvSpPr>
        <p:spPr bwMode="gray">
          <a:xfrm>
            <a:off x="3085967" y="3650596"/>
            <a:ext cx="8478152"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1428" baseline="0">
                <a:solidFill>
                  <a:schemeClr val="accent6"/>
                </a:solidFill>
                <a:latin typeface="+mn-lt"/>
              </a:rPr>
              <a:t>Document type | Date</a:t>
            </a:r>
          </a:p>
        </p:txBody>
      </p:sp>
      <p:sp>
        <p:nvSpPr>
          <p:cNvPr id="26" name="Disclaimer-English (United States)" hidden="1"/>
          <p:cNvSpPr>
            <a:spLocks noChangeArrowheads="1"/>
          </p:cNvSpPr>
          <p:nvPr userDrawn="1"/>
        </p:nvSpPr>
        <p:spPr bwMode="black">
          <a:xfrm>
            <a:off x="3085969" y="6540990"/>
            <a:ext cx="4822214" cy="251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21202" eaLnBrk="0" hangingPunct="0"/>
            <a:r>
              <a:rPr lang="x-none" sz="816" baseline="0">
                <a:solidFill>
                  <a:srgbClr val="FFFFFF"/>
                </a:solidFill>
                <a:latin typeface="+mn-lt"/>
              </a:rPr>
              <a:t>CONFIDENTIAL AND PROPRIETARY</a:t>
            </a:r>
          </a:p>
          <a:p>
            <a:pPr defTabSz="821202" eaLnBrk="0" hangingPunct="0"/>
            <a:r>
              <a:rPr lang="x-none" sz="816" baseline="0">
                <a:solidFill>
                  <a:srgbClr val="FFFFFF"/>
                </a:solidFill>
                <a:latin typeface="+mn-lt"/>
              </a:rPr>
              <a:t>Any use of this material without specific permission of McKinsey &amp; Company is strictly prohibited</a:t>
            </a:r>
          </a:p>
        </p:txBody>
      </p:sp>
      <p:sp>
        <p:nvSpPr>
          <p:cNvPr id="16" name="Slide Number">
            <a:extLst>
              <a:ext uri="{FF2B5EF4-FFF2-40B4-BE49-F238E27FC236}">
                <a16:creationId xmlns:a16="http://schemas.microsoft.com/office/drawing/2014/main" id="{D82E0F37-3C65-4C18-A05F-E6884FED6CC8}"/>
              </a:ext>
            </a:extLst>
          </p:cNvPr>
          <p:cNvSpPr txBox="1">
            <a:spLocks/>
          </p:cNvSpPr>
          <p:nvPr userDrawn="1"/>
        </p:nvSpPr>
        <p:spPr bwMode="auto">
          <a:xfrm>
            <a:off x="11832346" y="6586417"/>
            <a:ext cx="129844" cy="12554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x-none" sz="816" baseline="0" smtClean="0">
                <a:solidFill>
                  <a:srgbClr val="808080"/>
                </a:solidFill>
                <a:latin typeface="+mn-lt"/>
              </a:rPr>
              <a:pPr/>
              <a:t>‹#›</a:t>
            </a:fld>
            <a:endParaRPr lang="x-none" sz="816" baseline="0">
              <a:solidFill>
                <a:srgbClr val="808080"/>
              </a:solidFill>
              <a:latin typeface="+mn-lt"/>
            </a:endParaRPr>
          </a:p>
        </p:txBody>
      </p:sp>
      <p:sp>
        <p:nvSpPr>
          <p:cNvPr id="23" name="Text Placeholder 3">
            <a:extLst>
              <a:ext uri="{FF2B5EF4-FFF2-40B4-BE49-F238E27FC236}">
                <a16:creationId xmlns:a16="http://schemas.microsoft.com/office/drawing/2014/main" id="{A0729FAD-589F-406C-AD34-99A5E40CA767}"/>
              </a:ext>
            </a:extLst>
          </p:cNvPr>
          <p:cNvSpPr>
            <a:spLocks noGrp="1"/>
          </p:cNvSpPr>
          <p:nvPr>
            <p:ph type="body" sz="quarter" idx="10"/>
          </p:nvPr>
        </p:nvSpPr>
        <p:spPr>
          <a:xfrm>
            <a:off x="728341" y="1730365"/>
            <a:ext cx="4596343" cy="251222"/>
          </a:xfrm>
          <a:prstGeom prst="rect">
            <a:avLst/>
          </a:prstGeom>
        </p:spPr>
        <p:txBody>
          <a:bodyPr/>
          <a:lstStyle>
            <a:lvl1pPr marL="0" indent="0">
              <a:buNone/>
              <a:defRPr sz="1632" i="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1pPr>
          </a:lstStyle>
          <a:p>
            <a:pPr lvl="0"/>
            <a:endParaRPr lang="en-ZA"/>
          </a:p>
        </p:txBody>
      </p:sp>
      <p:sp>
        <p:nvSpPr>
          <p:cNvPr id="24" name="Text Placeholder 5">
            <a:extLst>
              <a:ext uri="{FF2B5EF4-FFF2-40B4-BE49-F238E27FC236}">
                <a16:creationId xmlns:a16="http://schemas.microsoft.com/office/drawing/2014/main" id="{88C14C44-3BCC-4CAC-95BA-93F4D0221710}"/>
              </a:ext>
            </a:extLst>
          </p:cNvPr>
          <p:cNvSpPr>
            <a:spLocks noGrp="1"/>
          </p:cNvSpPr>
          <p:nvPr>
            <p:ph type="body" sz="quarter" idx="11" hasCustomPrompt="1"/>
          </p:nvPr>
        </p:nvSpPr>
        <p:spPr>
          <a:xfrm>
            <a:off x="728341" y="702366"/>
            <a:ext cx="2856678" cy="376834"/>
          </a:xfrm>
          <a:prstGeom prst="rect">
            <a:avLst/>
          </a:prstGeom>
          <a:solidFill>
            <a:schemeClr val="accent3">
              <a:lumMod val="90000"/>
              <a:lumOff val="10000"/>
            </a:schemeClr>
          </a:solidFill>
        </p:spPr>
        <p:txBody>
          <a:bodyPr/>
          <a:lstStyle>
            <a:lvl1pPr marL="0" indent="0">
              <a:buNone/>
              <a:defRPr sz="2449" i="0">
                <a:solidFill>
                  <a:schemeClr val="bg1"/>
                </a:solidFill>
                <a:latin typeface="+mj-lt"/>
                <a:ea typeface="Segoe UI" panose="020B0502040204020203" pitchFamily="34" charset="0"/>
                <a:cs typeface="Segoe UI" panose="020B0502040204020203" pitchFamily="34" charset="0"/>
                <a:sym typeface="Segoe UI" panose="020B0502040204020203" pitchFamily="34" charset="0"/>
              </a:defRPr>
            </a:lvl1pPr>
          </a:lstStyle>
          <a:p>
            <a:pPr lvl="0"/>
            <a:r>
              <a:rPr lang="en-US"/>
              <a:t>Click to add</a:t>
            </a:r>
            <a:endParaRPr lang="en-ZA"/>
          </a:p>
        </p:txBody>
      </p:sp>
      <p:sp>
        <p:nvSpPr>
          <p:cNvPr id="2" name="Rectangle 1">
            <a:extLst>
              <a:ext uri="{FF2B5EF4-FFF2-40B4-BE49-F238E27FC236}">
                <a16:creationId xmlns:a16="http://schemas.microsoft.com/office/drawing/2014/main" id="{717ED0F1-C875-45C4-800B-5C3B379D6216}"/>
              </a:ext>
            </a:extLst>
          </p:cNvPr>
          <p:cNvSpPr/>
          <p:nvPr userDrawn="1"/>
        </p:nvSpPr>
        <p:spPr>
          <a:xfrm>
            <a:off x="8600536" y="6136108"/>
            <a:ext cx="3183145" cy="37683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00" dirty="0">
              <a:solidFill>
                <a:schemeClr val="bg1"/>
              </a:solidFill>
              <a:latin typeface="Calibri" panose="020F0502020204030204" pitchFamily="34" charset="0"/>
            </a:endParaRPr>
          </a:p>
        </p:txBody>
      </p:sp>
      <p:pic>
        <p:nvPicPr>
          <p:cNvPr id="10" name="Picture 9">
            <a:extLst>
              <a:ext uri="{FF2B5EF4-FFF2-40B4-BE49-F238E27FC236}">
                <a16:creationId xmlns:a16="http://schemas.microsoft.com/office/drawing/2014/main" id="{8D44ACF4-CC5A-43C2-9632-C25015435F66}"/>
              </a:ext>
            </a:extLst>
          </p:cNvPr>
          <p:cNvPicPr>
            <a:picLocks noChangeAspect="1"/>
          </p:cNvPicPr>
          <p:nvPr userDrawn="1"/>
        </p:nvPicPr>
        <p:blipFill rotWithShape="1">
          <a:blip r:embed="rId6"/>
          <a:srcRect r="35726"/>
          <a:stretch/>
        </p:blipFill>
        <p:spPr>
          <a:xfrm>
            <a:off x="1" y="-34506"/>
            <a:ext cx="12191999" cy="6892506"/>
          </a:xfrm>
          <a:prstGeom prst="rect">
            <a:avLst/>
          </a:prstGeom>
        </p:spPr>
      </p:pic>
    </p:spTree>
    <p:extLst>
      <p:ext uri="{BB962C8B-B14F-4D97-AF65-F5344CB8AC3E}">
        <p14:creationId xmlns:p14="http://schemas.microsoft.com/office/powerpoint/2010/main" val="40053588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9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1" y="1623"/>
          <a:ext cx="2159" cy="1619"/>
        </p:xfrm>
        <a:graphic>
          <a:graphicData uri="http://schemas.openxmlformats.org/presentationml/2006/ole">
            <mc:AlternateContent xmlns:mc="http://schemas.openxmlformats.org/markup-compatibility/2006">
              <mc:Choice xmlns:v="urn:schemas-microsoft-com:vml" Requires="v">
                <p:oleObj spid="_x0000_s2150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1" y="1623"/>
                        <a:ext cx="2159" cy="1619"/>
                      </a:xfrm>
                      <a:prstGeom prst="rect">
                        <a:avLst/>
                      </a:prstGeom>
                    </p:spPr>
                  </p:pic>
                </p:oleObj>
              </mc:Fallback>
            </mc:AlternateContent>
          </a:graphicData>
        </a:graphic>
      </p:graphicFrame>
      <p:sp>
        <p:nvSpPr>
          <p:cNvPr id="4" name="Working Draft Text" hidden="1"/>
          <p:cNvSpPr txBox="1">
            <a:spLocks noChangeArrowheads="1"/>
          </p:cNvSpPr>
          <p:nvPr userDrawn="1"/>
        </p:nvSpPr>
        <p:spPr bwMode="black">
          <a:xfrm>
            <a:off x="8153071" y="6415252"/>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816" b="1" baseline="0">
                <a:solidFill>
                  <a:srgbClr val="FFFFFF"/>
                </a:solidFill>
                <a:latin typeface="+mn-lt"/>
              </a:rPr>
              <a:t>WORKING DRAFT</a:t>
            </a:r>
          </a:p>
        </p:txBody>
      </p:sp>
      <p:sp>
        <p:nvSpPr>
          <p:cNvPr id="6" name="Working Draft" hidden="1"/>
          <p:cNvSpPr txBox="1">
            <a:spLocks noChangeArrowheads="1"/>
          </p:cNvSpPr>
          <p:nvPr userDrawn="1"/>
        </p:nvSpPr>
        <p:spPr bwMode="black">
          <a:xfrm>
            <a:off x="8153070" y="6540862"/>
            <a:ext cx="403892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16" baseline="0" dirty="0">
                <a:solidFill>
                  <a:srgbClr val="FFFFFF"/>
                </a:solidFill>
                <a:latin typeface="+mn-lt"/>
              </a:rPr>
              <a:t>Last Modified 2017-01-31 05:58 AM South Africa Standard Time</a:t>
            </a:r>
            <a:endParaRPr lang="x-none" sz="816" baseline="0">
              <a:solidFill>
                <a:srgbClr val="FFFFFF"/>
              </a:solidFill>
              <a:latin typeface="+mn-lt"/>
            </a:endParaRPr>
          </a:p>
        </p:txBody>
      </p:sp>
      <p:sp>
        <p:nvSpPr>
          <p:cNvPr id="7" name="Printed" hidden="1"/>
          <p:cNvSpPr txBox="1">
            <a:spLocks noChangeArrowheads="1"/>
          </p:cNvSpPr>
          <p:nvPr userDrawn="1"/>
        </p:nvSpPr>
        <p:spPr bwMode="black">
          <a:xfrm>
            <a:off x="8153071" y="6666474"/>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16" baseline="0" dirty="0">
                <a:solidFill>
                  <a:srgbClr val="FFFFFF"/>
                </a:solidFill>
                <a:latin typeface="+mn-lt"/>
              </a:rPr>
              <a:t>Printed 2016-08-05 09:24 AM South Africa Standard Time</a:t>
            </a:r>
            <a:endParaRPr lang="x-none" sz="816" baseline="0">
              <a:solidFill>
                <a:srgbClr val="FFFFFF"/>
              </a:solidFill>
              <a:latin typeface="+mn-lt"/>
            </a:endParaRPr>
          </a:p>
        </p:txBody>
      </p:sp>
      <p:sp>
        <p:nvSpPr>
          <p:cNvPr id="5" name="doc id" hidden="1"/>
          <p:cNvSpPr txBox="1">
            <a:spLocks noChangeArrowheads="1"/>
          </p:cNvSpPr>
          <p:nvPr userDrawn="1"/>
        </p:nvSpPr>
        <p:spPr bwMode="white">
          <a:xfrm>
            <a:off x="11487912" y="37257"/>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816" baseline="0">
              <a:solidFill>
                <a:srgbClr val="FFFFFF"/>
              </a:solidFill>
              <a:latin typeface="+mn-lt"/>
            </a:endParaRPr>
          </a:p>
        </p:txBody>
      </p:sp>
      <p:sp>
        <p:nvSpPr>
          <p:cNvPr id="57" name="Document type" hidden="1"/>
          <p:cNvSpPr txBox="1">
            <a:spLocks noChangeArrowheads="1"/>
          </p:cNvSpPr>
          <p:nvPr userDrawn="1"/>
        </p:nvSpPr>
        <p:spPr bwMode="gray">
          <a:xfrm>
            <a:off x="3085967" y="3650596"/>
            <a:ext cx="8478152"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1428" baseline="0">
                <a:solidFill>
                  <a:schemeClr val="accent6"/>
                </a:solidFill>
                <a:latin typeface="+mn-lt"/>
              </a:rPr>
              <a:t>Document type | Date</a:t>
            </a:r>
          </a:p>
        </p:txBody>
      </p:sp>
      <p:sp>
        <p:nvSpPr>
          <p:cNvPr id="26" name="Disclaimer-English (United States)" hidden="1"/>
          <p:cNvSpPr>
            <a:spLocks noChangeArrowheads="1"/>
          </p:cNvSpPr>
          <p:nvPr userDrawn="1"/>
        </p:nvSpPr>
        <p:spPr bwMode="black">
          <a:xfrm>
            <a:off x="3085969" y="6540990"/>
            <a:ext cx="4822214" cy="251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21202" eaLnBrk="0" hangingPunct="0"/>
            <a:r>
              <a:rPr lang="x-none" sz="816" baseline="0">
                <a:solidFill>
                  <a:srgbClr val="FFFFFF"/>
                </a:solidFill>
                <a:latin typeface="+mn-lt"/>
              </a:rPr>
              <a:t>CONFIDENTIAL AND PROPRIETARY</a:t>
            </a:r>
          </a:p>
          <a:p>
            <a:pPr defTabSz="821202" eaLnBrk="0" hangingPunct="0"/>
            <a:r>
              <a:rPr lang="x-none" sz="816" baseline="0">
                <a:solidFill>
                  <a:srgbClr val="FFFFFF"/>
                </a:solidFill>
                <a:latin typeface="+mn-lt"/>
              </a:rPr>
              <a:t>Any use of this material without specific permission of McKinsey &amp; Company is strictly prohibited</a:t>
            </a:r>
          </a:p>
        </p:txBody>
      </p:sp>
      <p:sp>
        <p:nvSpPr>
          <p:cNvPr id="16" name="Slide Number">
            <a:extLst>
              <a:ext uri="{FF2B5EF4-FFF2-40B4-BE49-F238E27FC236}">
                <a16:creationId xmlns:a16="http://schemas.microsoft.com/office/drawing/2014/main" id="{D82E0F37-3C65-4C18-A05F-E6884FED6CC8}"/>
              </a:ext>
            </a:extLst>
          </p:cNvPr>
          <p:cNvSpPr txBox="1">
            <a:spLocks/>
          </p:cNvSpPr>
          <p:nvPr userDrawn="1"/>
        </p:nvSpPr>
        <p:spPr bwMode="auto">
          <a:xfrm>
            <a:off x="11832346" y="6586417"/>
            <a:ext cx="129844" cy="12554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x-none" sz="816" baseline="0" smtClean="0">
                <a:solidFill>
                  <a:srgbClr val="808080"/>
                </a:solidFill>
                <a:latin typeface="+mn-lt"/>
              </a:rPr>
              <a:pPr/>
              <a:t>‹#›</a:t>
            </a:fld>
            <a:endParaRPr lang="x-none" sz="816" baseline="0">
              <a:solidFill>
                <a:srgbClr val="808080"/>
              </a:solidFill>
              <a:latin typeface="+mn-lt"/>
            </a:endParaRPr>
          </a:p>
        </p:txBody>
      </p:sp>
      <p:sp>
        <p:nvSpPr>
          <p:cNvPr id="23" name="Text Placeholder 3">
            <a:extLst>
              <a:ext uri="{FF2B5EF4-FFF2-40B4-BE49-F238E27FC236}">
                <a16:creationId xmlns:a16="http://schemas.microsoft.com/office/drawing/2014/main" id="{A0729FAD-589F-406C-AD34-99A5E40CA767}"/>
              </a:ext>
            </a:extLst>
          </p:cNvPr>
          <p:cNvSpPr>
            <a:spLocks noGrp="1"/>
          </p:cNvSpPr>
          <p:nvPr>
            <p:ph type="body" sz="quarter" idx="10"/>
          </p:nvPr>
        </p:nvSpPr>
        <p:spPr>
          <a:xfrm>
            <a:off x="728341" y="1730365"/>
            <a:ext cx="4596343" cy="251222"/>
          </a:xfrm>
          <a:prstGeom prst="rect">
            <a:avLst/>
          </a:prstGeom>
        </p:spPr>
        <p:txBody>
          <a:bodyPr/>
          <a:lstStyle>
            <a:lvl1pPr marL="0" indent="0">
              <a:buNone/>
              <a:defRPr sz="1632" i="0">
                <a:solidFill>
                  <a:schemeClr val="bg1"/>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1pPr>
          </a:lstStyle>
          <a:p>
            <a:pPr lvl="0"/>
            <a:endParaRPr lang="en-ZA"/>
          </a:p>
        </p:txBody>
      </p:sp>
      <p:sp>
        <p:nvSpPr>
          <p:cNvPr id="24" name="Text Placeholder 5">
            <a:extLst>
              <a:ext uri="{FF2B5EF4-FFF2-40B4-BE49-F238E27FC236}">
                <a16:creationId xmlns:a16="http://schemas.microsoft.com/office/drawing/2014/main" id="{88C14C44-3BCC-4CAC-95BA-93F4D0221710}"/>
              </a:ext>
            </a:extLst>
          </p:cNvPr>
          <p:cNvSpPr>
            <a:spLocks noGrp="1"/>
          </p:cNvSpPr>
          <p:nvPr>
            <p:ph type="body" sz="quarter" idx="11" hasCustomPrompt="1"/>
          </p:nvPr>
        </p:nvSpPr>
        <p:spPr>
          <a:xfrm>
            <a:off x="728341" y="702366"/>
            <a:ext cx="2856678" cy="376834"/>
          </a:xfrm>
          <a:prstGeom prst="rect">
            <a:avLst/>
          </a:prstGeom>
          <a:solidFill>
            <a:schemeClr val="accent3">
              <a:lumMod val="90000"/>
              <a:lumOff val="10000"/>
            </a:schemeClr>
          </a:solidFill>
        </p:spPr>
        <p:txBody>
          <a:bodyPr/>
          <a:lstStyle>
            <a:lvl1pPr marL="0" indent="0">
              <a:buNone/>
              <a:defRPr sz="2449" i="0">
                <a:solidFill>
                  <a:schemeClr val="bg1"/>
                </a:solidFill>
                <a:latin typeface="+mj-lt"/>
                <a:ea typeface="Segoe UI" panose="020B0502040204020203" pitchFamily="34" charset="0"/>
                <a:cs typeface="Segoe UI" panose="020B0502040204020203" pitchFamily="34" charset="0"/>
                <a:sym typeface="Segoe UI" panose="020B0502040204020203" pitchFamily="34" charset="0"/>
              </a:defRPr>
            </a:lvl1pPr>
          </a:lstStyle>
          <a:p>
            <a:pPr lvl="0"/>
            <a:r>
              <a:rPr lang="en-US"/>
              <a:t>Click to add</a:t>
            </a:r>
            <a:endParaRPr lang="en-ZA"/>
          </a:p>
        </p:txBody>
      </p:sp>
      <p:sp>
        <p:nvSpPr>
          <p:cNvPr id="2" name="Rectangle 1">
            <a:extLst>
              <a:ext uri="{FF2B5EF4-FFF2-40B4-BE49-F238E27FC236}">
                <a16:creationId xmlns:a16="http://schemas.microsoft.com/office/drawing/2014/main" id="{717ED0F1-C875-45C4-800B-5C3B379D6216}"/>
              </a:ext>
            </a:extLst>
          </p:cNvPr>
          <p:cNvSpPr/>
          <p:nvPr userDrawn="1"/>
        </p:nvSpPr>
        <p:spPr>
          <a:xfrm>
            <a:off x="8600536" y="6136108"/>
            <a:ext cx="3183145" cy="37683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00" dirty="0">
              <a:solidFill>
                <a:schemeClr val="bg1"/>
              </a:solidFill>
              <a:latin typeface="Calibri" panose="020F0502020204030204" pitchFamily="34" charset="0"/>
            </a:endParaRPr>
          </a:p>
        </p:txBody>
      </p:sp>
      <p:pic>
        <p:nvPicPr>
          <p:cNvPr id="10" name="Picture 9">
            <a:extLst>
              <a:ext uri="{FF2B5EF4-FFF2-40B4-BE49-F238E27FC236}">
                <a16:creationId xmlns:a16="http://schemas.microsoft.com/office/drawing/2014/main" id="{8D44ACF4-CC5A-43C2-9632-C25015435F66}"/>
              </a:ext>
            </a:extLst>
          </p:cNvPr>
          <p:cNvPicPr>
            <a:picLocks noChangeAspect="1"/>
          </p:cNvPicPr>
          <p:nvPr userDrawn="1"/>
        </p:nvPicPr>
        <p:blipFill rotWithShape="1">
          <a:blip r:embed="rId6"/>
          <a:srcRect r="35726"/>
          <a:stretch/>
        </p:blipFill>
        <p:spPr>
          <a:xfrm>
            <a:off x="1" y="-34506"/>
            <a:ext cx="12191999" cy="6892506"/>
          </a:xfrm>
          <a:prstGeom prst="rect">
            <a:avLst/>
          </a:prstGeom>
        </p:spPr>
      </p:pic>
      <p:sp>
        <p:nvSpPr>
          <p:cNvPr id="14" name="Rectangle 13">
            <a:extLst>
              <a:ext uri="{FF2B5EF4-FFF2-40B4-BE49-F238E27FC236}">
                <a16:creationId xmlns:a16="http://schemas.microsoft.com/office/drawing/2014/main" id="{E5B81F36-DD65-4F1D-98A0-B11188ED83CE}"/>
              </a:ext>
            </a:extLst>
          </p:cNvPr>
          <p:cNvSpPr/>
          <p:nvPr userDrawn="1"/>
        </p:nvSpPr>
        <p:spPr>
          <a:xfrm>
            <a:off x="0" y="0"/>
            <a:ext cx="12192000" cy="6858000"/>
          </a:xfrm>
          <a:prstGeom prst="rect">
            <a:avLst/>
          </a:prstGeom>
          <a:solidFill>
            <a:schemeClr val="accent3">
              <a:lumMod val="90000"/>
              <a:lumOff val="10000"/>
              <a:alpha val="39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00" dirty="0">
              <a:solidFill>
                <a:schemeClr val="bg1"/>
              </a:solidFill>
              <a:latin typeface="Calibri" panose="020F0502020204030204" pitchFamily="34" charset="0"/>
            </a:endParaRPr>
          </a:p>
        </p:txBody>
      </p:sp>
    </p:spTree>
    <p:extLst>
      <p:ext uri="{BB962C8B-B14F-4D97-AF65-F5344CB8AC3E}">
        <p14:creationId xmlns:p14="http://schemas.microsoft.com/office/powerpoint/2010/main" val="37093625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3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32AFF6B-0477-48B7-9CB9-814FB554370D}"/>
              </a:ext>
            </a:extLst>
          </p:cNvPr>
          <p:cNvGraphicFramePr>
            <a:graphicFrameLocks noChangeAspect="1"/>
          </p:cNvGraphicFramePr>
          <p:nvPr userDrawn="1">
            <p:custDataLst>
              <p:tags r:id="rId2"/>
            </p:custData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spid="_x0000_s22533" name="think-cell Slide" r:id="rId5" imgW="421" imgH="423" progId="TCLayout.ActiveDocument.1">
                  <p:embed/>
                </p:oleObj>
              </mc:Choice>
              <mc:Fallback>
                <p:oleObj name="think-cell Slide" r:id="rId5" imgW="421" imgH="423" progId="TCLayout.ActiveDocument.1">
                  <p:embed/>
                  <p:pic>
                    <p:nvPicPr>
                      <p:cNvPr id="2" name="Object 1" hidden="1">
                        <a:extLst>
                          <a:ext uri="{FF2B5EF4-FFF2-40B4-BE49-F238E27FC236}">
                            <a16:creationId xmlns:a16="http://schemas.microsoft.com/office/drawing/2014/main" id="{332AFF6B-0477-48B7-9CB9-814FB554370D}"/>
                          </a:ext>
                        </a:extLst>
                      </p:cNvPr>
                      <p:cNvPicPr/>
                      <p:nvPr/>
                    </p:nvPicPr>
                    <p:blipFill>
                      <a:blip r:embed="rId6"/>
                      <a:stretch>
                        <a:fillRect/>
                      </a:stretch>
                    </p:blipFill>
                    <p:spPr>
                      <a:xfrm>
                        <a:off x="2161" y="1621"/>
                        <a:ext cx="215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A021B93-E508-4C72-A62D-3031BBEA63D5}"/>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dirty="0">
              <a:solidFill>
                <a:schemeClr val="bg1"/>
              </a:solidFill>
              <a:latin typeface="Segoe UI Semibold" panose="020B0702040204020203" pitchFamily="34" charset="0"/>
              <a:ea typeface="+mj-ea"/>
              <a:cs typeface="+mj-cs"/>
              <a:sym typeface="Segoe UI Semibold" panose="020B0702040204020203" pitchFamily="34" charset="0"/>
            </a:endParaRPr>
          </a:p>
        </p:txBody>
      </p:sp>
      <p:pic>
        <p:nvPicPr>
          <p:cNvPr id="10" name="Picture 9">
            <a:extLst>
              <a:ext uri="{FF2B5EF4-FFF2-40B4-BE49-F238E27FC236}">
                <a16:creationId xmlns:a16="http://schemas.microsoft.com/office/drawing/2014/main" id="{E1E135FF-C665-492D-B56A-7D6363164B41}"/>
              </a:ext>
            </a:extLst>
          </p:cNvPr>
          <p:cNvPicPr>
            <a:picLocks noChangeAspect="1"/>
          </p:cNvPicPr>
          <p:nvPr userDrawn="1"/>
        </p:nvPicPr>
        <p:blipFill rotWithShape="1">
          <a:blip r:embed="rId7"/>
          <a:srcRect l="86498" t="1482" r="925" b="81683"/>
          <a:stretch/>
        </p:blipFill>
        <p:spPr>
          <a:xfrm>
            <a:off x="10982036" y="0"/>
            <a:ext cx="1209964" cy="1154545"/>
          </a:xfrm>
          <a:prstGeom prst="rect">
            <a:avLst/>
          </a:prstGeom>
        </p:spPr>
      </p:pic>
      <p:sp>
        <p:nvSpPr>
          <p:cNvPr id="5" name="Text Placeholder 3">
            <a:extLst>
              <a:ext uri="{FF2B5EF4-FFF2-40B4-BE49-F238E27FC236}">
                <a16:creationId xmlns:a16="http://schemas.microsoft.com/office/drawing/2014/main" id="{C148230C-FC63-4FD4-B1D0-C4539887B2E7}"/>
              </a:ext>
            </a:extLst>
          </p:cNvPr>
          <p:cNvSpPr>
            <a:spLocks noGrp="1"/>
          </p:cNvSpPr>
          <p:nvPr>
            <p:ph type="body" sz="quarter" idx="10" hasCustomPrompt="1"/>
          </p:nvPr>
        </p:nvSpPr>
        <p:spPr>
          <a:xfrm>
            <a:off x="695325" y="1628775"/>
            <a:ext cx="10943999" cy="4678825"/>
          </a:xfrm>
          <a:prstGeom prst="rect">
            <a:avLst/>
          </a:prstGeom>
        </p:spPr>
        <p:txBody>
          <a:bodyPr vert="horz" wrap="square" lIns="36000" tIns="0" rIns="0" bIns="0" rtlCol="0">
            <a:noAutofit/>
          </a:bodyPr>
          <a:lstStyle>
            <a:lvl1pPr marL="174625" indent="-174625">
              <a:tabLst>
                <a:tab pos="92075" algn="l"/>
              </a:tabLst>
              <a:defRPr sz="1200">
                <a:solidFill>
                  <a:schemeClr val="accent3">
                    <a:lumMod val="90000"/>
                    <a:lumOff val="10000"/>
                  </a:schemeClr>
                </a:solidFill>
                <a:latin typeface="+mn-lt"/>
              </a:defRPr>
            </a:lvl1pPr>
            <a:lvl2pPr marL="360363" indent="-185738">
              <a:defRPr lang="en-US" sz="1200" dirty="0" smtClean="0">
                <a:solidFill>
                  <a:schemeClr val="accent3">
                    <a:lumMod val="90000"/>
                    <a:lumOff val="10000"/>
                  </a:schemeClr>
                </a:solidFill>
                <a:latin typeface="+mn-lt"/>
              </a:defRPr>
            </a:lvl2pPr>
            <a:lvl3pPr marL="534988" indent="-174625">
              <a:defRPr lang="en-US" sz="1200" dirty="0" smtClean="0">
                <a:solidFill>
                  <a:schemeClr val="accent3">
                    <a:lumMod val="90000"/>
                    <a:lumOff val="10000"/>
                  </a:schemeClr>
                </a:solidFill>
                <a:latin typeface="+mn-lt"/>
              </a:defRPr>
            </a:lvl3pPr>
            <a:lvl4pPr marL="174625" indent="-174625">
              <a:defRPr lang="en-US" sz="1200" dirty="0" smtClean="0">
                <a:solidFill>
                  <a:schemeClr val="accent3">
                    <a:lumMod val="90000"/>
                    <a:lumOff val="10000"/>
                  </a:schemeClr>
                </a:solidFill>
                <a:latin typeface="+mn-lt"/>
              </a:defRPr>
            </a:lvl4pPr>
            <a:lvl5pPr>
              <a:defRPr lang="en-GB" dirty="0">
                <a:solidFill>
                  <a:schemeClr val="accent3">
                    <a:lumMod val="90000"/>
                    <a:lumOff val="10000"/>
                  </a:schemeClr>
                </a:solidFill>
                <a:latin typeface="Calibri" panose="020F0502020204030204" pitchFamily="34" charset="0"/>
              </a:defRPr>
            </a:lvl5pPr>
          </a:lstStyle>
          <a:p>
            <a:pPr lvl="0"/>
            <a:r>
              <a:rPr lang="en-US"/>
              <a:t>First level bullet</a:t>
            </a:r>
          </a:p>
          <a:p>
            <a:pPr lvl="1"/>
            <a:r>
              <a:rPr lang="en-US"/>
              <a:t>Second level bullet</a:t>
            </a:r>
          </a:p>
          <a:p>
            <a:pPr lvl="2"/>
            <a:r>
              <a:rPr lang="en-US"/>
              <a:t>Third level bullet</a:t>
            </a:r>
          </a:p>
        </p:txBody>
      </p:sp>
      <p:sp>
        <p:nvSpPr>
          <p:cNvPr id="4" name="Title 3">
            <a:extLst>
              <a:ext uri="{FF2B5EF4-FFF2-40B4-BE49-F238E27FC236}">
                <a16:creationId xmlns:a16="http://schemas.microsoft.com/office/drawing/2014/main" id="{7760C3CC-758C-4057-87A5-8F8A86B6EF49}"/>
              </a:ext>
            </a:extLst>
          </p:cNvPr>
          <p:cNvSpPr>
            <a:spLocks noGrp="1"/>
          </p:cNvSpPr>
          <p:nvPr>
            <p:ph type="title"/>
          </p:nvPr>
        </p:nvSpPr>
        <p:spPr/>
        <p:txBody>
          <a:bodyPr/>
          <a:lstStyle/>
          <a:p>
            <a:r>
              <a:rPr lang="en-US"/>
              <a:t>Click to edit Master title style</a:t>
            </a:r>
            <a:endParaRPr lang="en-ZA"/>
          </a:p>
        </p:txBody>
      </p:sp>
      <p:sp>
        <p:nvSpPr>
          <p:cNvPr id="7" name="Text Placeholder 6">
            <a:extLst>
              <a:ext uri="{FF2B5EF4-FFF2-40B4-BE49-F238E27FC236}">
                <a16:creationId xmlns:a16="http://schemas.microsoft.com/office/drawing/2014/main" id="{069D51C6-0715-49D0-8883-5FB6A1C58270}"/>
              </a:ext>
            </a:extLst>
          </p:cNvPr>
          <p:cNvSpPr>
            <a:spLocks noGrp="1"/>
          </p:cNvSpPr>
          <p:nvPr>
            <p:ph type="body" sz="quarter" idx="11" hasCustomPrompt="1"/>
          </p:nvPr>
        </p:nvSpPr>
        <p:spPr>
          <a:xfrm>
            <a:off x="695325" y="1060450"/>
            <a:ext cx="10944225" cy="307975"/>
          </a:xfrm>
        </p:spPr>
        <p:txBody>
          <a:bodyPr/>
          <a:lstStyle>
            <a:lvl1pPr marL="0" indent="0">
              <a:buFontTx/>
              <a:buNone/>
              <a:defRPr sz="1600"/>
            </a:lvl1pPr>
            <a:lvl2pPr marL="180975" indent="0">
              <a:buFontTx/>
              <a:buNone/>
              <a:defRPr sz="1600"/>
            </a:lvl2pPr>
            <a:lvl3pPr marL="360363" indent="0">
              <a:buFontTx/>
              <a:buNone/>
              <a:defRPr sz="1600"/>
            </a:lvl3pPr>
            <a:lvl4pPr marL="468102" indent="0">
              <a:buFontTx/>
              <a:buNone/>
              <a:defRPr sz="1600"/>
            </a:lvl4pPr>
            <a:lvl5pPr marL="632211" indent="0">
              <a:buFontTx/>
              <a:buNone/>
              <a:defRPr sz="1600"/>
            </a:lvl5pPr>
          </a:lstStyle>
          <a:p>
            <a:pPr lvl="0"/>
            <a:r>
              <a:rPr lang="en-US"/>
              <a:t>Insert Sub Title</a:t>
            </a:r>
            <a:endParaRPr lang="en-ZA"/>
          </a:p>
        </p:txBody>
      </p:sp>
    </p:spTree>
    <p:extLst>
      <p:ext uri="{BB962C8B-B14F-4D97-AF65-F5344CB8AC3E}">
        <p14:creationId xmlns:p14="http://schemas.microsoft.com/office/powerpoint/2010/main" val="21618793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4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32AFF6B-0477-48B7-9CB9-814FB554370D}"/>
              </a:ext>
            </a:extLst>
          </p:cNvPr>
          <p:cNvGraphicFramePr>
            <a:graphicFrameLocks noChangeAspect="1"/>
          </p:cNvGraphicFramePr>
          <p:nvPr userDrawn="1">
            <p:custDataLst>
              <p:tags r:id="rId2"/>
            </p:custData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spid="_x0000_s23557" name="think-cell Slide" r:id="rId5" imgW="421" imgH="423" progId="TCLayout.ActiveDocument.1">
                  <p:embed/>
                </p:oleObj>
              </mc:Choice>
              <mc:Fallback>
                <p:oleObj name="think-cell Slide" r:id="rId5" imgW="421" imgH="423" progId="TCLayout.ActiveDocument.1">
                  <p:embed/>
                  <p:pic>
                    <p:nvPicPr>
                      <p:cNvPr id="2" name="Object 1" hidden="1">
                        <a:extLst>
                          <a:ext uri="{FF2B5EF4-FFF2-40B4-BE49-F238E27FC236}">
                            <a16:creationId xmlns:a16="http://schemas.microsoft.com/office/drawing/2014/main" id="{332AFF6B-0477-48B7-9CB9-814FB554370D}"/>
                          </a:ext>
                        </a:extLst>
                      </p:cNvPr>
                      <p:cNvPicPr/>
                      <p:nvPr/>
                    </p:nvPicPr>
                    <p:blipFill>
                      <a:blip r:embed="rId6"/>
                      <a:stretch>
                        <a:fillRect/>
                      </a:stretch>
                    </p:blipFill>
                    <p:spPr>
                      <a:xfrm>
                        <a:off x="2161" y="1621"/>
                        <a:ext cx="215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A021B93-E508-4C72-A62D-3031BBEA63D5}"/>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dirty="0">
              <a:solidFill>
                <a:schemeClr val="bg1"/>
              </a:solidFill>
              <a:latin typeface="Segoe UI Semibold" panose="020B0702040204020203" pitchFamily="34" charset="0"/>
              <a:ea typeface="+mj-ea"/>
              <a:cs typeface="+mj-cs"/>
              <a:sym typeface="Segoe UI Semibold" panose="020B0702040204020203" pitchFamily="34" charset="0"/>
            </a:endParaRPr>
          </a:p>
        </p:txBody>
      </p:sp>
      <p:pic>
        <p:nvPicPr>
          <p:cNvPr id="10" name="Picture 9">
            <a:extLst>
              <a:ext uri="{FF2B5EF4-FFF2-40B4-BE49-F238E27FC236}">
                <a16:creationId xmlns:a16="http://schemas.microsoft.com/office/drawing/2014/main" id="{E1E135FF-C665-492D-B56A-7D6363164B41}"/>
              </a:ext>
            </a:extLst>
          </p:cNvPr>
          <p:cNvPicPr>
            <a:picLocks noChangeAspect="1"/>
          </p:cNvPicPr>
          <p:nvPr userDrawn="1"/>
        </p:nvPicPr>
        <p:blipFill rotWithShape="1">
          <a:blip r:embed="rId7"/>
          <a:srcRect l="86498" t="1482" r="925" b="81683"/>
          <a:stretch/>
        </p:blipFill>
        <p:spPr>
          <a:xfrm>
            <a:off x="10982036" y="0"/>
            <a:ext cx="1209964" cy="1154545"/>
          </a:xfrm>
          <a:prstGeom prst="rect">
            <a:avLst/>
          </a:prstGeom>
        </p:spPr>
      </p:pic>
      <p:sp>
        <p:nvSpPr>
          <p:cNvPr id="5" name="Text Placeholder 3">
            <a:extLst>
              <a:ext uri="{FF2B5EF4-FFF2-40B4-BE49-F238E27FC236}">
                <a16:creationId xmlns:a16="http://schemas.microsoft.com/office/drawing/2014/main" id="{C148230C-FC63-4FD4-B1D0-C4539887B2E7}"/>
              </a:ext>
            </a:extLst>
          </p:cNvPr>
          <p:cNvSpPr>
            <a:spLocks noGrp="1"/>
          </p:cNvSpPr>
          <p:nvPr>
            <p:ph type="body" sz="quarter" idx="10" hasCustomPrompt="1"/>
          </p:nvPr>
        </p:nvSpPr>
        <p:spPr>
          <a:xfrm>
            <a:off x="695325" y="1628775"/>
            <a:ext cx="10943999" cy="4678825"/>
          </a:xfrm>
          <a:prstGeom prst="rect">
            <a:avLst/>
          </a:prstGeom>
        </p:spPr>
        <p:txBody>
          <a:bodyPr vert="horz" wrap="square" lIns="36000" tIns="0" rIns="0" bIns="0" rtlCol="0">
            <a:noAutofit/>
          </a:bodyPr>
          <a:lstStyle>
            <a:lvl1pPr marL="174625" indent="-174625">
              <a:tabLst>
                <a:tab pos="92075" algn="l"/>
              </a:tabLst>
              <a:defRPr sz="1200">
                <a:solidFill>
                  <a:schemeClr val="accent3">
                    <a:lumMod val="90000"/>
                    <a:lumOff val="10000"/>
                  </a:schemeClr>
                </a:solidFill>
                <a:latin typeface="+mn-lt"/>
              </a:defRPr>
            </a:lvl1pPr>
            <a:lvl2pPr marL="360363" indent="-185738">
              <a:defRPr lang="en-US" sz="1200" dirty="0" smtClean="0">
                <a:solidFill>
                  <a:schemeClr val="accent3">
                    <a:lumMod val="90000"/>
                    <a:lumOff val="10000"/>
                  </a:schemeClr>
                </a:solidFill>
                <a:latin typeface="+mn-lt"/>
              </a:defRPr>
            </a:lvl2pPr>
            <a:lvl3pPr marL="534988" indent="-174625">
              <a:defRPr lang="en-US" sz="1200" dirty="0" smtClean="0">
                <a:solidFill>
                  <a:schemeClr val="accent3">
                    <a:lumMod val="90000"/>
                    <a:lumOff val="10000"/>
                  </a:schemeClr>
                </a:solidFill>
                <a:latin typeface="+mn-lt"/>
              </a:defRPr>
            </a:lvl3pPr>
            <a:lvl4pPr marL="174625" indent="-174625">
              <a:defRPr lang="en-US" sz="1200" dirty="0" smtClean="0">
                <a:solidFill>
                  <a:schemeClr val="accent3">
                    <a:lumMod val="90000"/>
                    <a:lumOff val="10000"/>
                  </a:schemeClr>
                </a:solidFill>
                <a:latin typeface="+mn-lt"/>
              </a:defRPr>
            </a:lvl4pPr>
            <a:lvl5pPr>
              <a:defRPr lang="en-GB" dirty="0">
                <a:solidFill>
                  <a:schemeClr val="accent3">
                    <a:lumMod val="90000"/>
                    <a:lumOff val="10000"/>
                  </a:schemeClr>
                </a:solidFill>
                <a:latin typeface="Calibri" panose="020F0502020204030204" pitchFamily="34" charset="0"/>
              </a:defRPr>
            </a:lvl5pPr>
          </a:lstStyle>
          <a:p>
            <a:pPr lvl="0"/>
            <a:r>
              <a:rPr lang="en-US"/>
              <a:t>First level bullet</a:t>
            </a:r>
          </a:p>
          <a:p>
            <a:pPr lvl="1"/>
            <a:r>
              <a:rPr lang="en-US"/>
              <a:t>Second level bullet</a:t>
            </a:r>
          </a:p>
          <a:p>
            <a:pPr lvl="2"/>
            <a:r>
              <a:rPr lang="en-US"/>
              <a:t>Third level bullet</a:t>
            </a:r>
          </a:p>
        </p:txBody>
      </p:sp>
      <p:sp>
        <p:nvSpPr>
          <p:cNvPr id="4" name="Title 3">
            <a:extLst>
              <a:ext uri="{FF2B5EF4-FFF2-40B4-BE49-F238E27FC236}">
                <a16:creationId xmlns:a16="http://schemas.microsoft.com/office/drawing/2014/main" id="{7760C3CC-758C-4057-87A5-8F8A86B6EF49}"/>
              </a:ext>
            </a:extLst>
          </p:cNvPr>
          <p:cNvSpPr>
            <a:spLocks noGrp="1"/>
          </p:cNvSpPr>
          <p:nvPr>
            <p:ph type="title"/>
          </p:nvPr>
        </p:nvSpPr>
        <p:spPr/>
        <p:txBody>
          <a:bodyPr/>
          <a:lstStyle/>
          <a:p>
            <a:r>
              <a:rPr lang="en-US"/>
              <a:t>Click to edit Master title style</a:t>
            </a:r>
            <a:endParaRPr lang="en-ZA"/>
          </a:p>
        </p:txBody>
      </p:sp>
      <p:sp>
        <p:nvSpPr>
          <p:cNvPr id="7" name="Text Placeholder 6">
            <a:extLst>
              <a:ext uri="{FF2B5EF4-FFF2-40B4-BE49-F238E27FC236}">
                <a16:creationId xmlns:a16="http://schemas.microsoft.com/office/drawing/2014/main" id="{069D51C6-0715-49D0-8883-5FB6A1C58270}"/>
              </a:ext>
            </a:extLst>
          </p:cNvPr>
          <p:cNvSpPr>
            <a:spLocks noGrp="1"/>
          </p:cNvSpPr>
          <p:nvPr>
            <p:ph type="body" sz="quarter" idx="11" hasCustomPrompt="1"/>
          </p:nvPr>
        </p:nvSpPr>
        <p:spPr>
          <a:xfrm>
            <a:off x="695325" y="1060450"/>
            <a:ext cx="10944225" cy="307975"/>
          </a:xfrm>
        </p:spPr>
        <p:txBody>
          <a:bodyPr/>
          <a:lstStyle>
            <a:lvl1pPr marL="0" indent="0">
              <a:buFontTx/>
              <a:buNone/>
              <a:defRPr sz="1600"/>
            </a:lvl1pPr>
            <a:lvl2pPr marL="180975" indent="0">
              <a:buFontTx/>
              <a:buNone/>
              <a:defRPr sz="1600"/>
            </a:lvl2pPr>
            <a:lvl3pPr marL="360363" indent="0">
              <a:buFontTx/>
              <a:buNone/>
              <a:defRPr sz="1600"/>
            </a:lvl3pPr>
            <a:lvl4pPr marL="468102" indent="0">
              <a:buFontTx/>
              <a:buNone/>
              <a:defRPr sz="1600"/>
            </a:lvl4pPr>
            <a:lvl5pPr marL="632211" indent="0">
              <a:buFontTx/>
              <a:buNone/>
              <a:defRPr sz="1600"/>
            </a:lvl5pPr>
          </a:lstStyle>
          <a:p>
            <a:pPr lvl="0"/>
            <a:r>
              <a:rPr lang="en-US"/>
              <a:t>Insert Sub Title</a:t>
            </a:r>
            <a:endParaRPr lang="en-ZA"/>
          </a:p>
        </p:txBody>
      </p:sp>
    </p:spTree>
    <p:extLst>
      <p:ext uri="{BB962C8B-B14F-4D97-AF65-F5344CB8AC3E}">
        <p14:creationId xmlns:p14="http://schemas.microsoft.com/office/powerpoint/2010/main" val="23005994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ZA"/>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8479873-93A7-47E3-86D8-1A1D5438753C}" type="datetime1">
              <a:rPr lang="en-ZA" smtClean="0"/>
              <a:t>2021/04/26</a:t>
            </a:fld>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87102F09-8F7D-4EC1-9AE5-82CA77F49212}" type="slidenum">
              <a:rPr lang="en-ZA" smtClean="0"/>
              <a:t>‹#›</a:t>
            </a:fld>
            <a:endParaRPr lang="en-ZA" dirty="0"/>
          </a:p>
        </p:txBody>
      </p:sp>
      <p:sp>
        <p:nvSpPr>
          <p:cNvPr id="7" name="TextBox 6">
            <a:extLst>
              <a:ext uri="{FF2B5EF4-FFF2-40B4-BE49-F238E27FC236}">
                <a16:creationId xmlns:a16="http://schemas.microsoft.com/office/drawing/2014/main" id="{AF2FC68E-9E8B-443A-8409-C842E89C3D20}"/>
              </a:ext>
            </a:extLst>
          </p:cNvPr>
          <p:cNvSpPr txBox="1"/>
          <p:nvPr userDrawn="1"/>
        </p:nvSpPr>
        <p:spPr>
          <a:xfrm>
            <a:off x="0" y="6484140"/>
            <a:ext cx="12192000" cy="373859"/>
          </a:xfrm>
          <a:prstGeom prst="rect">
            <a:avLst/>
          </a:prstGeom>
          <a:solidFill>
            <a:schemeClr val="bg1">
              <a:alpha val="43000"/>
            </a:schemeClr>
          </a:solidFill>
        </p:spPr>
        <p:txBody>
          <a:bodyPr wrap="square" rtlCol="0" anchor="ctr">
            <a:noAutofit/>
          </a:bodyPr>
          <a:lstStyle/>
          <a:p>
            <a:pPr indent="361950"/>
            <a:endParaRPr lang="en-ZA" sz="1000" b="1" dirty="0"/>
          </a:p>
        </p:txBody>
      </p:sp>
    </p:spTree>
    <p:extLst>
      <p:ext uri="{BB962C8B-B14F-4D97-AF65-F5344CB8AC3E}">
        <p14:creationId xmlns:p14="http://schemas.microsoft.com/office/powerpoint/2010/main" val="27550323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9B45C2E-8B94-41C9-9A7B-E5243DA4AB43}" type="datetime1">
              <a:rPr lang="en-ZA" smtClean="0"/>
              <a:t>2021/04/26</a:t>
            </a:fld>
            <a:endParaRPr lang="en-ZA" dirty="0"/>
          </a:p>
        </p:txBody>
      </p:sp>
      <p:sp>
        <p:nvSpPr>
          <p:cNvPr id="3" name="Footer Placeholder 2"/>
          <p:cNvSpPr>
            <a:spLocks noGrp="1"/>
          </p:cNvSpPr>
          <p:nvPr>
            <p:ph type="ftr" sz="quarter" idx="11"/>
          </p:nvPr>
        </p:nvSpPr>
        <p:spPr/>
        <p:txBody>
          <a:bodyPr/>
          <a:lstStyle/>
          <a:p>
            <a:endParaRPr lang="en-ZA" dirty="0"/>
          </a:p>
        </p:txBody>
      </p:sp>
      <p:sp>
        <p:nvSpPr>
          <p:cNvPr id="4" name="Slide Number Placeholder 3"/>
          <p:cNvSpPr>
            <a:spLocks noGrp="1"/>
          </p:cNvSpPr>
          <p:nvPr>
            <p:ph type="sldNum" sz="quarter" idx="12"/>
          </p:nvPr>
        </p:nvSpPr>
        <p:spPr/>
        <p:txBody>
          <a:bodyPr/>
          <a:lstStyle/>
          <a:p>
            <a:fld id="{87102F09-8F7D-4EC1-9AE5-82CA77F49212}" type="slidenum">
              <a:rPr lang="en-ZA" smtClean="0"/>
              <a:t>‹#›</a:t>
            </a:fld>
            <a:endParaRPr lang="en-ZA" dirty="0"/>
          </a:p>
        </p:txBody>
      </p:sp>
      <p:sp>
        <p:nvSpPr>
          <p:cNvPr id="5" name="TextBox 4">
            <a:extLst>
              <a:ext uri="{FF2B5EF4-FFF2-40B4-BE49-F238E27FC236}">
                <a16:creationId xmlns:a16="http://schemas.microsoft.com/office/drawing/2014/main" id="{9860257B-FD7F-4D5C-88DC-0B6514568D5C}"/>
              </a:ext>
            </a:extLst>
          </p:cNvPr>
          <p:cNvSpPr txBox="1"/>
          <p:nvPr userDrawn="1"/>
        </p:nvSpPr>
        <p:spPr>
          <a:xfrm>
            <a:off x="0" y="6484140"/>
            <a:ext cx="12192000" cy="373859"/>
          </a:xfrm>
          <a:prstGeom prst="rect">
            <a:avLst/>
          </a:prstGeom>
          <a:solidFill>
            <a:schemeClr val="bg1">
              <a:alpha val="43000"/>
            </a:schemeClr>
          </a:solidFill>
        </p:spPr>
        <p:txBody>
          <a:bodyPr wrap="square" rtlCol="0" anchor="ctr">
            <a:noAutofit/>
          </a:bodyPr>
          <a:lstStyle/>
          <a:p>
            <a:pPr indent="361950"/>
            <a:endParaRPr lang="en-ZA" sz="1000" b="1" dirty="0"/>
          </a:p>
        </p:txBody>
      </p:sp>
    </p:spTree>
    <p:extLst>
      <p:ext uri="{BB962C8B-B14F-4D97-AF65-F5344CB8AC3E}">
        <p14:creationId xmlns:p14="http://schemas.microsoft.com/office/powerpoint/2010/main" val="6324489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9" name="Title 8"/>
          <p:cNvSpPr>
            <a:spLocks noGrp="1"/>
          </p:cNvSpPr>
          <p:nvPr>
            <p:ph type="title"/>
          </p:nvPr>
        </p:nvSpPr>
        <p:spPr>
          <a:xfrm>
            <a:off x="-1" y="1"/>
            <a:ext cx="12192000" cy="692331"/>
          </a:xfrm>
          <a:prstGeom prst="rect">
            <a:avLst/>
          </a:prstGeom>
          <a:ln/>
        </p:spPr>
        <p:style>
          <a:lnRef idx="1">
            <a:schemeClr val="accent1"/>
          </a:lnRef>
          <a:fillRef idx="3">
            <a:schemeClr val="accent1"/>
          </a:fillRef>
          <a:effectRef idx="2">
            <a:schemeClr val="accent1"/>
          </a:effectRef>
          <a:fontRef idx="none"/>
        </p:style>
        <p:txBody>
          <a:bodyPr/>
          <a:lstStyle>
            <a:lvl1pPr>
              <a:defRPr sz="4000">
                <a:solidFill>
                  <a:schemeClr val="bg1">
                    <a:lumMod val="95000"/>
                  </a:schemeClr>
                </a:solidFill>
              </a:defRPr>
            </a:lvl1pPr>
          </a:lstStyle>
          <a:p>
            <a:r>
              <a:rPr lang="en-US" dirty="0"/>
              <a:t>Click to edit Master title style</a:t>
            </a:r>
            <a:endParaRPr lang="en-ZA" dirty="0"/>
          </a:p>
        </p:txBody>
      </p:sp>
      <p:pic>
        <p:nvPicPr>
          <p:cNvPr id="11" name="Picture 10"/>
          <p:cNvPicPr>
            <a:picLocks noChangeAspect="1"/>
          </p:cNvPicPr>
          <p:nvPr userDrawn="1"/>
        </p:nvPicPr>
        <p:blipFill>
          <a:blip r:embed="rId2"/>
          <a:stretch>
            <a:fillRect/>
          </a:stretch>
        </p:blipFill>
        <p:spPr>
          <a:xfrm>
            <a:off x="9030465" y="5579224"/>
            <a:ext cx="3161535" cy="1278776"/>
          </a:xfrm>
          <a:prstGeom prst="rect">
            <a:avLst/>
          </a:prstGeom>
        </p:spPr>
      </p:pic>
    </p:spTree>
    <p:extLst>
      <p:ext uri="{BB962C8B-B14F-4D97-AF65-F5344CB8AC3E}">
        <p14:creationId xmlns:p14="http://schemas.microsoft.com/office/powerpoint/2010/main" val="32626907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1" y="1623"/>
          <a:ext cx="2159" cy="1619"/>
        </p:xfrm>
        <a:graphic>
          <a:graphicData uri="http://schemas.openxmlformats.org/presentationml/2006/ole">
            <mc:AlternateContent xmlns:mc="http://schemas.openxmlformats.org/markup-compatibility/2006">
              <mc:Choice xmlns:v="urn:schemas-microsoft-com:vml" Requires="v">
                <p:oleObj spid="_x0000_s307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1" y="1623"/>
                        <a:ext cx="2159" cy="1619"/>
                      </a:xfrm>
                      <a:prstGeom prst="rect">
                        <a:avLst/>
                      </a:prstGeom>
                    </p:spPr>
                  </p:pic>
                </p:oleObj>
              </mc:Fallback>
            </mc:AlternateContent>
          </a:graphicData>
        </a:graphic>
      </p:graphicFrame>
      <p:sp>
        <p:nvSpPr>
          <p:cNvPr id="18" name="TextBox 17"/>
          <p:cNvSpPr txBox="1"/>
          <p:nvPr userDrawn="1"/>
        </p:nvSpPr>
        <p:spPr>
          <a:xfrm>
            <a:off x="2771428" y="6355873"/>
            <a:ext cx="8881437" cy="382460"/>
          </a:xfrm>
          <a:prstGeom prst="rect">
            <a:avLst/>
          </a:prstGeom>
          <a:noFill/>
        </p:spPr>
        <p:txBody>
          <a:bodyPr wrap="square" rtlCol="0">
            <a:spAutoFit/>
          </a:bodyPr>
          <a:lstStyle/>
          <a:p>
            <a:pPr algn="r" defTabSz="914303"/>
            <a:r>
              <a:rPr lang="en-US" sz="918" dirty="0">
                <a:latin typeface="Segoe UI" panose="020B0502040204020203" pitchFamily="34" charset="0"/>
                <a:sym typeface="Segoe UI" panose="020B0502040204020203" pitchFamily="34" charset="0"/>
              </a:rPr>
              <a:t>CONFIDENTIAL AND PROPRIETARY </a:t>
            </a:r>
            <a:br>
              <a:rPr lang="en-US" sz="918" dirty="0">
                <a:latin typeface="Segoe UI" panose="020B0502040204020203" pitchFamily="34" charset="0"/>
                <a:sym typeface="Segoe UI" panose="020B0502040204020203" pitchFamily="34" charset="0"/>
              </a:rPr>
            </a:br>
            <a:r>
              <a:rPr lang="en-US" sz="918" dirty="0">
                <a:latin typeface="Segoe UI" panose="020B0502040204020203" pitchFamily="34" charset="0"/>
                <a:sym typeface="Segoe UI" panose="020B0502040204020203" pitchFamily="34" charset="0"/>
              </a:rPr>
              <a:t>Any use of this material without the permission of Letsema is strictly prohibited</a:t>
            </a:r>
          </a:p>
        </p:txBody>
      </p:sp>
      <p:pic>
        <p:nvPicPr>
          <p:cNvPr id="16" name="Picture 15">
            <a:extLst>
              <a:ext uri="{FF2B5EF4-FFF2-40B4-BE49-F238E27FC236}">
                <a16:creationId xmlns:a16="http://schemas.microsoft.com/office/drawing/2014/main" id="{2A888493-B9AD-4E71-9676-73CC59E4712B}"/>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4" name="Working Draft Text" hidden="1"/>
          <p:cNvSpPr txBox="1">
            <a:spLocks noChangeArrowheads="1"/>
          </p:cNvSpPr>
          <p:nvPr userDrawn="1"/>
        </p:nvSpPr>
        <p:spPr bwMode="black">
          <a:xfrm>
            <a:off x="8153071" y="6415252"/>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816" b="1" baseline="0">
                <a:solidFill>
                  <a:srgbClr val="FFFFFF"/>
                </a:solidFill>
                <a:latin typeface="+mn-lt"/>
              </a:rPr>
              <a:t>WORKING DRAFT</a:t>
            </a:r>
          </a:p>
        </p:txBody>
      </p:sp>
      <p:sp>
        <p:nvSpPr>
          <p:cNvPr id="6" name="Working Draft" hidden="1"/>
          <p:cNvSpPr txBox="1">
            <a:spLocks noChangeArrowheads="1"/>
          </p:cNvSpPr>
          <p:nvPr userDrawn="1"/>
        </p:nvSpPr>
        <p:spPr bwMode="black">
          <a:xfrm>
            <a:off x="8153070" y="6540862"/>
            <a:ext cx="403892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16" baseline="0" dirty="0">
                <a:solidFill>
                  <a:srgbClr val="FFFFFF"/>
                </a:solidFill>
                <a:latin typeface="+mn-lt"/>
              </a:rPr>
              <a:t>Last Modified 2017-01-31 05:58 AM South Africa Standard Time</a:t>
            </a:r>
            <a:endParaRPr lang="x-none" sz="816" baseline="0">
              <a:solidFill>
                <a:srgbClr val="FFFFFF"/>
              </a:solidFill>
              <a:latin typeface="+mn-lt"/>
            </a:endParaRPr>
          </a:p>
        </p:txBody>
      </p:sp>
      <p:sp>
        <p:nvSpPr>
          <p:cNvPr id="7" name="Printed" hidden="1"/>
          <p:cNvSpPr txBox="1">
            <a:spLocks noChangeArrowheads="1"/>
          </p:cNvSpPr>
          <p:nvPr userDrawn="1"/>
        </p:nvSpPr>
        <p:spPr bwMode="black">
          <a:xfrm>
            <a:off x="8153071" y="6666474"/>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16" baseline="0" dirty="0">
                <a:solidFill>
                  <a:srgbClr val="FFFFFF"/>
                </a:solidFill>
                <a:latin typeface="+mn-lt"/>
              </a:rPr>
              <a:t>Printed 2016-08-05 09:24 AM South Africa Standard Time</a:t>
            </a:r>
            <a:endParaRPr lang="x-none" sz="816" baseline="0">
              <a:solidFill>
                <a:srgbClr val="FFFFFF"/>
              </a:solidFill>
              <a:latin typeface="+mn-lt"/>
            </a:endParaRPr>
          </a:p>
        </p:txBody>
      </p:sp>
      <p:sp>
        <p:nvSpPr>
          <p:cNvPr id="5" name="doc id" hidden="1"/>
          <p:cNvSpPr txBox="1">
            <a:spLocks noChangeArrowheads="1"/>
          </p:cNvSpPr>
          <p:nvPr userDrawn="1"/>
        </p:nvSpPr>
        <p:spPr bwMode="white">
          <a:xfrm>
            <a:off x="11487912" y="37257"/>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816" baseline="0">
              <a:solidFill>
                <a:srgbClr val="FFFFFF"/>
              </a:solidFill>
              <a:latin typeface="+mn-lt"/>
            </a:endParaRPr>
          </a:p>
        </p:txBody>
      </p:sp>
      <p:sp>
        <p:nvSpPr>
          <p:cNvPr id="57" name="Document type" hidden="1"/>
          <p:cNvSpPr txBox="1">
            <a:spLocks noChangeArrowheads="1"/>
          </p:cNvSpPr>
          <p:nvPr userDrawn="1"/>
        </p:nvSpPr>
        <p:spPr bwMode="gray">
          <a:xfrm>
            <a:off x="3085967" y="3650596"/>
            <a:ext cx="8478152"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1428" baseline="0">
                <a:solidFill>
                  <a:schemeClr val="accent6"/>
                </a:solidFill>
                <a:latin typeface="+mn-lt"/>
              </a:rPr>
              <a:t>Document type | Date</a:t>
            </a:r>
          </a:p>
        </p:txBody>
      </p:sp>
      <p:sp>
        <p:nvSpPr>
          <p:cNvPr id="26" name="Disclaimer-English (United States)" hidden="1"/>
          <p:cNvSpPr>
            <a:spLocks noChangeArrowheads="1"/>
          </p:cNvSpPr>
          <p:nvPr userDrawn="1"/>
        </p:nvSpPr>
        <p:spPr bwMode="black">
          <a:xfrm>
            <a:off x="3085969" y="6540990"/>
            <a:ext cx="4822214" cy="251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21202" eaLnBrk="0" hangingPunct="0"/>
            <a:r>
              <a:rPr lang="x-none" sz="816" baseline="0">
                <a:solidFill>
                  <a:srgbClr val="FFFFFF"/>
                </a:solidFill>
                <a:latin typeface="+mn-lt"/>
              </a:rPr>
              <a:t>CONFIDENTIAL AND PROPRIETARY</a:t>
            </a:r>
          </a:p>
          <a:p>
            <a:pPr defTabSz="821202" eaLnBrk="0" hangingPunct="0"/>
            <a:r>
              <a:rPr lang="x-none" sz="816" baseline="0">
                <a:solidFill>
                  <a:srgbClr val="FFFFFF"/>
                </a:solidFill>
                <a:latin typeface="+mn-lt"/>
              </a:rPr>
              <a:t>Any use of this material without specific permission of McKinsey &amp; Company is strictly prohibited</a:t>
            </a:r>
          </a:p>
        </p:txBody>
      </p:sp>
      <p:sp>
        <p:nvSpPr>
          <p:cNvPr id="20" name="Text Placeholder 3">
            <a:extLst>
              <a:ext uri="{FF2B5EF4-FFF2-40B4-BE49-F238E27FC236}">
                <a16:creationId xmlns:a16="http://schemas.microsoft.com/office/drawing/2014/main" id="{B5DEEE08-7C00-4ADC-8092-2248789EC7AE}"/>
              </a:ext>
            </a:extLst>
          </p:cNvPr>
          <p:cNvSpPr>
            <a:spLocks noGrp="1"/>
          </p:cNvSpPr>
          <p:nvPr>
            <p:ph type="body" sz="quarter" idx="13"/>
          </p:nvPr>
        </p:nvSpPr>
        <p:spPr>
          <a:xfrm>
            <a:off x="9038927" y="3329703"/>
            <a:ext cx="2241751" cy="307777"/>
          </a:xfrm>
          <a:prstGeom prst="rect">
            <a:avLst/>
          </a:prstGeom>
        </p:spPr>
        <p:txBody>
          <a:bodyPr/>
          <a:lstStyle>
            <a:lvl1pPr marL="0" indent="0" algn="ctr">
              <a:buNone/>
              <a:defRPr sz="2000" i="0">
                <a:solidFill>
                  <a:schemeClr val="bg1"/>
                </a:solidFill>
                <a:latin typeface="Segoe UI Light" panose="020B0502040204020203" pitchFamily="34" charset="0"/>
                <a:ea typeface="Segoe UI" panose="020B0502040204020203" pitchFamily="34" charset="0"/>
                <a:cs typeface="Segoe UI" panose="020B0502040204020203" pitchFamily="34" charset="0"/>
                <a:sym typeface="Segoe UI" panose="020B0502040204020203" pitchFamily="34" charset="0"/>
              </a:defRPr>
            </a:lvl1pPr>
          </a:lstStyle>
          <a:p>
            <a:pPr lvl="0"/>
            <a:endParaRPr lang="en-ZA"/>
          </a:p>
        </p:txBody>
      </p:sp>
      <p:pic>
        <p:nvPicPr>
          <p:cNvPr id="21" name="Picture 20">
            <a:extLst>
              <a:ext uri="{FF2B5EF4-FFF2-40B4-BE49-F238E27FC236}">
                <a16:creationId xmlns:a16="http://schemas.microsoft.com/office/drawing/2014/main" id="{51C9452F-1984-4FEE-885B-B747D56C624E}"/>
              </a:ext>
            </a:extLst>
          </p:cNvPr>
          <p:cNvPicPr>
            <a:picLocks noChangeAspect="1"/>
          </p:cNvPicPr>
          <p:nvPr userDrawn="1"/>
        </p:nvPicPr>
        <p:blipFill>
          <a:blip r:embed="rId7"/>
          <a:stretch>
            <a:fillRect/>
          </a:stretch>
        </p:blipFill>
        <p:spPr>
          <a:xfrm>
            <a:off x="889658" y="3238471"/>
            <a:ext cx="2857899" cy="381053"/>
          </a:xfrm>
          <a:prstGeom prst="rect">
            <a:avLst/>
          </a:prstGeom>
        </p:spPr>
      </p:pic>
    </p:spTree>
    <p:extLst>
      <p:ext uri="{BB962C8B-B14F-4D97-AF65-F5344CB8AC3E}">
        <p14:creationId xmlns:p14="http://schemas.microsoft.com/office/powerpoint/2010/main" val="365583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6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1" y="1623"/>
          <a:ext cx="2159" cy="1619"/>
        </p:xfrm>
        <a:graphic>
          <a:graphicData uri="http://schemas.openxmlformats.org/presentationml/2006/ole">
            <mc:AlternateContent xmlns:mc="http://schemas.openxmlformats.org/markup-compatibility/2006">
              <mc:Choice xmlns:v="urn:schemas-microsoft-com:vml" Requires="v">
                <p:oleObj spid="_x0000_s410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1" y="1623"/>
                        <a:ext cx="2159" cy="1619"/>
                      </a:xfrm>
                      <a:prstGeom prst="rect">
                        <a:avLst/>
                      </a:prstGeom>
                    </p:spPr>
                  </p:pic>
                </p:oleObj>
              </mc:Fallback>
            </mc:AlternateContent>
          </a:graphicData>
        </a:graphic>
      </p:graphicFrame>
      <p:sp>
        <p:nvSpPr>
          <p:cNvPr id="18" name="TextBox 17"/>
          <p:cNvSpPr txBox="1"/>
          <p:nvPr userDrawn="1"/>
        </p:nvSpPr>
        <p:spPr>
          <a:xfrm>
            <a:off x="2771428" y="6355873"/>
            <a:ext cx="8881437" cy="382460"/>
          </a:xfrm>
          <a:prstGeom prst="rect">
            <a:avLst/>
          </a:prstGeom>
          <a:noFill/>
        </p:spPr>
        <p:txBody>
          <a:bodyPr wrap="square" rtlCol="0">
            <a:spAutoFit/>
          </a:bodyPr>
          <a:lstStyle/>
          <a:p>
            <a:pPr algn="r" defTabSz="914303"/>
            <a:r>
              <a:rPr lang="en-US" sz="918" dirty="0">
                <a:latin typeface="Segoe UI" panose="020B0502040204020203" pitchFamily="34" charset="0"/>
                <a:sym typeface="Segoe UI" panose="020B0502040204020203" pitchFamily="34" charset="0"/>
              </a:rPr>
              <a:t>CONFIDENTIAL AND PROPRIETARY </a:t>
            </a:r>
            <a:br>
              <a:rPr lang="en-US" sz="918" dirty="0">
                <a:latin typeface="Segoe UI" panose="020B0502040204020203" pitchFamily="34" charset="0"/>
                <a:sym typeface="Segoe UI" panose="020B0502040204020203" pitchFamily="34" charset="0"/>
              </a:rPr>
            </a:br>
            <a:r>
              <a:rPr lang="en-US" sz="918" dirty="0">
                <a:latin typeface="Segoe UI" panose="020B0502040204020203" pitchFamily="34" charset="0"/>
                <a:sym typeface="Segoe UI" panose="020B0502040204020203" pitchFamily="34" charset="0"/>
              </a:rPr>
              <a:t>Any use of this material without the permission of Letsema is strictly prohibited</a:t>
            </a:r>
          </a:p>
        </p:txBody>
      </p:sp>
      <p:pic>
        <p:nvPicPr>
          <p:cNvPr id="16" name="Picture 15">
            <a:extLst>
              <a:ext uri="{FF2B5EF4-FFF2-40B4-BE49-F238E27FC236}">
                <a16:creationId xmlns:a16="http://schemas.microsoft.com/office/drawing/2014/main" id="{2A888493-B9AD-4E71-9676-73CC59E4712B}"/>
              </a:ext>
            </a:extLst>
          </p:cNvPr>
          <p:cNvPicPr>
            <a:picLocks noChangeAspect="1"/>
          </p:cNvPicPr>
          <p:nvPr userDrawn="1"/>
        </p:nvPicPr>
        <p:blipFill>
          <a:blip r:embed="rId6"/>
          <a:stretch>
            <a:fillRect/>
          </a:stretch>
        </p:blipFill>
        <p:spPr>
          <a:xfrm>
            <a:off x="0" y="0"/>
            <a:ext cx="12192000" cy="6858000"/>
          </a:xfrm>
          <a:prstGeom prst="rect">
            <a:avLst/>
          </a:prstGeom>
        </p:spPr>
      </p:pic>
      <p:sp>
        <p:nvSpPr>
          <p:cNvPr id="4" name="Working Draft Text" hidden="1"/>
          <p:cNvSpPr txBox="1">
            <a:spLocks noChangeArrowheads="1"/>
          </p:cNvSpPr>
          <p:nvPr userDrawn="1"/>
        </p:nvSpPr>
        <p:spPr bwMode="black">
          <a:xfrm>
            <a:off x="8153071" y="6415252"/>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816" b="1" baseline="0">
                <a:solidFill>
                  <a:srgbClr val="FFFFFF"/>
                </a:solidFill>
                <a:latin typeface="+mn-lt"/>
              </a:rPr>
              <a:t>WORKING DRAFT</a:t>
            </a:r>
          </a:p>
        </p:txBody>
      </p:sp>
      <p:sp>
        <p:nvSpPr>
          <p:cNvPr id="6" name="Working Draft" hidden="1"/>
          <p:cNvSpPr txBox="1">
            <a:spLocks noChangeArrowheads="1"/>
          </p:cNvSpPr>
          <p:nvPr userDrawn="1"/>
        </p:nvSpPr>
        <p:spPr bwMode="black">
          <a:xfrm>
            <a:off x="8153070" y="6540862"/>
            <a:ext cx="403892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16" baseline="0" dirty="0">
                <a:solidFill>
                  <a:srgbClr val="FFFFFF"/>
                </a:solidFill>
                <a:latin typeface="+mn-lt"/>
              </a:rPr>
              <a:t>Last Modified 2017-01-31 05:58 AM South Africa Standard Time</a:t>
            </a:r>
            <a:endParaRPr lang="x-none" sz="816" baseline="0">
              <a:solidFill>
                <a:srgbClr val="FFFFFF"/>
              </a:solidFill>
              <a:latin typeface="+mn-lt"/>
            </a:endParaRPr>
          </a:p>
        </p:txBody>
      </p:sp>
      <p:sp>
        <p:nvSpPr>
          <p:cNvPr id="7" name="Printed" hidden="1"/>
          <p:cNvSpPr txBox="1">
            <a:spLocks noChangeArrowheads="1"/>
          </p:cNvSpPr>
          <p:nvPr userDrawn="1"/>
        </p:nvSpPr>
        <p:spPr bwMode="black">
          <a:xfrm>
            <a:off x="8153071" y="6666474"/>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16" baseline="0" dirty="0">
                <a:solidFill>
                  <a:srgbClr val="FFFFFF"/>
                </a:solidFill>
                <a:latin typeface="+mn-lt"/>
              </a:rPr>
              <a:t>Printed 2016-08-05 09:24 AM South Africa Standard Time</a:t>
            </a:r>
            <a:endParaRPr lang="x-none" sz="816" baseline="0">
              <a:solidFill>
                <a:srgbClr val="FFFFFF"/>
              </a:solidFill>
              <a:latin typeface="+mn-lt"/>
            </a:endParaRPr>
          </a:p>
        </p:txBody>
      </p:sp>
      <p:sp>
        <p:nvSpPr>
          <p:cNvPr id="5" name="doc id" hidden="1"/>
          <p:cNvSpPr txBox="1">
            <a:spLocks noChangeArrowheads="1"/>
          </p:cNvSpPr>
          <p:nvPr userDrawn="1"/>
        </p:nvSpPr>
        <p:spPr bwMode="white">
          <a:xfrm>
            <a:off x="11487912" y="37257"/>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816" baseline="0">
              <a:solidFill>
                <a:srgbClr val="FFFFFF"/>
              </a:solidFill>
              <a:latin typeface="+mn-lt"/>
            </a:endParaRPr>
          </a:p>
        </p:txBody>
      </p:sp>
      <p:sp>
        <p:nvSpPr>
          <p:cNvPr id="57" name="Document type" hidden="1"/>
          <p:cNvSpPr txBox="1">
            <a:spLocks noChangeArrowheads="1"/>
          </p:cNvSpPr>
          <p:nvPr userDrawn="1"/>
        </p:nvSpPr>
        <p:spPr bwMode="gray">
          <a:xfrm>
            <a:off x="3085967" y="3650596"/>
            <a:ext cx="8478152"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1428" baseline="0">
                <a:solidFill>
                  <a:schemeClr val="accent6"/>
                </a:solidFill>
                <a:latin typeface="+mn-lt"/>
              </a:rPr>
              <a:t>Document type | Date</a:t>
            </a:r>
          </a:p>
        </p:txBody>
      </p:sp>
      <p:sp>
        <p:nvSpPr>
          <p:cNvPr id="26" name="Disclaimer-English (United States)" hidden="1"/>
          <p:cNvSpPr>
            <a:spLocks noChangeArrowheads="1"/>
          </p:cNvSpPr>
          <p:nvPr userDrawn="1"/>
        </p:nvSpPr>
        <p:spPr bwMode="black">
          <a:xfrm>
            <a:off x="3085969" y="6540990"/>
            <a:ext cx="4822214" cy="251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21202" eaLnBrk="0" hangingPunct="0"/>
            <a:r>
              <a:rPr lang="x-none" sz="816" baseline="0">
                <a:solidFill>
                  <a:srgbClr val="FFFFFF"/>
                </a:solidFill>
                <a:latin typeface="+mn-lt"/>
              </a:rPr>
              <a:t>CONFIDENTIAL AND PROPRIETARY</a:t>
            </a:r>
          </a:p>
          <a:p>
            <a:pPr defTabSz="821202" eaLnBrk="0" hangingPunct="0"/>
            <a:r>
              <a:rPr lang="x-none" sz="816" baseline="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4400211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1" y="1623"/>
          <a:ext cx="2159" cy="1619"/>
        </p:xfrm>
        <a:graphic>
          <a:graphicData uri="http://schemas.openxmlformats.org/presentationml/2006/ole">
            <mc:AlternateContent xmlns:mc="http://schemas.openxmlformats.org/markup-compatibility/2006">
              <mc:Choice xmlns:v="urn:schemas-microsoft-com:vml" Requires="v">
                <p:oleObj spid="_x0000_s512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1" y="1623"/>
                        <a:ext cx="2159" cy="1619"/>
                      </a:xfrm>
                      <a:prstGeom prst="rect">
                        <a:avLst/>
                      </a:prstGeom>
                    </p:spPr>
                  </p:pic>
                </p:oleObj>
              </mc:Fallback>
            </mc:AlternateContent>
          </a:graphicData>
        </a:graphic>
      </p:graphicFrame>
      <p:sp>
        <p:nvSpPr>
          <p:cNvPr id="4" name="Working Draft Text" hidden="1"/>
          <p:cNvSpPr txBox="1">
            <a:spLocks noChangeArrowheads="1"/>
          </p:cNvSpPr>
          <p:nvPr userDrawn="1"/>
        </p:nvSpPr>
        <p:spPr bwMode="black">
          <a:xfrm>
            <a:off x="8153071" y="6415252"/>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816" b="1" baseline="0">
                <a:solidFill>
                  <a:srgbClr val="FFFFFF"/>
                </a:solidFill>
                <a:latin typeface="+mn-lt"/>
              </a:rPr>
              <a:t>WORKING DRAFT</a:t>
            </a:r>
          </a:p>
        </p:txBody>
      </p:sp>
      <p:sp>
        <p:nvSpPr>
          <p:cNvPr id="6" name="Working Draft" hidden="1"/>
          <p:cNvSpPr txBox="1">
            <a:spLocks noChangeArrowheads="1"/>
          </p:cNvSpPr>
          <p:nvPr userDrawn="1"/>
        </p:nvSpPr>
        <p:spPr bwMode="black">
          <a:xfrm>
            <a:off x="8153070" y="6540862"/>
            <a:ext cx="403892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16" baseline="0" dirty="0">
                <a:solidFill>
                  <a:srgbClr val="FFFFFF"/>
                </a:solidFill>
                <a:latin typeface="+mn-lt"/>
              </a:rPr>
              <a:t>Last Modified 2017-01-31 05:58 AM South Africa Standard Time</a:t>
            </a:r>
            <a:endParaRPr lang="x-none" sz="816" baseline="0">
              <a:solidFill>
                <a:srgbClr val="FFFFFF"/>
              </a:solidFill>
              <a:latin typeface="+mn-lt"/>
            </a:endParaRPr>
          </a:p>
        </p:txBody>
      </p:sp>
      <p:sp>
        <p:nvSpPr>
          <p:cNvPr id="7" name="Printed" hidden="1"/>
          <p:cNvSpPr txBox="1">
            <a:spLocks noChangeArrowheads="1"/>
          </p:cNvSpPr>
          <p:nvPr userDrawn="1"/>
        </p:nvSpPr>
        <p:spPr bwMode="black">
          <a:xfrm>
            <a:off x="8153071" y="6666474"/>
            <a:ext cx="3795784"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16" baseline="0" dirty="0">
                <a:solidFill>
                  <a:srgbClr val="FFFFFF"/>
                </a:solidFill>
                <a:latin typeface="+mn-lt"/>
              </a:rPr>
              <a:t>Printed 2016-08-05 09:24 AM South Africa Standard Time</a:t>
            </a:r>
            <a:endParaRPr lang="x-none" sz="816" baseline="0">
              <a:solidFill>
                <a:srgbClr val="FFFFFF"/>
              </a:solidFill>
              <a:latin typeface="+mn-lt"/>
            </a:endParaRPr>
          </a:p>
        </p:txBody>
      </p:sp>
      <p:sp>
        <p:nvSpPr>
          <p:cNvPr id="5" name="doc id" hidden="1"/>
          <p:cNvSpPr txBox="1">
            <a:spLocks noChangeArrowheads="1"/>
          </p:cNvSpPr>
          <p:nvPr userDrawn="1"/>
        </p:nvSpPr>
        <p:spPr bwMode="white">
          <a:xfrm>
            <a:off x="11487912" y="37257"/>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816" baseline="0">
              <a:solidFill>
                <a:srgbClr val="FFFFFF"/>
              </a:solidFill>
              <a:latin typeface="+mn-lt"/>
            </a:endParaRPr>
          </a:p>
        </p:txBody>
      </p:sp>
      <p:sp>
        <p:nvSpPr>
          <p:cNvPr id="57" name="Document type" hidden="1"/>
          <p:cNvSpPr txBox="1">
            <a:spLocks noChangeArrowheads="1"/>
          </p:cNvSpPr>
          <p:nvPr userDrawn="1"/>
        </p:nvSpPr>
        <p:spPr bwMode="gray">
          <a:xfrm>
            <a:off x="3085967" y="3650596"/>
            <a:ext cx="8478152"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1428" baseline="0">
                <a:solidFill>
                  <a:schemeClr val="accent6"/>
                </a:solidFill>
                <a:latin typeface="+mn-lt"/>
              </a:rPr>
              <a:t>Document type | Date</a:t>
            </a:r>
          </a:p>
        </p:txBody>
      </p:sp>
      <p:sp>
        <p:nvSpPr>
          <p:cNvPr id="26" name="Disclaimer-English (United States)" hidden="1"/>
          <p:cNvSpPr>
            <a:spLocks noChangeArrowheads="1"/>
          </p:cNvSpPr>
          <p:nvPr userDrawn="1"/>
        </p:nvSpPr>
        <p:spPr bwMode="black">
          <a:xfrm>
            <a:off x="3085969" y="6540990"/>
            <a:ext cx="4822214" cy="2510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21202" eaLnBrk="0" hangingPunct="0"/>
            <a:r>
              <a:rPr lang="x-none" sz="816" baseline="0">
                <a:solidFill>
                  <a:srgbClr val="FFFFFF"/>
                </a:solidFill>
                <a:latin typeface="+mn-lt"/>
              </a:rPr>
              <a:t>CONFIDENTIAL AND PROPRIETARY</a:t>
            </a:r>
          </a:p>
          <a:p>
            <a:pPr defTabSz="821202" eaLnBrk="0" hangingPunct="0"/>
            <a:r>
              <a:rPr lang="x-none" sz="816" baseline="0">
                <a:solidFill>
                  <a:srgbClr val="FFFFFF"/>
                </a:solidFill>
                <a:latin typeface="+mn-lt"/>
              </a:rPr>
              <a:t>Any use of this material without specific permission of McKinsey &amp; Company is strictly prohibited</a:t>
            </a:r>
          </a:p>
        </p:txBody>
      </p:sp>
      <p:sp>
        <p:nvSpPr>
          <p:cNvPr id="16" name="Slide Number">
            <a:extLst>
              <a:ext uri="{FF2B5EF4-FFF2-40B4-BE49-F238E27FC236}">
                <a16:creationId xmlns:a16="http://schemas.microsoft.com/office/drawing/2014/main" id="{D82E0F37-3C65-4C18-A05F-E6884FED6CC8}"/>
              </a:ext>
            </a:extLst>
          </p:cNvPr>
          <p:cNvSpPr txBox="1">
            <a:spLocks/>
          </p:cNvSpPr>
          <p:nvPr userDrawn="1"/>
        </p:nvSpPr>
        <p:spPr bwMode="auto">
          <a:xfrm>
            <a:off x="11832346" y="6586417"/>
            <a:ext cx="129844" cy="12554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x-none" sz="816" baseline="0" smtClean="0">
                <a:solidFill>
                  <a:srgbClr val="808080"/>
                </a:solidFill>
                <a:latin typeface="+mn-lt"/>
              </a:rPr>
              <a:pPr/>
              <a:t>‹#›</a:t>
            </a:fld>
            <a:endParaRPr lang="x-none" sz="816" baseline="0">
              <a:solidFill>
                <a:srgbClr val="808080"/>
              </a:solidFill>
              <a:latin typeface="+mn-lt"/>
            </a:endParaRPr>
          </a:p>
        </p:txBody>
      </p:sp>
      <p:sp>
        <p:nvSpPr>
          <p:cNvPr id="20" name="Rectangle 19">
            <a:extLst>
              <a:ext uri="{FF2B5EF4-FFF2-40B4-BE49-F238E27FC236}">
                <a16:creationId xmlns:a16="http://schemas.microsoft.com/office/drawing/2014/main" id="{D6922CA3-BBC2-4E1D-B1D1-FAAD72080EEA}"/>
              </a:ext>
            </a:extLst>
          </p:cNvPr>
          <p:cNvSpPr/>
          <p:nvPr userDrawn="1"/>
        </p:nvSpPr>
        <p:spPr>
          <a:xfrm>
            <a:off x="2" y="0"/>
            <a:ext cx="6629396" cy="6858000"/>
          </a:xfrm>
          <a:prstGeom prst="rect">
            <a:avLst/>
          </a:prstGeom>
          <a:solidFill>
            <a:schemeClr val="accent3">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28" b="1" dirty="0">
              <a:solidFill>
                <a:schemeClr val="bg1"/>
              </a:solidFill>
            </a:endParaRPr>
          </a:p>
        </p:txBody>
      </p:sp>
      <p:sp>
        <p:nvSpPr>
          <p:cNvPr id="23" name="Text Placeholder 3">
            <a:extLst>
              <a:ext uri="{FF2B5EF4-FFF2-40B4-BE49-F238E27FC236}">
                <a16:creationId xmlns:a16="http://schemas.microsoft.com/office/drawing/2014/main" id="{A0729FAD-589F-406C-AD34-99A5E40CA767}"/>
              </a:ext>
            </a:extLst>
          </p:cNvPr>
          <p:cNvSpPr>
            <a:spLocks noGrp="1"/>
          </p:cNvSpPr>
          <p:nvPr>
            <p:ph type="body" sz="quarter" idx="10"/>
          </p:nvPr>
        </p:nvSpPr>
        <p:spPr>
          <a:xfrm>
            <a:off x="345567" y="2315156"/>
            <a:ext cx="4596343" cy="251222"/>
          </a:xfrm>
          <a:prstGeom prst="rect">
            <a:avLst/>
          </a:prstGeom>
        </p:spPr>
        <p:txBody>
          <a:bodyPr/>
          <a:lstStyle>
            <a:lvl1pPr marL="0" indent="0">
              <a:buNone/>
              <a:defRPr sz="1632" i="0">
                <a:solidFill>
                  <a:schemeClr val="accent3">
                    <a:lumMod val="90000"/>
                    <a:lumOff val="10000"/>
                  </a:schemeClr>
                </a:solidFill>
                <a:latin typeface="Segoe UI" panose="020B0502040204020203" pitchFamily="34" charset="0"/>
                <a:ea typeface="Segoe UI" panose="020B0502040204020203" pitchFamily="34" charset="0"/>
                <a:cs typeface="Segoe UI" panose="020B0502040204020203" pitchFamily="34" charset="0"/>
                <a:sym typeface="Segoe UI" panose="020B0502040204020203" pitchFamily="34" charset="0"/>
              </a:defRPr>
            </a:lvl1pPr>
          </a:lstStyle>
          <a:p>
            <a:pPr lvl="0"/>
            <a:endParaRPr lang="en-ZA"/>
          </a:p>
        </p:txBody>
      </p:sp>
      <p:sp>
        <p:nvSpPr>
          <p:cNvPr id="24" name="Text Placeholder 5">
            <a:extLst>
              <a:ext uri="{FF2B5EF4-FFF2-40B4-BE49-F238E27FC236}">
                <a16:creationId xmlns:a16="http://schemas.microsoft.com/office/drawing/2014/main" id="{88C14C44-3BCC-4CAC-95BA-93F4D0221710}"/>
              </a:ext>
            </a:extLst>
          </p:cNvPr>
          <p:cNvSpPr>
            <a:spLocks noGrp="1"/>
          </p:cNvSpPr>
          <p:nvPr>
            <p:ph type="body" sz="quarter" idx="11" hasCustomPrompt="1"/>
          </p:nvPr>
        </p:nvSpPr>
        <p:spPr>
          <a:xfrm>
            <a:off x="345567" y="1287157"/>
            <a:ext cx="2856678" cy="376834"/>
          </a:xfrm>
          <a:prstGeom prst="rect">
            <a:avLst/>
          </a:prstGeom>
          <a:noFill/>
        </p:spPr>
        <p:txBody>
          <a:bodyPr/>
          <a:lstStyle>
            <a:lvl1pPr marL="0" indent="0">
              <a:buNone/>
              <a:defRPr sz="2449" i="0">
                <a:solidFill>
                  <a:schemeClr val="accent6"/>
                </a:solidFill>
                <a:latin typeface="+mj-lt"/>
                <a:ea typeface="Segoe UI" panose="020B0502040204020203" pitchFamily="34" charset="0"/>
                <a:cs typeface="Segoe UI" panose="020B0502040204020203" pitchFamily="34" charset="0"/>
                <a:sym typeface="Segoe UI" panose="020B0502040204020203" pitchFamily="34" charset="0"/>
              </a:defRPr>
            </a:lvl1pPr>
          </a:lstStyle>
          <a:p>
            <a:pPr lvl="0"/>
            <a:r>
              <a:rPr lang="en-US"/>
              <a:t>Click to add</a:t>
            </a:r>
            <a:endParaRPr lang="en-ZA"/>
          </a:p>
        </p:txBody>
      </p:sp>
      <p:pic>
        <p:nvPicPr>
          <p:cNvPr id="14" name="Picture 13">
            <a:extLst>
              <a:ext uri="{FF2B5EF4-FFF2-40B4-BE49-F238E27FC236}">
                <a16:creationId xmlns:a16="http://schemas.microsoft.com/office/drawing/2014/main" id="{58C444CC-C0A7-4226-9875-6E320E08B890}"/>
              </a:ext>
            </a:extLst>
          </p:cNvPr>
          <p:cNvPicPr>
            <a:picLocks noChangeAspect="1"/>
          </p:cNvPicPr>
          <p:nvPr userDrawn="1"/>
        </p:nvPicPr>
        <p:blipFill>
          <a:blip r:embed="rId6"/>
          <a:stretch>
            <a:fillRect/>
          </a:stretch>
        </p:blipFill>
        <p:spPr>
          <a:xfrm>
            <a:off x="10566819" y="6527871"/>
            <a:ext cx="1094400" cy="144000"/>
          </a:xfrm>
          <a:prstGeom prst="rect">
            <a:avLst/>
          </a:prstGeom>
        </p:spPr>
      </p:pic>
      <p:pic>
        <p:nvPicPr>
          <p:cNvPr id="17" name="Picture 16">
            <a:extLst>
              <a:ext uri="{FF2B5EF4-FFF2-40B4-BE49-F238E27FC236}">
                <a16:creationId xmlns:a16="http://schemas.microsoft.com/office/drawing/2014/main" id="{1D5CB3CA-0D7B-4B3F-9A21-4D84F8F94461}"/>
              </a:ext>
            </a:extLst>
          </p:cNvPr>
          <p:cNvPicPr>
            <a:picLocks noChangeAspect="1"/>
          </p:cNvPicPr>
          <p:nvPr userDrawn="1"/>
        </p:nvPicPr>
        <p:blipFill rotWithShape="1">
          <a:blip r:embed="rId7">
            <a:duotone>
              <a:schemeClr val="bg2">
                <a:shade val="45000"/>
                <a:satMod val="135000"/>
              </a:schemeClr>
              <a:prstClr val="white"/>
            </a:duotone>
          </a:blip>
          <a:srcRect l="-1" r="588"/>
          <a:stretch/>
        </p:blipFill>
        <p:spPr>
          <a:xfrm rot="10800000" flipH="1">
            <a:off x="8851392" y="3242"/>
            <a:ext cx="3343578" cy="5474764"/>
          </a:xfrm>
          <a:prstGeom prst="rect">
            <a:avLst/>
          </a:prstGeom>
        </p:spPr>
      </p:pic>
    </p:spTree>
    <p:extLst>
      <p:ext uri="{BB962C8B-B14F-4D97-AF65-F5344CB8AC3E}">
        <p14:creationId xmlns:p14="http://schemas.microsoft.com/office/powerpoint/2010/main" val="37028142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32AFF6B-0477-48B7-9CB9-814FB554370D}"/>
              </a:ext>
            </a:extLst>
          </p:cNvPr>
          <p:cNvGraphicFramePr>
            <a:graphicFrameLocks noChangeAspect="1"/>
          </p:cNvGraphicFramePr>
          <p:nvPr userDrawn="1">
            <p:custDataLst>
              <p:tags r:id="rId2"/>
            </p:custData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spid="_x0000_s6149"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332AFF6B-0477-48B7-9CB9-814FB554370D}"/>
                          </a:ext>
                        </a:extLst>
                      </p:cNvPr>
                      <p:cNvPicPr/>
                      <p:nvPr/>
                    </p:nvPicPr>
                    <p:blipFill>
                      <a:blip r:embed="rId5"/>
                      <a:stretch>
                        <a:fillRect/>
                      </a:stretch>
                    </p:blipFill>
                    <p:spPr>
                      <a:xfrm>
                        <a:off x="2161" y="1621"/>
                        <a:ext cx="2159" cy="1619"/>
                      </a:xfrm>
                      <a:prstGeom prst="rect">
                        <a:avLst/>
                      </a:prstGeom>
                    </p:spPr>
                  </p:pic>
                </p:oleObj>
              </mc:Fallback>
            </mc:AlternateContent>
          </a:graphicData>
        </a:graphic>
      </p:graphicFrame>
      <p:sp>
        <p:nvSpPr>
          <p:cNvPr id="7" name="Title 1"/>
          <p:cNvSpPr>
            <a:spLocks noGrp="1"/>
          </p:cNvSpPr>
          <p:nvPr>
            <p:ph type="title" hasCustomPrompt="1"/>
          </p:nvPr>
        </p:nvSpPr>
        <p:spPr>
          <a:xfrm>
            <a:off x="630768" y="515970"/>
            <a:ext cx="9447077" cy="335098"/>
          </a:xfrm>
          <a:solidFill>
            <a:schemeClr val="bg1"/>
          </a:solidFill>
        </p:spPr>
        <p:txBody>
          <a:bodyPr lIns="36000">
            <a:noAutofit/>
          </a:bodyPr>
          <a:lstStyle>
            <a:lvl1pPr algn="l">
              <a:defRPr sz="2000">
                <a:solidFill>
                  <a:schemeClr val="accent6">
                    <a:lumMod val="90000"/>
                    <a:lumOff val="10000"/>
                  </a:schemeClr>
                </a:solidFill>
                <a:latin typeface="+mj-lt"/>
              </a:defRPr>
            </a:lvl1pPr>
          </a:lstStyle>
          <a:p>
            <a:r>
              <a:rPr lang="en-US"/>
              <a:t>Click to insert slide title</a:t>
            </a:r>
          </a:p>
        </p:txBody>
      </p:sp>
      <p:sp>
        <p:nvSpPr>
          <p:cNvPr id="13" name="Text Placeholder 12"/>
          <p:cNvSpPr>
            <a:spLocks noGrp="1"/>
          </p:cNvSpPr>
          <p:nvPr>
            <p:ph type="body" sz="quarter" idx="12" hasCustomPrompt="1"/>
          </p:nvPr>
        </p:nvSpPr>
        <p:spPr>
          <a:xfrm>
            <a:off x="630768" y="949199"/>
            <a:ext cx="10943999" cy="646331"/>
          </a:xfrm>
        </p:spPr>
        <p:txBody>
          <a:bodyPr lIns="36000"/>
          <a:lstStyle>
            <a:lvl1pPr marL="0" marR="0" indent="0" algn="l" defTabSz="913526" rtl="0" eaLnBrk="1" fontAlgn="base" latinLnBrk="0" hangingPunct="1">
              <a:lnSpc>
                <a:spcPct val="100000"/>
              </a:lnSpc>
              <a:spcBef>
                <a:spcPct val="0"/>
              </a:spcBef>
              <a:spcAft>
                <a:spcPct val="0"/>
              </a:spcAft>
              <a:buClr>
                <a:srgbClr val="063E59"/>
              </a:buClr>
              <a:buSzPct val="100000"/>
              <a:buFontTx/>
              <a:buNone/>
              <a:tabLst/>
              <a:defRPr sz="1400">
                <a:solidFill>
                  <a:schemeClr val="accent3">
                    <a:lumMod val="90000"/>
                    <a:lumOff val="10000"/>
                  </a:schemeClr>
                </a:solidFill>
                <a:latin typeface="+mn-lt"/>
              </a:defRPr>
            </a:lvl1pPr>
          </a:lstStyle>
          <a:p>
            <a:pPr lvl="0"/>
            <a:r>
              <a:rPr lang="en-ZA"/>
              <a:t>Click to insert sub-title</a:t>
            </a:r>
          </a:p>
          <a:p>
            <a:pPr marL="0" marR="0" lvl="0" indent="0" algn="l" defTabSz="913526" rtl="0" eaLnBrk="1" fontAlgn="base" latinLnBrk="0" hangingPunct="1">
              <a:lnSpc>
                <a:spcPct val="100000"/>
              </a:lnSpc>
              <a:spcBef>
                <a:spcPct val="0"/>
              </a:spcBef>
              <a:spcAft>
                <a:spcPct val="0"/>
              </a:spcAft>
              <a:buClr>
                <a:srgbClr val="063E59"/>
              </a:buClr>
              <a:buSzPct val="100000"/>
              <a:buFontTx/>
              <a:buNone/>
              <a:tabLst/>
              <a:defRPr/>
            </a:pPr>
            <a:r>
              <a:rPr lang="en-ZA"/>
              <a:t>Click to insert sub-title</a:t>
            </a:r>
          </a:p>
          <a:p>
            <a:pPr marL="0" marR="0" lvl="0" indent="0" algn="l" defTabSz="913526" rtl="0" eaLnBrk="1" fontAlgn="base" latinLnBrk="0" hangingPunct="1">
              <a:lnSpc>
                <a:spcPct val="100000"/>
              </a:lnSpc>
              <a:spcBef>
                <a:spcPct val="0"/>
              </a:spcBef>
              <a:spcAft>
                <a:spcPct val="0"/>
              </a:spcAft>
              <a:buClr>
                <a:srgbClr val="063E59"/>
              </a:buClr>
              <a:buSzPct val="100000"/>
              <a:buFontTx/>
              <a:buNone/>
              <a:tabLst/>
              <a:defRPr/>
            </a:pPr>
            <a:r>
              <a:rPr lang="en-ZA"/>
              <a:t>Click to insert sub-title</a:t>
            </a:r>
          </a:p>
        </p:txBody>
      </p:sp>
      <p:sp>
        <p:nvSpPr>
          <p:cNvPr id="5" name="Text Placeholder 3">
            <a:extLst>
              <a:ext uri="{FF2B5EF4-FFF2-40B4-BE49-F238E27FC236}">
                <a16:creationId xmlns:a16="http://schemas.microsoft.com/office/drawing/2014/main" id="{C148230C-FC63-4FD4-B1D0-C4539887B2E7}"/>
              </a:ext>
            </a:extLst>
          </p:cNvPr>
          <p:cNvSpPr>
            <a:spLocks noGrp="1"/>
          </p:cNvSpPr>
          <p:nvPr>
            <p:ph type="body" sz="quarter" idx="10" hasCustomPrompt="1"/>
          </p:nvPr>
        </p:nvSpPr>
        <p:spPr>
          <a:xfrm>
            <a:off x="630768" y="1721976"/>
            <a:ext cx="10943999" cy="4678825"/>
          </a:xfrm>
          <a:prstGeom prst="rect">
            <a:avLst/>
          </a:prstGeom>
        </p:spPr>
        <p:txBody>
          <a:bodyPr vert="horz" wrap="square" lIns="36000" tIns="0" rIns="0" bIns="0" rtlCol="0">
            <a:noAutofit/>
          </a:bodyPr>
          <a:lstStyle>
            <a:lvl1pPr marL="92075" indent="-92075">
              <a:tabLst>
                <a:tab pos="92075" algn="l"/>
              </a:tabLst>
              <a:defRPr sz="1200">
                <a:solidFill>
                  <a:schemeClr val="accent3">
                    <a:lumMod val="90000"/>
                    <a:lumOff val="10000"/>
                  </a:schemeClr>
                </a:solidFill>
                <a:latin typeface="+mn-lt"/>
              </a:defRPr>
            </a:lvl1pPr>
            <a:lvl2pPr>
              <a:defRPr lang="en-US" sz="1200" dirty="0" smtClean="0">
                <a:solidFill>
                  <a:schemeClr val="accent3">
                    <a:lumMod val="90000"/>
                    <a:lumOff val="10000"/>
                  </a:schemeClr>
                </a:solidFill>
                <a:latin typeface="+mn-lt"/>
              </a:defRPr>
            </a:lvl2pPr>
            <a:lvl3pPr>
              <a:defRPr lang="en-US" sz="1200" dirty="0" smtClean="0">
                <a:solidFill>
                  <a:schemeClr val="accent3">
                    <a:lumMod val="90000"/>
                    <a:lumOff val="10000"/>
                  </a:schemeClr>
                </a:solidFill>
                <a:latin typeface="+mn-lt"/>
              </a:defRPr>
            </a:lvl3pPr>
            <a:lvl4pPr>
              <a:defRPr lang="en-US" sz="1200" dirty="0" smtClean="0">
                <a:solidFill>
                  <a:schemeClr val="accent3">
                    <a:lumMod val="90000"/>
                    <a:lumOff val="10000"/>
                  </a:schemeClr>
                </a:solidFill>
                <a:latin typeface="+mn-lt"/>
              </a:defRPr>
            </a:lvl4pPr>
            <a:lvl5pPr>
              <a:defRPr lang="en-GB" dirty="0">
                <a:solidFill>
                  <a:schemeClr val="accent3">
                    <a:lumMod val="90000"/>
                    <a:lumOff val="10000"/>
                  </a:schemeClr>
                </a:solidFill>
                <a:latin typeface="Calibri" panose="020F0502020204030204" pitchFamily="34" charset="0"/>
              </a:defRPr>
            </a:lvl5pPr>
          </a:lstStyle>
          <a:p>
            <a:pPr lvl="0"/>
            <a:r>
              <a:rPr lang="en-US"/>
              <a:t>First level bullet</a:t>
            </a:r>
          </a:p>
          <a:p>
            <a:pPr lvl="1"/>
            <a:r>
              <a:rPr lang="en-US"/>
              <a:t>Second level bullet</a:t>
            </a:r>
          </a:p>
          <a:p>
            <a:pPr lvl="2"/>
            <a:r>
              <a:rPr lang="en-US"/>
              <a:t>Third level bullet</a:t>
            </a:r>
          </a:p>
          <a:p>
            <a:pPr lvl="3"/>
            <a:r>
              <a:rPr lang="en-US"/>
              <a:t>Fourth level bullet</a:t>
            </a:r>
          </a:p>
        </p:txBody>
      </p:sp>
    </p:spTree>
    <p:extLst>
      <p:ext uri="{BB962C8B-B14F-4D97-AF65-F5344CB8AC3E}">
        <p14:creationId xmlns:p14="http://schemas.microsoft.com/office/powerpoint/2010/main" val="14117746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8.xml"/><Relationship Id="rId18" Type="http://schemas.openxmlformats.org/officeDocument/2006/relationships/slideLayout" Target="../slideLayouts/slideLayout23.xml"/><Relationship Id="rId26" Type="http://schemas.openxmlformats.org/officeDocument/2006/relationships/tags" Target="../tags/tag6.xml"/><Relationship Id="rId39" Type="http://schemas.openxmlformats.org/officeDocument/2006/relationships/tags" Target="../tags/tag19.xml"/><Relationship Id="rId21" Type="http://schemas.openxmlformats.org/officeDocument/2006/relationships/slideLayout" Target="../slideLayouts/slideLayout26.xml"/><Relationship Id="rId34" Type="http://schemas.openxmlformats.org/officeDocument/2006/relationships/tags" Target="../tags/tag14.xml"/><Relationship Id="rId42" Type="http://schemas.openxmlformats.org/officeDocument/2006/relationships/image" Target="../media/image4.emf"/><Relationship Id="rId7" Type="http://schemas.openxmlformats.org/officeDocument/2006/relationships/slideLayout" Target="../slideLayouts/slideLayout1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slideLayout" Target="../slideLayouts/slideLayout25.xml"/><Relationship Id="rId29" Type="http://schemas.openxmlformats.org/officeDocument/2006/relationships/tags" Target="../tags/tag9.xml"/><Relationship Id="rId41" Type="http://schemas.openxmlformats.org/officeDocument/2006/relationships/image" Target="../media/image3.emf"/><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tags" Target="../tags/tag4.xml"/><Relationship Id="rId32" Type="http://schemas.openxmlformats.org/officeDocument/2006/relationships/tags" Target="../tags/tag12.xml"/><Relationship Id="rId37" Type="http://schemas.openxmlformats.org/officeDocument/2006/relationships/tags" Target="../tags/tag17.xml"/><Relationship Id="rId40" Type="http://schemas.openxmlformats.org/officeDocument/2006/relationships/oleObject" Target="../embeddings/oleObject2.bin"/><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vmlDrawing" Target="../drawings/vmlDrawing2.vml"/><Relationship Id="rId28" Type="http://schemas.openxmlformats.org/officeDocument/2006/relationships/tags" Target="../tags/tag8.xml"/><Relationship Id="rId36" Type="http://schemas.openxmlformats.org/officeDocument/2006/relationships/tags" Target="../tags/tag16.xml"/><Relationship Id="rId10" Type="http://schemas.openxmlformats.org/officeDocument/2006/relationships/slideLayout" Target="../slideLayouts/slideLayout15.xml"/><Relationship Id="rId19" Type="http://schemas.openxmlformats.org/officeDocument/2006/relationships/slideLayout" Target="../slideLayouts/slideLayout24.xml"/><Relationship Id="rId31" Type="http://schemas.openxmlformats.org/officeDocument/2006/relationships/tags" Target="../tags/tag11.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theme" Target="../theme/theme2.xml"/><Relationship Id="rId27" Type="http://schemas.openxmlformats.org/officeDocument/2006/relationships/tags" Target="../tags/tag7.xml"/><Relationship Id="rId30" Type="http://schemas.openxmlformats.org/officeDocument/2006/relationships/tags" Target="../tags/tag10.xml"/><Relationship Id="rId35" Type="http://schemas.openxmlformats.org/officeDocument/2006/relationships/tags" Target="../tags/tag15.xml"/><Relationship Id="rId8" Type="http://schemas.openxmlformats.org/officeDocument/2006/relationships/slideLayout" Target="../slideLayouts/slideLayout13.xml"/><Relationship Id="rId3" Type="http://schemas.openxmlformats.org/officeDocument/2006/relationships/slideLayout" Target="../slideLayouts/slideLayout8.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5" Type="http://schemas.openxmlformats.org/officeDocument/2006/relationships/tags" Target="../tags/tag5.xml"/><Relationship Id="rId33" Type="http://schemas.openxmlformats.org/officeDocument/2006/relationships/tags" Target="../tags/tag13.xml"/><Relationship Id="rId38"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E78D601-AA01-43E2-9A8A-72C8CD652B0C}"/>
              </a:ext>
            </a:extLst>
          </p:cNvPr>
          <p:cNvGraphicFramePr>
            <a:graphicFrameLocks noChangeAspect="1"/>
          </p:cNvGraphicFramePr>
          <p:nvPr userDrawn="1">
            <p:custDataLst>
              <p:tags r:id="rId8"/>
            </p:custDataLst>
            <p:extLst>
              <p:ext uri="{D42A27DB-BD31-4B8C-83A1-F6EECF244321}">
                <p14:modId xmlns:p14="http://schemas.microsoft.com/office/powerpoint/2010/main" val="115691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 name="think-cell Slide" r:id="rId10" imgW="425" imgH="424" progId="TCLayout.ActiveDocument.1">
                  <p:embed/>
                </p:oleObj>
              </mc:Choice>
              <mc:Fallback>
                <p:oleObj name="think-cell Slide" r:id="rId10" imgW="425" imgH="424" progId="TCLayout.ActiveDocument.1">
                  <p:embed/>
                  <p:pic>
                    <p:nvPicPr>
                      <p:cNvPr id="8" name="Object 7" hidden="1">
                        <a:extLst>
                          <a:ext uri="{FF2B5EF4-FFF2-40B4-BE49-F238E27FC236}">
                            <a16:creationId xmlns:a16="http://schemas.microsoft.com/office/drawing/2014/main" id="{DE78D601-AA01-43E2-9A8A-72C8CD652B0C}"/>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B86C76D-CF0B-4704-8E0D-38BDEA773985}"/>
              </a:ext>
            </a:extLst>
          </p:cNvPr>
          <p:cNvSpPr/>
          <p:nvPr userDrawn="1">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B071D1A-B692-44C5-9C77-7C7CE7B42D47}" type="datetime1">
              <a:rPr lang="en-ZA" smtClean="0"/>
              <a:t>2021/04/26</a:t>
            </a:fld>
            <a:endParaRPr lang="en-ZA"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7102F09-8F7D-4EC1-9AE5-82CA77F49212}" type="slidenum">
              <a:rPr lang="en-ZA" smtClean="0"/>
              <a:t>‹#›</a:t>
            </a:fld>
            <a:endParaRPr lang="en-ZA" dirty="0"/>
          </a:p>
        </p:txBody>
      </p:sp>
    </p:spTree>
    <p:extLst>
      <p:ext uri="{BB962C8B-B14F-4D97-AF65-F5344CB8AC3E}">
        <p14:creationId xmlns:p14="http://schemas.microsoft.com/office/powerpoint/2010/main" val="96492188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5" r:id="rId4"/>
    <p:sldLayoutId id="2147483678"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4"/>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2053" name="think-cell Slide" r:id="rId40" imgW="270" imgH="270" progId="TCLayout.ActiveDocument.1">
                  <p:embed/>
                </p:oleObj>
              </mc:Choice>
              <mc:Fallback>
                <p:oleObj name="think-cell Slide" r:id="rId40" imgW="270" imgH="270" progId="TCLayout.ActiveDocument.1">
                  <p:embed/>
                  <p:pic>
                    <p:nvPicPr>
                      <p:cNvPr id="2" name="Object 1" hidden="1"/>
                      <p:cNvPicPr/>
                      <p:nvPr/>
                    </p:nvPicPr>
                    <p:blipFill>
                      <a:blip r:embed="rId41"/>
                      <a:stretch>
                        <a:fillRect/>
                      </a:stretch>
                    </p:blipFill>
                    <p:spPr>
                      <a:xfrm>
                        <a:off x="0" y="0"/>
                        <a:ext cx="215979" cy="161974"/>
                      </a:xfrm>
                      <a:prstGeom prst="rect">
                        <a:avLst/>
                      </a:prstGeom>
                    </p:spPr>
                  </p:pic>
                </p:oleObj>
              </mc:Fallback>
            </mc:AlternateContent>
          </a:graphicData>
        </a:graphic>
      </p:graphicFrame>
      <p:sp>
        <p:nvSpPr>
          <p:cNvPr id="1034" name="Working Draft" hidden="1"/>
          <p:cNvSpPr txBox="1">
            <a:spLocks noChangeArrowheads="1"/>
          </p:cNvSpPr>
          <p:nvPr/>
        </p:nvSpPr>
        <p:spPr bwMode="gray">
          <a:xfrm rot="5400000">
            <a:off x="10980477" y="1980017"/>
            <a:ext cx="2232984"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marL="0" marR="0" lvl="0" indent="0" algn="l" defTabSz="932962" rtl="0" eaLnBrk="1" fontAlgn="base" latinLnBrk="0" hangingPunct="1">
              <a:lnSpc>
                <a:spcPct val="100000"/>
              </a:lnSpc>
              <a:spcBef>
                <a:spcPct val="0"/>
              </a:spcBef>
              <a:spcAft>
                <a:spcPct val="0"/>
              </a:spcAft>
              <a:buClrTx/>
              <a:buSzTx/>
              <a:buFontTx/>
              <a:buNone/>
              <a:tabLst/>
              <a:defRPr lang="x-none"/>
            </a:pPr>
            <a:r>
              <a:rPr kumimoji="0" lang="en-US" sz="612" b="0" i="0" u="none" strike="noStrike" kern="1200" cap="none" spc="0" normalizeH="0" baseline="0" noProof="0" dirty="0">
                <a:ln>
                  <a:noFill/>
                </a:ln>
                <a:solidFill>
                  <a:srgbClr val="808080"/>
                </a:solidFill>
                <a:effectLst/>
                <a:uLnTx/>
                <a:uFillTx/>
                <a:latin typeface="Arial"/>
                <a:ea typeface="+mn-ea"/>
                <a:cs typeface="+mn-cs"/>
              </a:rPr>
              <a:t>Last Modified 2017-01-31 05:58 AM South Africa Standard Time</a:t>
            </a:r>
            <a:endParaRPr kumimoji="0" lang="x-none" sz="1632" b="0" i="0" u="none" strike="noStrike" kern="1200" cap="none" spc="0" normalizeH="0" baseline="0" noProof="0">
              <a:ln>
                <a:noFill/>
              </a:ln>
              <a:solidFill>
                <a:srgbClr val="808080"/>
              </a:solidFill>
              <a:effectLst/>
              <a:uLnTx/>
              <a:uFillTx/>
              <a:latin typeface="Arial"/>
              <a:ea typeface="+mn-ea"/>
              <a:cs typeface="+mn-cs"/>
            </a:endParaRPr>
          </a:p>
        </p:txBody>
      </p:sp>
      <p:sp>
        <p:nvSpPr>
          <p:cNvPr id="1035" name="Printed" hidden="1"/>
          <p:cNvSpPr txBox="1">
            <a:spLocks noChangeArrowheads="1"/>
          </p:cNvSpPr>
          <p:nvPr/>
        </p:nvSpPr>
        <p:spPr bwMode="gray">
          <a:xfrm rot="5400000">
            <a:off x="11089485" y="4197997"/>
            <a:ext cx="2014975"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marL="0" marR="0" lvl="0" indent="0" algn="l" defTabSz="932962" rtl="0" eaLnBrk="1" fontAlgn="base" latinLnBrk="0" hangingPunct="1">
              <a:lnSpc>
                <a:spcPct val="100000"/>
              </a:lnSpc>
              <a:spcBef>
                <a:spcPct val="0"/>
              </a:spcBef>
              <a:spcAft>
                <a:spcPct val="0"/>
              </a:spcAft>
              <a:buClrTx/>
              <a:buSzTx/>
              <a:buFontTx/>
              <a:buNone/>
              <a:tabLst/>
              <a:defRPr lang="x-none"/>
            </a:pPr>
            <a:r>
              <a:rPr kumimoji="0" lang="en-US" sz="612" b="0" i="0" u="none" strike="noStrike" kern="1200" cap="none" spc="0" normalizeH="0" baseline="0" noProof="0" dirty="0">
                <a:ln>
                  <a:noFill/>
                </a:ln>
                <a:solidFill>
                  <a:srgbClr val="808080"/>
                </a:solidFill>
                <a:effectLst/>
                <a:uLnTx/>
                <a:uFillTx/>
                <a:latin typeface="Arial"/>
                <a:ea typeface="+mn-ea"/>
                <a:cs typeface="+mn-cs"/>
              </a:rPr>
              <a:t>Printed 2016-08-05 09:24 AM South Africa Standard Time</a:t>
            </a:r>
            <a:endParaRPr kumimoji="0" lang="x-none" sz="1632" b="0" i="0" u="none" strike="noStrike" kern="1200" cap="none" spc="0" normalizeH="0" baseline="0" noProof="0">
              <a:ln>
                <a:noFill/>
              </a:ln>
              <a:solidFill>
                <a:srgbClr val="808080"/>
              </a:solidFill>
              <a:effectLst/>
              <a:uLnTx/>
              <a:uFillTx/>
              <a:latin typeface="Arial"/>
              <a:ea typeface="+mn-ea"/>
              <a:cs typeface="+mn-cs"/>
            </a:endParaRPr>
          </a:p>
        </p:txBody>
      </p:sp>
      <p:sp>
        <p:nvSpPr>
          <p:cNvPr id="19" name="Title Placeholder 2"/>
          <p:cNvSpPr>
            <a:spLocks noGrp="1" noChangeArrowheads="1"/>
          </p:cNvSpPr>
          <p:nvPr>
            <p:ph type="title"/>
          </p:nvPr>
        </p:nvSpPr>
        <p:spPr bwMode="gray">
          <a:xfrm>
            <a:off x="774863" y="553829"/>
            <a:ext cx="1118572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x-none" noProof="0"/>
          </a:p>
        </p:txBody>
      </p:sp>
      <p:sp>
        <p:nvSpPr>
          <p:cNvPr id="10" name="1. On-page tracker" hidden="1"/>
          <p:cNvSpPr>
            <a:spLocks noChangeArrowheads="1"/>
          </p:cNvSpPr>
          <p:nvPr/>
        </p:nvSpPr>
        <p:spPr bwMode="gray">
          <a:xfrm>
            <a:off x="161986" y="77305"/>
            <a:ext cx="501740"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32962" rtl="0" eaLnBrk="1" fontAlgn="base" latinLnBrk="0" hangingPunct="1">
              <a:lnSpc>
                <a:spcPct val="100000"/>
              </a:lnSpc>
              <a:spcBef>
                <a:spcPct val="0"/>
              </a:spcBef>
              <a:spcAft>
                <a:spcPct val="0"/>
              </a:spcAft>
              <a:buClrTx/>
              <a:buSzTx/>
              <a:buFontTx/>
              <a:buNone/>
              <a:tabLst/>
              <a:defRPr/>
            </a:pPr>
            <a:r>
              <a:rPr kumimoji="0" lang="x-none" sz="816" b="0" i="0" u="none" strike="noStrike" kern="1200" cap="all" spc="0" normalizeH="0" baseline="0" noProof="0">
                <a:ln>
                  <a:noFill/>
                </a:ln>
                <a:solidFill>
                  <a:srgbClr val="0A2E46"/>
                </a:solidFill>
                <a:effectLst/>
                <a:uLnTx/>
                <a:uFillTx/>
                <a:latin typeface="Arial"/>
                <a:ea typeface="+mn-ea"/>
                <a:cs typeface="+mn-cs"/>
              </a:rPr>
              <a:t>TRACKER</a:t>
            </a:r>
          </a:p>
        </p:txBody>
      </p:sp>
      <p:sp>
        <p:nvSpPr>
          <p:cNvPr id="11" name="3. Unit of measure" hidden="1"/>
          <p:cNvSpPr txBox="1">
            <a:spLocks noChangeArrowheads="1"/>
          </p:cNvSpPr>
          <p:nvPr/>
        </p:nvSpPr>
        <p:spPr bwMode="gray">
          <a:xfrm>
            <a:off x="161987" y="566138"/>
            <a:ext cx="11725485"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defRPr lang="x-none"/>
            </a:pPr>
            <a:r>
              <a:rPr kumimoji="0" lang="x-none" sz="1632" b="0" i="0" u="none" strike="noStrike" kern="1200" cap="none" spc="0" normalizeH="0" baseline="0" noProof="0">
                <a:ln>
                  <a:noFill/>
                </a:ln>
                <a:solidFill>
                  <a:srgbClr val="0A2E46"/>
                </a:solidFill>
                <a:effectLst/>
                <a:uLnTx/>
                <a:uFillTx/>
                <a:latin typeface="Arial"/>
                <a:ea typeface="+mn-ea"/>
                <a:cs typeface="+mn-cs"/>
              </a:rPr>
              <a:t>Unit of measure</a:t>
            </a:r>
          </a:p>
        </p:txBody>
      </p:sp>
      <p:grpSp>
        <p:nvGrpSpPr>
          <p:cNvPr id="4" name="Slide Elements" hidden="1"/>
          <p:cNvGrpSpPr/>
          <p:nvPr userDrawn="1"/>
        </p:nvGrpSpPr>
        <p:grpSpPr bwMode="gray">
          <a:xfrm>
            <a:off x="161987" y="6432273"/>
            <a:ext cx="11725485" cy="333805"/>
            <a:chOff x="119063" y="6304223"/>
            <a:chExt cx="8618537" cy="327160"/>
          </a:xfrm>
        </p:grpSpPr>
        <p:sp>
          <p:nvSpPr>
            <p:cNvPr id="13" name="4. Footnote"/>
            <p:cNvSpPr txBox="1">
              <a:spLocks noChangeArrowheads="1"/>
            </p:cNvSpPr>
            <p:nvPr/>
          </p:nvSpPr>
          <p:spPr bwMode="gray">
            <a:xfrm>
              <a:off x="119063" y="6304223"/>
              <a:ext cx="861853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106902" marR="0" lvl="0" indent="-106902" algn="l" defTabSz="913526" rtl="0" eaLnBrk="1" fontAlgn="base" latinLnBrk="0" hangingPunct="1">
                <a:lnSpc>
                  <a:spcPct val="100000"/>
                </a:lnSpc>
                <a:spcBef>
                  <a:spcPct val="0"/>
                </a:spcBef>
                <a:spcAft>
                  <a:spcPct val="0"/>
                </a:spcAft>
                <a:buClrTx/>
                <a:buSzTx/>
                <a:buFontTx/>
                <a:buNone/>
                <a:tabLst/>
                <a:defRPr lang="x-none"/>
              </a:pPr>
              <a:r>
                <a:rPr kumimoji="0" lang="x-none" sz="816" b="0" i="0" u="none" strike="noStrike" kern="1200" cap="none" spc="0" normalizeH="0" baseline="0" noProof="0">
                  <a:ln>
                    <a:noFill/>
                  </a:ln>
                  <a:solidFill>
                    <a:srgbClr val="808080"/>
                  </a:solidFill>
                  <a:effectLst/>
                  <a:uLnTx/>
                  <a:uFillTx/>
                  <a:latin typeface="Arial"/>
                  <a:ea typeface="+mn-ea"/>
                  <a:cs typeface="+mn-cs"/>
                </a:rPr>
                <a:t>1 Footnote</a:t>
              </a:r>
            </a:p>
          </p:txBody>
        </p:sp>
        <p:sp>
          <p:nvSpPr>
            <p:cNvPr id="14" name="5. Source"/>
            <p:cNvSpPr>
              <a:spLocks noChangeArrowheads="1"/>
            </p:cNvSpPr>
            <p:nvPr/>
          </p:nvSpPr>
          <p:spPr bwMode="gray">
            <a:xfrm>
              <a:off x="119063" y="6505836"/>
              <a:ext cx="7200000"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21975" marR="0" lvl="0" indent="-621975" algn="l" defTabSz="913526" rtl="0" eaLnBrk="1" fontAlgn="base" latinLnBrk="0" hangingPunct="1">
                <a:lnSpc>
                  <a:spcPct val="100000"/>
                </a:lnSpc>
                <a:spcBef>
                  <a:spcPct val="0"/>
                </a:spcBef>
                <a:spcAft>
                  <a:spcPct val="0"/>
                </a:spcAft>
                <a:buClrTx/>
                <a:buSzTx/>
                <a:buFontTx/>
                <a:buNone/>
                <a:tabLst>
                  <a:tab pos="625214" algn="l"/>
                </a:tabLst>
                <a:defRPr/>
              </a:pPr>
              <a:r>
                <a:rPr kumimoji="0" lang="x-none" sz="816" b="0" i="0" u="none" strike="noStrike" kern="1200" cap="none" spc="0" normalizeH="0" baseline="0" noProof="0">
                  <a:ln>
                    <a:noFill/>
                  </a:ln>
                  <a:solidFill>
                    <a:srgbClr val="808080"/>
                  </a:solidFill>
                  <a:effectLst/>
                  <a:uLnTx/>
                  <a:uFillTx/>
                  <a:latin typeface="Arial"/>
                  <a:ea typeface="+mn-ea"/>
                  <a:cs typeface="+mn-cs"/>
                </a:rPr>
                <a:t>SOURCE : Source</a:t>
              </a:r>
            </a:p>
          </p:txBody>
        </p:sp>
      </p:grpSp>
      <p:sp>
        <p:nvSpPr>
          <p:cNvPr id="3" name="Text Placeholder 2"/>
          <p:cNvSpPr>
            <a:spLocks noGrp="1"/>
          </p:cNvSpPr>
          <p:nvPr>
            <p:ph type="body" idx="1"/>
          </p:nvPr>
        </p:nvSpPr>
        <p:spPr bwMode="gray">
          <a:xfrm>
            <a:off x="1976209" y="1991016"/>
            <a:ext cx="5853024" cy="1085810"/>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x-none"/>
          </a:p>
        </p:txBody>
      </p:sp>
      <p:grpSp>
        <p:nvGrpSpPr>
          <p:cNvPr id="15" name="ACET" hidden="1"/>
          <p:cNvGrpSpPr>
            <a:grpSpLocks/>
          </p:cNvGrpSpPr>
          <p:nvPr/>
        </p:nvGrpSpPr>
        <p:grpSpPr bwMode="gray">
          <a:xfrm>
            <a:off x="1976207" y="1270343"/>
            <a:ext cx="5801189"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marL="0" marR="0" lvl="0" indent="0" algn="l" defTabSz="932962" rtl="0" eaLnBrk="1" fontAlgn="base" latinLnBrk="0" hangingPunct="1">
                <a:lnSpc>
                  <a:spcPct val="100000"/>
                </a:lnSpc>
                <a:spcBef>
                  <a:spcPct val="0"/>
                </a:spcBef>
                <a:spcAft>
                  <a:spcPct val="0"/>
                </a:spcAft>
                <a:buClrTx/>
                <a:buSzTx/>
                <a:buFontTx/>
                <a:buNone/>
                <a:tabLst/>
                <a:defRPr/>
              </a:pPr>
              <a:r>
                <a:rPr kumimoji="0" lang="x-none" sz="1632" b="1" i="0" u="none" strike="noStrike" kern="1200" cap="none" spc="0" normalizeH="0" baseline="0" noProof="0">
                  <a:ln>
                    <a:noFill/>
                  </a:ln>
                  <a:solidFill>
                    <a:srgbClr val="000000"/>
                  </a:solidFill>
                  <a:effectLst/>
                  <a:uLnTx/>
                  <a:uFillTx/>
                  <a:latin typeface="Arial"/>
                  <a:ea typeface="+mn-ea"/>
                  <a:cs typeface="+mn-cs"/>
                </a:rPr>
                <a:t>Title</a:t>
              </a:r>
            </a:p>
            <a:p>
              <a:pPr marL="0" marR="0" lvl="0" indent="0" algn="l" defTabSz="932962" rtl="0" eaLnBrk="1" fontAlgn="base" latinLnBrk="0" hangingPunct="1">
                <a:lnSpc>
                  <a:spcPct val="100000"/>
                </a:lnSpc>
                <a:spcBef>
                  <a:spcPct val="0"/>
                </a:spcBef>
                <a:spcAft>
                  <a:spcPct val="0"/>
                </a:spcAft>
                <a:buClrTx/>
                <a:buSzTx/>
                <a:buFontTx/>
                <a:buNone/>
                <a:tabLst/>
                <a:defRPr/>
              </a:pPr>
              <a:r>
                <a:rPr kumimoji="0" lang="x-none" sz="1632" b="0" i="0" u="none" strike="noStrike" kern="1200" cap="none" spc="0" normalizeH="0" baseline="0" noProof="0">
                  <a:ln>
                    <a:noFill/>
                  </a:ln>
                  <a:solidFill>
                    <a:srgbClr val="808080"/>
                  </a:solidFill>
                  <a:effectLst/>
                  <a:uLnTx/>
                  <a:uFillTx/>
                  <a:latin typeface="Arial"/>
                  <a:ea typeface="+mn-ea"/>
                  <a:cs typeface="+mn-cs"/>
                </a:rPr>
                <a:t>Unit of measure</a:t>
              </a:r>
            </a:p>
          </p:txBody>
        </p:sp>
      </p:grpSp>
      <p:grpSp>
        <p:nvGrpSpPr>
          <p:cNvPr id="17" name="McKSticker" hidden="1"/>
          <p:cNvGrpSpPr/>
          <p:nvPr/>
        </p:nvGrpSpPr>
        <p:grpSpPr bwMode="gray">
          <a:xfrm>
            <a:off x="11404503" y="291556"/>
            <a:ext cx="482953" cy="153247"/>
            <a:chOff x="8385792" y="285750"/>
            <a:chExt cx="354983" cy="150196"/>
          </a:xfrm>
        </p:grpSpPr>
        <p:sp>
          <p:nvSpPr>
            <p:cNvPr id="20" name="StickerRectangle"/>
            <p:cNvSpPr>
              <a:spLocks noChangeArrowheads="1"/>
            </p:cNvSpPr>
            <p:nvPr/>
          </p:nvSpPr>
          <p:spPr bwMode="gray">
            <a:xfrm>
              <a:off x="8385792" y="285750"/>
              <a:ext cx="354983" cy="15019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913526" rtl="0" eaLnBrk="1" fontAlgn="base" latinLnBrk="0" hangingPunct="1">
                <a:lnSpc>
                  <a:spcPct val="100000"/>
                </a:lnSpc>
                <a:spcBef>
                  <a:spcPct val="0"/>
                </a:spcBef>
                <a:spcAft>
                  <a:spcPct val="0"/>
                </a:spcAft>
                <a:buClr>
                  <a:srgbClr val="002960"/>
                </a:buClr>
                <a:buSzTx/>
                <a:buFontTx/>
                <a:buNone/>
                <a:tabLst/>
                <a:defRPr/>
              </a:pPr>
              <a:r>
                <a:rPr kumimoji="0" lang="x-none" sz="816" b="0" i="0" u="none" strike="noStrike" kern="1200" cap="none" spc="0" normalizeH="0" baseline="0" noProof="0">
                  <a:ln>
                    <a:noFill/>
                  </a:ln>
                  <a:solidFill>
                    <a:srgbClr val="0A2E46"/>
                  </a:solidFill>
                  <a:effectLst/>
                  <a:uLnTx/>
                  <a:uFillTx/>
                  <a:latin typeface="Arial"/>
                  <a:ea typeface="+mn-ea"/>
                  <a:cs typeface="+mn-cs"/>
                </a:rPr>
                <a:t>STICKER</a:t>
              </a:r>
            </a:p>
          </p:txBody>
        </p:sp>
        <p:cxnSp>
          <p:nvCxnSpPr>
            <p:cNvPr id="21" name="AutoShape 31"/>
            <p:cNvCxnSpPr>
              <a:cxnSpLocks noChangeShapeType="1"/>
              <a:stCxn id="20" idx="2"/>
              <a:endCxn id="20" idx="4"/>
            </p:cNvCxnSpPr>
            <p:nvPr/>
          </p:nvCxnSpPr>
          <p:spPr bwMode="gray">
            <a:xfrm>
              <a:off x="8385792" y="285750"/>
              <a:ext cx="0" cy="150196"/>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85792" y="435946"/>
              <a:ext cx="354983"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4" name="SlideBottomBar" hidden="1"/>
          <p:cNvSpPr/>
          <p:nvPr userDrawn="1"/>
        </p:nvSpPr>
        <p:spPr>
          <a:xfrm>
            <a:off x="11576462" y="6455861"/>
            <a:ext cx="62201"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962" rtl="0" eaLnBrk="1" fontAlgn="base" latinLnBrk="0" hangingPunct="1">
              <a:lnSpc>
                <a:spcPct val="100000"/>
              </a:lnSpc>
              <a:spcBef>
                <a:spcPct val="0"/>
              </a:spcBef>
              <a:spcAft>
                <a:spcPct val="0"/>
              </a:spcAft>
              <a:buClrTx/>
              <a:buSzTx/>
              <a:buFontTx/>
              <a:buNone/>
              <a:tabLst/>
              <a:defRPr/>
            </a:pPr>
            <a:endParaRPr kumimoji="0" lang="x-none" sz="1632" b="0" i="0" u="none" strike="noStrike" kern="1200" cap="none" spc="0" normalizeH="0" baseline="0" noProof="0">
              <a:ln>
                <a:noFill/>
              </a:ln>
              <a:solidFill>
                <a:srgbClr val="303333"/>
              </a:solidFill>
              <a:effectLst/>
              <a:uLnTx/>
              <a:uFillTx/>
              <a:latin typeface="Arial"/>
              <a:ea typeface="+mn-ea"/>
              <a:cs typeface="+mn-cs"/>
            </a:endParaRPr>
          </a:p>
        </p:txBody>
      </p:sp>
      <p:sp>
        <p:nvSpPr>
          <p:cNvPr id="23" name="doc id" hidden="1"/>
          <p:cNvSpPr>
            <a:spLocks noChangeArrowheads="1"/>
          </p:cNvSpPr>
          <p:nvPr userDrawn="1"/>
        </p:nvSpPr>
        <p:spPr bwMode="auto">
          <a:xfrm>
            <a:off x="10995480" y="5183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marR="0" lvl="0" indent="0" algn="r" defTabSz="913526" rtl="0" eaLnBrk="1" fontAlgn="base" latinLnBrk="0" hangingPunct="1">
              <a:lnSpc>
                <a:spcPct val="100000"/>
              </a:lnSpc>
              <a:spcBef>
                <a:spcPct val="0"/>
              </a:spcBef>
              <a:spcAft>
                <a:spcPct val="0"/>
              </a:spcAft>
              <a:buClrTx/>
              <a:buSzTx/>
              <a:buFontTx/>
              <a:buNone/>
              <a:tabLst/>
              <a:defRPr/>
            </a:pPr>
            <a:endParaRPr kumimoji="0" lang="x-none" sz="816" b="0" i="0" u="none" strike="noStrike" kern="1200" cap="none" spc="0" normalizeH="0" baseline="0" noProof="0">
              <a:ln>
                <a:noFill/>
              </a:ln>
              <a:solidFill>
                <a:srgbClr val="808080"/>
              </a:solidFill>
              <a:effectLst/>
              <a:uLnTx/>
              <a:uFillTx/>
              <a:latin typeface="Arial"/>
              <a:ea typeface="+mn-ea"/>
              <a:cs typeface="+mn-cs"/>
            </a:endParaRPr>
          </a:p>
        </p:txBody>
      </p:sp>
      <p:grpSp>
        <p:nvGrpSpPr>
          <p:cNvPr id="26" name="LegendBoxes" hidden="1"/>
          <p:cNvGrpSpPr/>
          <p:nvPr userDrawn="1"/>
        </p:nvGrpSpPr>
        <p:grpSpPr bwMode="gray">
          <a:xfrm>
            <a:off x="10768456" y="285077"/>
            <a:ext cx="864940" cy="1017696"/>
            <a:chOff x="7835905" y="279400"/>
            <a:chExt cx="635753" cy="997436"/>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x-none" sz="1632" b="0" i="0" u="none" strike="noStrike" kern="1200" cap="none" spc="0" normalizeH="0" baseline="0" noProof="0">
                <a:ln>
                  <a:noFill/>
                </a:ln>
                <a:solidFill>
                  <a:srgbClr val="303333"/>
                </a:solidFill>
                <a:effectLst/>
                <a:uLnTx/>
                <a:uFillTx/>
                <a:latin typeface="Arial"/>
                <a:ea typeface="+mn-ea"/>
                <a:cs typeface="+mn-cs"/>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x-none" sz="1632" b="0" i="0" u="none" strike="noStrike" kern="1200" cap="none" spc="0" normalizeH="0" baseline="0" noProof="0">
                <a:ln>
                  <a:noFill/>
                </a:ln>
                <a:solidFill>
                  <a:srgbClr val="303333"/>
                </a:solidFill>
                <a:effectLst/>
                <a:uLnTx/>
                <a:uFillTx/>
                <a:latin typeface="Arial"/>
                <a:ea typeface="+mn-ea"/>
                <a:cs typeface="+mn-cs"/>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x-none" sz="1632" b="0" i="0" u="none" strike="noStrike" kern="1200" cap="none" spc="0" normalizeH="0" baseline="0" noProof="0">
                <a:ln>
                  <a:noFill/>
                </a:ln>
                <a:solidFill>
                  <a:srgbClr val="303333"/>
                </a:solidFill>
                <a:effectLst/>
                <a:uLnTx/>
                <a:uFillTx/>
                <a:latin typeface="Arial"/>
                <a:ea typeface="+mn-ea"/>
                <a:cs typeface="+mn-cs"/>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x-none" sz="1632" b="0" i="0" u="none" strike="noStrike" kern="1200" cap="none" spc="0" normalizeH="0" baseline="0" noProof="0">
                <a:ln>
                  <a:noFill/>
                </a:ln>
                <a:solidFill>
                  <a:srgbClr val="303333"/>
                </a:solidFill>
                <a:effectLst/>
                <a:uLnTx/>
                <a:uFillTx/>
                <a:latin typeface="Arial"/>
                <a:ea typeface="+mn-ea"/>
                <a:cs typeface="+mn-cs"/>
              </a:endParaRPr>
            </a:p>
          </p:txBody>
        </p:sp>
        <p:sp>
          <p:nvSpPr>
            <p:cNvPr id="31" name="Legend1"/>
            <p:cNvSpPr>
              <a:spLocks noChangeArrowheads="1"/>
            </p:cNvSpPr>
            <p:nvPr/>
          </p:nvSpPr>
          <p:spPr bwMode="gray">
            <a:xfrm>
              <a:off x="8089905" y="279400"/>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3526" rtl="0" eaLnBrk="1" fontAlgn="base" latinLnBrk="0" hangingPunct="1">
                <a:lnSpc>
                  <a:spcPct val="100000"/>
                </a:lnSpc>
                <a:spcBef>
                  <a:spcPct val="0"/>
                </a:spcBef>
                <a:spcAft>
                  <a:spcPct val="0"/>
                </a:spcAft>
                <a:buClr>
                  <a:srgbClr val="0A2E46"/>
                </a:buClr>
                <a:buSzTx/>
                <a:buFontTx/>
                <a:buNone/>
                <a:tabLst/>
                <a:defRPr/>
              </a:pPr>
              <a:r>
                <a:rPr kumimoji="0" lang="x-none" sz="1224" b="0" i="0" u="none" strike="noStrike" kern="1200" cap="none" spc="0" normalizeH="0" baseline="0" noProof="0">
                  <a:ln>
                    <a:noFill/>
                  </a:ln>
                  <a:solidFill>
                    <a:srgbClr val="303333"/>
                  </a:solidFill>
                  <a:effectLst/>
                  <a:uLnTx/>
                  <a:uFillTx/>
                  <a:latin typeface="Arial"/>
                  <a:ea typeface="+mn-ea"/>
                  <a:cs typeface="+mn-cs"/>
                </a:rPr>
                <a:t>Legend</a:t>
              </a:r>
            </a:p>
          </p:txBody>
        </p:sp>
        <p:sp>
          <p:nvSpPr>
            <p:cNvPr id="32" name="Legend2"/>
            <p:cNvSpPr>
              <a:spLocks noChangeArrowheads="1"/>
            </p:cNvSpPr>
            <p:nvPr/>
          </p:nvSpPr>
          <p:spPr bwMode="gray">
            <a:xfrm>
              <a:off x="8089905" y="549275"/>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3526" rtl="0" eaLnBrk="1" fontAlgn="base" latinLnBrk="0" hangingPunct="1">
                <a:lnSpc>
                  <a:spcPct val="100000"/>
                </a:lnSpc>
                <a:spcBef>
                  <a:spcPct val="0"/>
                </a:spcBef>
                <a:spcAft>
                  <a:spcPct val="0"/>
                </a:spcAft>
                <a:buClr>
                  <a:srgbClr val="0A2E46"/>
                </a:buClr>
                <a:buSzTx/>
                <a:buFontTx/>
                <a:buNone/>
                <a:tabLst/>
                <a:defRPr/>
              </a:pPr>
              <a:r>
                <a:rPr kumimoji="0" lang="x-none" sz="1224" b="0" i="0" u="none" strike="noStrike" kern="1200" cap="none" spc="0" normalizeH="0" baseline="0" noProof="0">
                  <a:ln>
                    <a:noFill/>
                  </a:ln>
                  <a:solidFill>
                    <a:srgbClr val="303333"/>
                  </a:solidFill>
                  <a:effectLst/>
                  <a:uLnTx/>
                  <a:uFillTx/>
                  <a:latin typeface="Arial"/>
                  <a:ea typeface="+mn-ea"/>
                  <a:cs typeface="+mn-cs"/>
                </a:rPr>
                <a:t>Legend</a:t>
              </a:r>
            </a:p>
          </p:txBody>
        </p:sp>
        <p:sp>
          <p:nvSpPr>
            <p:cNvPr id="33" name="Legend3"/>
            <p:cNvSpPr>
              <a:spLocks noChangeArrowheads="1"/>
            </p:cNvSpPr>
            <p:nvPr/>
          </p:nvSpPr>
          <p:spPr bwMode="gray">
            <a:xfrm>
              <a:off x="8089905" y="820738"/>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3526" rtl="0" eaLnBrk="1" fontAlgn="base" latinLnBrk="0" hangingPunct="1">
                <a:lnSpc>
                  <a:spcPct val="100000"/>
                </a:lnSpc>
                <a:spcBef>
                  <a:spcPct val="0"/>
                </a:spcBef>
                <a:spcAft>
                  <a:spcPct val="0"/>
                </a:spcAft>
                <a:buClr>
                  <a:srgbClr val="0A2E46"/>
                </a:buClr>
                <a:buSzTx/>
                <a:buFontTx/>
                <a:buNone/>
                <a:tabLst/>
                <a:defRPr/>
              </a:pPr>
              <a:r>
                <a:rPr kumimoji="0" lang="x-none" sz="1224" b="0" i="0" u="none" strike="noStrike" kern="1200" cap="none" spc="0" normalizeH="0" baseline="0" noProof="0">
                  <a:ln>
                    <a:noFill/>
                  </a:ln>
                  <a:solidFill>
                    <a:srgbClr val="303333"/>
                  </a:solidFill>
                  <a:effectLst/>
                  <a:uLnTx/>
                  <a:uFillTx/>
                  <a:latin typeface="Arial"/>
                  <a:ea typeface="+mn-ea"/>
                  <a:cs typeface="+mn-cs"/>
                </a:rPr>
                <a:t>Legend</a:t>
              </a:r>
            </a:p>
          </p:txBody>
        </p:sp>
        <p:sp>
          <p:nvSpPr>
            <p:cNvPr id="34" name="Legend4"/>
            <p:cNvSpPr>
              <a:spLocks noChangeArrowheads="1"/>
            </p:cNvSpPr>
            <p:nvPr/>
          </p:nvSpPr>
          <p:spPr bwMode="gray">
            <a:xfrm>
              <a:off x="8089905" y="1092201"/>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3526" rtl="0" eaLnBrk="1" fontAlgn="base" latinLnBrk="0" hangingPunct="1">
                <a:lnSpc>
                  <a:spcPct val="100000"/>
                </a:lnSpc>
                <a:spcBef>
                  <a:spcPct val="0"/>
                </a:spcBef>
                <a:spcAft>
                  <a:spcPct val="0"/>
                </a:spcAft>
                <a:buClr>
                  <a:srgbClr val="0A2E46"/>
                </a:buClr>
                <a:buSzTx/>
                <a:buFontTx/>
                <a:buNone/>
                <a:tabLst/>
                <a:defRPr/>
              </a:pPr>
              <a:r>
                <a:rPr kumimoji="0" lang="x-none" sz="1224" b="0" i="0" u="none" strike="noStrike" kern="1200" cap="none" spc="0" normalizeH="0" baseline="0" noProof="0">
                  <a:ln>
                    <a:noFill/>
                  </a:ln>
                  <a:solidFill>
                    <a:srgbClr val="303333"/>
                  </a:solidFill>
                  <a:effectLst/>
                  <a:uLnTx/>
                  <a:uFillTx/>
                  <a:latin typeface="Arial"/>
                  <a:ea typeface="+mn-ea"/>
                  <a:cs typeface="+mn-cs"/>
                </a:rPr>
                <a:t>Legend</a:t>
              </a:r>
            </a:p>
          </p:txBody>
        </p:sp>
      </p:grpSp>
      <p:grpSp>
        <p:nvGrpSpPr>
          <p:cNvPr id="35" name="LegendLines" hidden="1"/>
          <p:cNvGrpSpPr/>
          <p:nvPr userDrawn="1"/>
        </p:nvGrpSpPr>
        <p:grpSpPr bwMode="gray">
          <a:xfrm>
            <a:off x="10349677" y="285077"/>
            <a:ext cx="1283938" cy="745579"/>
            <a:chOff x="7540629" y="279400"/>
            <a:chExt cx="943728" cy="730736"/>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x-none" sz="1632" b="0" i="0" u="none" strike="noStrike" kern="1200" cap="none" spc="0" normalizeH="0" baseline="0" noProof="0">
                <a:ln>
                  <a:noFill/>
                </a:ln>
                <a:solidFill>
                  <a:srgbClr val="303333"/>
                </a:solidFill>
                <a:effectLst/>
                <a:uLnTx/>
                <a:uFillTx/>
                <a:latin typeface="Arial"/>
                <a:ea typeface="+mn-ea"/>
                <a:cs typeface="+mn-cs"/>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x-none" sz="1632" b="0" i="0" u="none" strike="noStrike" kern="1200" cap="none" spc="0" normalizeH="0" baseline="0" noProof="0">
                <a:ln>
                  <a:noFill/>
                </a:ln>
                <a:solidFill>
                  <a:srgbClr val="303333"/>
                </a:solidFill>
                <a:effectLst/>
                <a:uLnTx/>
                <a:uFillTx/>
                <a:latin typeface="Arial"/>
                <a:ea typeface="+mn-ea"/>
                <a:cs typeface="+mn-cs"/>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x-none" sz="1632" b="0" i="0" u="none" strike="noStrike" kern="1200" cap="none" spc="0" normalizeH="0" baseline="0" noProof="0">
                <a:ln>
                  <a:noFill/>
                </a:ln>
                <a:solidFill>
                  <a:srgbClr val="303333"/>
                </a:solidFill>
                <a:effectLst/>
                <a:uLnTx/>
                <a:uFillTx/>
                <a:latin typeface="Arial"/>
                <a:ea typeface="+mn-ea"/>
                <a:cs typeface="+mn-cs"/>
              </a:endParaRPr>
            </a:p>
          </p:txBody>
        </p:sp>
        <p:sp>
          <p:nvSpPr>
            <p:cNvPr id="39" name="Legend1"/>
            <p:cNvSpPr>
              <a:spLocks noChangeArrowheads="1"/>
            </p:cNvSpPr>
            <p:nvPr/>
          </p:nvSpPr>
          <p:spPr bwMode="gray">
            <a:xfrm>
              <a:off x="8102604" y="279400"/>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3526" rtl="0" eaLnBrk="1" fontAlgn="base" latinLnBrk="0" hangingPunct="1">
                <a:lnSpc>
                  <a:spcPct val="100000"/>
                </a:lnSpc>
                <a:spcBef>
                  <a:spcPct val="0"/>
                </a:spcBef>
                <a:spcAft>
                  <a:spcPct val="0"/>
                </a:spcAft>
                <a:buClr>
                  <a:srgbClr val="0A2E46"/>
                </a:buClr>
                <a:buSzTx/>
                <a:buFontTx/>
                <a:buNone/>
                <a:tabLst/>
                <a:defRPr/>
              </a:pPr>
              <a:r>
                <a:rPr kumimoji="0" lang="x-none" sz="1224" b="0" i="0" u="none" strike="noStrike" kern="1200" cap="none" spc="0" normalizeH="0" baseline="0" noProof="0">
                  <a:ln>
                    <a:noFill/>
                  </a:ln>
                  <a:solidFill>
                    <a:srgbClr val="303333"/>
                  </a:solidFill>
                  <a:effectLst/>
                  <a:uLnTx/>
                  <a:uFillTx/>
                  <a:latin typeface="Arial"/>
                  <a:ea typeface="+mn-ea"/>
                  <a:cs typeface="+mn-cs"/>
                </a:rPr>
                <a:t>Legend</a:t>
              </a:r>
            </a:p>
          </p:txBody>
        </p:sp>
        <p:sp>
          <p:nvSpPr>
            <p:cNvPr id="40" name="Legend2"/>
            <p:cNvSpPr>
              <a:spLocks noChangeArrowheads="1"/>
            </p:cNvSpPr>
            <p:nvPr/>
          </p:nvSpPr>
          <p:spPr bwMode="gray">
            <a:xfrm>
              <a:off x="8102604" y="546100"/>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3526" rtl="0" eaLnBrk="1" fontAlgn="base" latinLnBrk="0" hangingPunct="1">
                <a:lnSpc>
                  <a:spcPct val="100000"/>
                </a:lnSpc>
                <a:spcBef>
                  <a:spcPct val="0"/>
                </a:spcBef>
                <a:spcAft>
                  <a:spcPct val="0"/>
                </a:spcAft>
                <a:buClr>
                  <a:srgbClr val="0A2E46"/>
                </a:buClr>
                <a:buSzTx/>
                <a:buFontTx/>
                <a:buNone/>
                <a:tabLst/>
                <a:defRPr/>
              </a:pPr>
              <a:r>
                <a:rPr kumimoji="0" lang="x-none" sz="1224" b="0" i="0" u="none" strike="noStrike" kern="1200" cap="none" spc="0" normalizeH="0" baseline="0" noProof="0">
                  <a:ln>
                    <a:noFill/>
                  </a:ln>
                  <a:solidFill>
                    <a:srgbClr val="303333"/>
                  </a:solidFill>
                  <a:effectLst/>
                  <a:uLnTx/>
                  <a:uFillTx/>
                  <a:latin typeface="Arial"/>
                  <a:ea typeface="+mn-ea"/>
                  <a:cs typeface="+mn-cs"/>
                </a:rPr>
                <a:t>Legend</a:t>
              </a:r>
            </a:p>
          </p:txBody>
        </p:sp>
        <p:sp>
          <p:nvSpPr>
            <p:cNvPr id="41" name="Legend3"/>
            <p:cNvSpPr>
              <a:spLocks noChangeArrowheads="1"/>
            </p:cNvSpPr>
            <p:nvPr/>
          </p:nvSpPr>
          <p:spPr bwMode="gray">
            <a:xfrm>
              <a:off x="8102604" y="825501"/>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3526" rtl="0" eaLnBrk="1" fontAlgn="base" latinLnBrk="0" hangingPunct="1">
                <a:lnSpc>
                  <a:spcPct val="100000"/>
                </a:lnSpc>
                <a:spcBef>
                  <a:spcPct val="0"/>
                </a:spcBef>
                <a:spcAft>
                  <a:spcPct val="0"/>
                </a:spcAft>
                <a:buClr>
                  <a:srgbClr val="0A2E46"/>
                </a:buClr>
                <a:buSzTx/>
                <a:buFontTx/>
                <a:buNone/>
                <a:tabLst/>
                <a:defRPr/>
              </a:pPr>
              <a:r>
                <a:rPr kumimoji="0" lang="x-none" sz="1224" b="0" i="0" u="none" strike="noStrike" kern="1200" cap="none" spc="0" normalizeH="0" baseline="0" noProof="0">
                  <a:ln>
                    <a:noFill/>
                  </a:ln>
                  <a:solidFill>
                    <a:srgbClr val="303333"/>
                  </a:solidFill>
                  <a:effectLst/>
                  <a:uLnTx/>
                  <a:uFillTx/>
                  <a:latin typeface="Arial"/>
                  <a:ea typeface="+mn-ea"/>
                  <a:cs typeface="+mn-cs"/>
                </a:rPr>
                <a:t>Legend</a:t>
              </a:r>
            </a:p>
          </p:txBody>
        </p:sp>
      </p:grpSp>
      <p:grpSp>
        <p:nvGrpSpPr>
          <p:cNvPr id="42" name="LegendMoons" hidden="1"/>
          <p:cNvGrpSpPr/>
          <p:nvPr userDrawn="1"/>
        </p:nvGrpSpPr>
        <p:grpSpPr bwMode="gray">
          <a:xfrm>
            <a:off x="10677742" y="255920"/>
            <a:ext cx="955651" cy="1333054"/>
            <a:chOff x="7769225" y="250825"/>
            <a:chExt cx="702428" cy="1306516"/>
          </a:xfrm>
        </p:grpSpPr>
        <p:grpSp>
          <p:nvGrpSpPr>
            <p:cNvPr id="43" name="MoonLegend1"/>
            <p:cNvGrpSpPr>
              <a:grpSpLocks noChangeAspect="1"/>
            </p:cNvGrpSpPr>
            <p:nvPr>
              <p:custDataLst>
                <p:tags r:id="rId25"/>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38"/>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x-none" sz="1632" b="0" i="0" u="none" strike="noStrike" kern="1200" cap="none" spc="0" normalizeH="0" baseline="0" noProof="0">
                  <a:ln>
                    <a:noFill/>
                  </a:ln>
                  <a:solidFill>
                    <a:srgbClr val="303333"/>
                  </a:solidFill>
                  <a:effectLst/>
                  <a:uLnTx/>
                  <a:uFillTx/>
                  <a:latin typeface="Arial"/>
                  <a:ea typeface="+mn-ea"/>
                  <a:cs typeface="+mn-cs"/>
                </a:endParaRPr>
              </a:p>
            </p:txBody>
          </p:sp>
          <p:sp>
            <p:nvSpPr>
              <p:cNvPr id="62" name="Arc 39"/>
              <p:cNvSpPr>
                <a:spLocks noChangeAspect="1"/>
              </p:cNvSpPr>
              <p:nvPr>
                <p:custDataLst>
                  <p:tags r:id="rId39"/>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x-none" sz="1632" b="0" i="0" u="none" strike="noStrike" kern="1200" cap="none" spc="0" normalizeH="0" baseline="0" noProof="0">
                  <a:ln>
                    <a:noFill/>
                  </a:ln>
                  <a:solidFill>
                    <a:srgbClr val="303333"/>
                  </a:solidFill>
                  <a:effectLst/>
                  <a:uLnTx/>
                  <a:uFillTx/>
                  <a:latin typeface="Arial"/>
                  <a:ea typeface="+mn-ea"/>
                  <a:cs typeface="+mn-cs"/>
                </a:endParaRPr>
              </a:p>
            </p:txBody>
          </p:sp>
        </p:grpSp>
        <p:grpSp>
          <p:nvGrpSpPr>
            <p:cNvPr id="44" name="MoonLegend2"/>
            <p:cNvGrpSpPr>
              <a:grpSpLocks noChangeAspect="1"/>
            </p:cNvGrpSpPr>
            <p:nvPr>
              <p:custDataLst>
                <p:tags r:id="rId26"/>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36"/>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x-none" sz="1632" b="0" i="0" u="none" strike="noStrike" kern="1200" cap="none" spc="0" normalizeH="0" baseline="0" noProof="0">
                  <a:ln>
                    <a:noFill/>
                  </a:ln>
                  <a:solidFill>
                    <a:srgbClr val="303333"/>
                  </a:solidFill>
                  <a:effectLst/>
                  <a:uLnTx/>
                  <a:uFillTx/>
                  <a:latin typeface="Arial"/>
                  <a:ea typeface="+mn-ea"/>
                  <a:cs typeface="+mn-cs"/>
                </a:endParaRPr>
              </a:p>
            </p:txBody>
          </p:sp>
          <p:sp>
            <p:nvSpPr>
              <p:cNvPr id="60" name="Arc 42"/>
              <p:cNvSpPr>
                <a:spLocks noChangeAspect="1"/>
              </p:cNvSpPr>
              <p:nvPr>
                <p:custDataLst>
                  <p:tags r:id="rId37"/>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x-none" sz="1632" b="0" i="0" u="none" strike="noStrike" kern="1200" cap="none" spc="0" normalizeH="0" baseline="0" noProof="0">
                  <a:ln>
                    <a:noFill/>
                  </a:ln>
                  <a:solidFill>
                    <a:srgbClr val="303333"/>
                  </a:solidFill>
                  <a:effectLst/>
                  <a:uLnTx/>
                  <a:uFillTx/>
                  <a:latin typeface="Arial"/>
                  <a:ea typeface="+mn-ea"/>
                  <a:cs typeface="+mn-cs"/>
                </a:endParaRPr>
              </a:p>
            </p:txBody>
          </p:sp>
        </p:grpSp>
        <p:grpSp>
          <p:nvGrpSpPr>
            <p:cNvPr id="45" name="MoonLegend4"/>
            <p:cNvGrpSpPr>
              <a:grpSpLocks noChangeAspect="1"/>
            </p:cNvGrpSpPr>
            <p:nvPr>
              <p:custDataLst>
                <p:tags r:id="rId27"/>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3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x-none" sz="1632" b="0" i="0" u="none" strike="noStrike" kern="1200" cap="none" spc="0" normalizeH="0" baseline="0" noProof="0">
                  <a:ln>
                    <a:noFill/>
                  </a:ln>
                  <a:solidFill>
                    <a:srgbClr val="303333"/>
                  </a:solidFill>
                  <a:effectLst/>
                  <a:uLnTx/>
                  <a:uFillTx/>
                  <a:latin typeface="Arial"/>
                  <a:ea typeface="+mn-ea"/>
                  <a:cs typeface="+mn-cs"/>
                </a:endParaRPr>
              </a:p>
            </p:txBody>
          </p:sp>
          <p:sp>
            <p:nvSpPr>
              <p:cNvPr id="58" name="Arc 48"/>
              <p:cNvSpPr>
                <a:spLocks noChangeAspect="1"/>
              </p:cNvSpPr>
              <p:nvPr>
                <p:custDataLst>
                  <p:tags r:id="rId35"/>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x-none" sz="1632" b="0" i="0" u="none" strike="noStrike" kern="1200" cap="none" spc="0" normalizeH="0" baseline="0" noProof="0">
                  <a:ln>
                    <a:noFill/>
                  </a:ln>
                  <a:solidFill>
                    <a:srgbClr val="303333"/>
                  </a:solidFill>
                  <a:effectLst/>
                  <a:uLnTx/>
                  <a:uFillTx/>
                  <a:latin typeface="Arial"/>
                  <a:ea typeface="+mn-ea"/>
                  <a:cs typeface="+mn-cs"/>
                </a:endParaRPr>
              </a:p>
            </p:txBody>
          </p:sp>
        </p:grpSp>
        <p:grpSp>
          <p:nvGrpSpPr>
            <p:cNvPr id="46" name="MoonLegend5"/>
            <p:cNvGrpSpPr>
              <a:grpSpLocks noChangeAspect="1"/>
            </p:cNvGrpSpPr>
            <p:nvPr>
              <p:custDataLst>
                <p:tags r:id="rId28"/>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32"/>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x-none" sz="1632" b="0" i="0" u="none" strike="noStrike" kern="1200" cap="none" spc="0" normalizeH="0" baseline="0" noProof="0">
                  <a:ln>
                    <a:noFill/>
                  </a:ln>
                  <a:solidFill>
                    <a:srgbClr val="303333"/>
                  </a:solidFill>
                  <a:effectLst/>
                  <a:uLnTx/>
                  <a:uFillTx/>
                  <a:latin typeface="Arial"/>
                  <a:ea typeface="+mn-ea"/>
                  <a:cs typeface="+mn-cs"/>
                </a:endParaRPr>
              </a:p>
            </p:txBody>
          </p:sp>
          <p:sp>
            <p:nvSpPr>
              <p:cNvPr id="56" name="Oval 51"/>
              <p:cNvSpPr>
                <a:spLocks noChangeAspect="1" noChangeArrowheads="1"/>
              </p:cNvSpPr>
              <p:nvPr>
                <p:custDataLst>
                  <p:tags r:id="rId33"/>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x-none" sz="1632" b="0" i="0" u="none" strike="noStrike" kern="1200" cap="none" spc="0" normalizeH="0" baseline="0" noProof="0">
                  <a:ln>
                    <a:noFill/>
                  </a:ln>
                  <a:solidFill>
                    <a:srgbClr val="303333"/>
                  </a:solidFill>
                  <a:effectLst/>
                  <a:uLnTx/>
                  <a:uFillTx/>
                  <a:latin typeface="Arial"/>
                  <a:ea typeface="+mn-ea"/>
                  <a:cs typeface="+mn-cs"/>
                </a:endParaRPr>
              </a:p>
            </p:txBody>
          </p:sp>
        </p:grpSp>
        <p:grpSp>
          <p:nvGrpSpPr>
            <p:cNvPr id="47" name="MoonLegend3"/>
            <p:cNvGrpSpPr>
              <a:grpSpLocks noChangeAspect="1"/>
            </p:cNvGrpSpPr>
            <p:nvPr>
              <p:custDataLst>
                <p:tags r:id="rId29"/>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30"/>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x-none" sz="1632" b="0" i="0" u="none" strike="noStrike" kern="1200" cap="none" spc="0" normalizeH="0" baseline="0" noProof="0">
                  <a:ln>
                    <a:noFill/>
                  </a:ln>
                  <a:solidFill>
                    <a:srgbClr val="303333"/>
                  </a:solidFill>
                  <a:effectLst/>
                  <a:uLnTx/>
                  <a:uFillTx/>
                  <a:latin typeface="Arial"/>
                  <a:ea typeface="+mn-ea"/>
                  <a:cs typeface="+mn-cs"/>
                </a:endParaRPr>
              </a:p>
            </p:txBody>
          </p:sp>
          <p:sp>
            <p:nvSpPr>
              <p:cNvPr id="54" name="Arc 48"/>
              <p:cNvSpPr>
                <a:spLocks noChangeAspect="1"/>
              </p:cNvSpPr>
              <p:nvPr>
                <p:custDataLst>
                  <p:tags r:id="rId31"/>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x-none" sz="1632" b="0" i="0" u="none" strike="noStrike" kern="1200" cap="none" spc="0" normalizeH="0" baseline="0" noProof="0">
                  <a:ln>
                    <a:noFill/>
                  </a:ln>
                  <a:solidFill>
                    <a:srgbClr val="303333"/>
                  </a:solidFill>
                  <a:effectLst/>
                  <a:uLnTx/>
                  <a:uFillTx/>
                  <a:latin typeface="Arial"/>
                  <a:ea typeface="+mn-ea"/>
                  <a:cs typeface="+mn-cs"/>
                </a:endParaRPr>
              </a:p>
            </p:txBody>
          </p:sp>
        </p:grpSp>
        <p:sp>
          <p:nvSpPr>
            <p:cNvPr id="48" name="Legend1"/>
            <p:cNvSpPr>
              <a:spLocks noChangeArrowheads="1"/>
            </p:cNvSpPr>
            <p:nvPr/>
          </p:nvSpPr>
          <p:spPr bwMode="gray">
            <a:xfrm>
              <a:off x="8089900" y="263525"/>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3526" rtl="0" eaLnBrk="1" fontAlgn="base" latinLnBrk="0" hangingPunct="1">
                <a:lnSpc>
                  <a:spcPct val="100000"/>
                </a:lnSpc>
                <a:spcBef>
                  <a:spcPct val="0"/>
                </a:spcBef>
                <a:spcAft>
                  <a:spcPct val="0"/>
                </a:spcAft>
                <a:buClr>
                  <a:srgbClr val="0A2E46"/>
                </a:buClr>
                <a:buSzTx/>
                <a:buFontTx/>
                <a:buNone/>
                <a:tabLst/>
                <a:defRPr/>
              </a:pPr>
              <a:r>
                <a:rPr kumimoji="0" lang="x-none" sz="1224" b="0" i="0" u="none" strike="noStrike" kern="1200" cap="none" spc="0" normalizeH="0" baseline="0" noProof="0">
                  <a:ln>
                    <a:noFill/>
                  </a:ln>
                  <a:solidFill>
                    <a:srgbClr val="303333"/>
                  </a:solidFill>
                  <a:effectLst/>
                  <a:uLnTx/>
                  <a:uFillTx/>
                  <a:latin typeface="Arial"/>
                  <a:ea typeface="+mn-ea"/>
                  <a:cs typeface="+mn-cs"/>
                </a:rPr>
                <a:t>Legend</a:t>
              </a:r>
            </a:p>
          </p:txBody>
        </p:sp>
        <p:sp>
          <p:nvSpPr>
            <p:cNvPr id="49" name="Legend2"/>
            <p:cNvSpPr>
              <a:spLocks noChangeArrowheads="1"/>
            </p:cNvSpPr>
            <p:nvPr/>
          </p:nvSpPr>
          <p:spPr bwMode="gray">
            <a:xfrm>
              <a:off x="8089900" y="538163"/>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3526" rtl="0" eaLnBrk="1" fontAlgn="base" latinLnBrk="0" hangingPunct="1">
                <a:lnSpc>
                  <a:spcPct val="100000"/>
                </a:lnSpc>
                <a:spcBef>
                  <a:spcPct val="0"/>
                </a:spcBef>
                <a:spcAft>
                  <a:spcPct val="0"/>
                </a:spcAft>
                <a:buClr>
                  <a:srgbClr val="0A2E46"/>
                </a:buClr>
                <a:buSzTx/>
                <a:buFontTx/>
                <a:buNone/>
                <a:tabLst/>
                <a:defRPr/>
              </a:pPr>
              <a:r>
                <a:rPr kumimoji="0" lang="x-none" sz="1224" b="0" i="0" u="none" strike="noStrike" kern="1200" cap="none" spc="0" normalizeH="0" baseline="0" noProof="0">
                  <a:ln>
                    <a:noFill/>
                  </a:ln>
                  <a:solidFill>
                    <a:srgbClr val="303333"/>
                  </a:solidFill>
                  <a:effectLst/>
                  <a:uLnTx/>
                  <a:uFillTx/>
                  <a:latin typeface="Arial"/>
                  <a:ea typeface="+mn-ea"/>
                  <a:cs typeface="+mn-cs"/>
                </a:rPr>
                <a:t>Legend</a:t>
              </a:r>
            </a:p>
          </p:txBody>
        </p:sp>
        <p:sp>
          <p:nvSpPr>
            <p:cNvPr id="50" name="Legend3"/>
            <p:cNvSpPr>
              <a:spLocks noChangeArrowheads="1"/>
            </p:cNvSpPr>
            <p:nvPr/>
          </p:nvSpPr>
          <p:spPr bwMode="gray">
            <a:xfrm>
              <a:off x="8089900" y="812802"/>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3526" rtl="0" eaLnBrk="1" fontAlgn="base" latinLnBrk="0" hangingPunct="1">
                <a:lnSpc>
                  <a:spcPct val="100000"/>
                </a:lnSpc>
                <a:spcBef>
                  <a:spcPct val="0"/>
                </a:spcBef>
                <a:spcAft>
                  <a:spcPct val="0"/>
                </a:spcAft>
                <a:buClr>
                  <a:srgbClr val="0A2E46"/>
                </a:buClr>
                <a:buSzTx/>
                <a:buFontTx/>
                <a:buNone/>
                <a:tabLst/>
                <a:defRPr/>
              </a:pPr>
              <a:r>
                <a:rPr kumimoji="0" lang="x-none" sz="1224" b="0" i="0" u="none" strike="noStrike" kern="1200" cap="none" spc="0" normalizeH="0" baseline="0" noProof="0">
                  <a:ln>
                    <a:noFill/>
                  </a:ln>
                  <a:solidFill>
                    <a:srgbClr val="303333"/>
                  </a:solidFill>
                  <a:effectLst/>
                  <a:uLnTx/>
                  <a:uFillTx/>
                  <a:latin typeface="Arial"/>
                  <a:ea typeface="+mn-ea"/>
                  <a:cs typeface="+mn-cs"/>
                </a:rPr>
                <a:t>Legend</a:t>
              </a:r>
            </a:p>
          </p:txBody>
        </p:sp>
        <p:sp>
          <p:nvSpPr>
            <p:cNvPr id="51" name="Legend4"/>
            <p:cNvSpPr>
              <a:spLocks noChangeArrowheads="1"/>
            </p:cNvSpPr>
            <p:nvPr/>
          </p:nvSpPr>
          <p:spPr bwMode="gray">
            <a:xfrm>
              <a:off x="8089900" y="1084265"/>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3526" rtl="0" eaLnBrk="1" fontAlgn="base" latinLnBrk="0" hangingPunct="1">
                <a:lnSpc>
                  <a:spcPct val="100000"/>
                </a:lnSpc>
                <a:spcBef>
                  <a:spcPct val="0"/>
                </a:spcBef>
                <a:spcAft>
                  <a:spcPct val="0"/>
                </a:spcAft>
                <a:buClr>
                  <a:srgbClr val="0A2E46"/>
                </a:buClr>
                <a:buSzTx/>
                <a:buFontTx/>
                <a:buNone/>
                <a:tabLst/>
                <a:defRPr/>
              </a:pPr>
              <a:r>
                <a:rPr kumimoji="0" lang="x-none" sz="1224" b="0" i="0" u="none" strike="noStrike" kern="1200" cap="none" spc="0" normalizeH="0" baseline="0" noProof="0">
                  <a:ln>
                    <a:noFill/>
                  </a:ln>
                  <a:solidFill>
                    <a:srgbClr val="303333"/>
                  </a:solidFill>
                  <a:effectLst/>
                  <a:uLnTx/>
                  <a:uFillTx/>
                  <a:latin typeface="Arial"/>
                  <a:ea typeface="+mn-ea"/>
                  <a:cs typeface="+mn-cs"/>
                </a:rPr>
                <a:t>Legend</a:t>
              </a:r>
            </a:p>
          </p:txBody>
        </p:sp>
        <p:sp>
          <p:nvSpPr>
            <p:cNvPr id="52" name="Legend5"/>
            <p:cNvSpPr>
              <a:spLocks noChangeArrowheads="1"/>
            </p:cNvSpPr>
            <p:nvPr/>
          </p:nvSpPr>
          <p:spPr bwMode="gray">
            <a:xfrm>
              <a:off x="8089900" y="1360490"/>
              <a:ext cx="381753" cy="184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3526" rtl="0" eaLnBrk="1" fontAlgn="base" latinLnBrk="0" hangingPunct="1">
                <a:lnSpc>
                  <a:spcPct val="100000"/>
                </a:lnSpc>
                <a:spcBef>
                  <a:spcPct val="0"/>
                </a:spcBef>
                <a:spcAft>
                  <a:spcPct val="0"/>
                </a:spcAft>
                <a:buClr>
                  <a:srgbClr val="0A2E46"/>
                </a:buClr>
                <a:buSzTx/>
                <a:buFontTx/>
                <a:buNone/>
                <a:tabLst/>
                <a:defRPr/>
              </a:pPr>
              <a:r>
                <a:rPr kumimoji="0" lang="x-none" sz="1224" b="0" i="0" u="none" strike="noStrike" kern="1200" cap="none" spc="0" normalizeH="0" baseline="0" noProof="0">
                  <a:ln>
                    <a:noFill/>
                  </a:ln>
                  <a:solidFill>
                    <a:srgbClr val="303333"/>
                  </a:solidFill>
                  <a:effectLst/>
                  <a:uLnTx/>
                  <a:uFillTx/>
                  <a:latin typeface="Arial"/>
                  <a:ea typeface="+mn-ea"/>
                  <a:cs typeface="+mn-cs"/>
                </a:rPr>
                <a:t>Legend</a:t>
              </a:r>
            </a:p>
          </p:txBody>
        </p:sp>
      </p:grpSp>
      <p:sp>
        <p:nvSpPr>
          <p:cNvPr id="65" name="Slide Number"/>
          <p:cNvSpPr txBox="1">
            <a:spLocks/>
          </p:cNvSpPr>
          <p:nvPr userDrawn="1"/>
        </p:nvSpPr>
        <p:spPr bwMode="auto">
          <a:xfrm>
            <a:off x="11832346" y="6586417"/>
            <a:ext cx="128240" cy="12554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marL="0" marR="0" lvl="0" indent="0" algn="l" defTabSz="932962" rtl="0" eaLnBrk="1" fontAlgn="base" latinLnBrk="0" hangingPunct="1">
              <a:lnSpc>
                <a:spcPct val="100000"/>
              </a:lnSpc>
              <a:spcBef>
                <a:spcPct val="0"/>
              </a:spcBef>
              <a:spcAft>
                <a:spcPct val="0"/>
              </a:spcAft>
              <a:buClrTx/>
              <a:buSzTx/>
              <a:buFontTx/>
              <a:buNone/>
              <a:tabLst/>
              <a:defRPr/>
            </a:pPr>
            <a:fld id="{42C328C1-A84F-4A39-A664-DBA00541A8C6}" type="slidenum">
              <a:rPr kumimoji="0" lang="x-none" sz="816" b="0" i="0" u="none" strike="noStrike" kern="1200" cap="none" spc="0" normalizeH="0" baseline="0" noProof="0" smtClean="0">
                <a:ln>
                  <a:noFill/>
                </a:ln>
                <a:solidFill>
                  <a:srgbClr val="808080"/>
                </a:solidFill>
                <a:effectLst/>
                <a:uLnTx/>
                <a:uFillTx/>
                <a:latin typeface="Arial"/>
                <a:ea typeface="+mn-ea"/>
                <a:cs typeface="+mn-cs"/>
              </a:rPr>
              <a:pPr marL="0" marR="0" lvl="0" indent="0" algn="l" defTabSz="932962" rtl="0" eaLnBrk="1" fontAlgn="base" latinLnBrk="0" hangingPunct="1">
                <a:lnSpc>
                  <a:spcPct val="100000"/>
                </a:lnSpc>
                <a:spcBef>
                  <a:spcPct val="0"/>
                </a:spcBef>
                <a:spcAft>
                  <a:spcPct val="0"/>
                </a:spcAft>
                <a:buClrTx/>
                <a:buSzTx/>
                <a:buFontTx/>
                <a:buNone/>
                <a:tabLst/>
                <a:defRPr/>
              </a:pPr>
              <a:t>‹#›</a:t>
            </a:fld>
            <a:endParaRPr kumimoji="0" lang="x-none" sz="816" b="0" i="0" u="none" strike="noStrike" kern="1200" cap="none" spc="0" normalizeH="0" baseline="0" noProof="0">
              <a:ln>
                <a:noFill/>
              </a:ln>
              <a:solidFill>
                <a:srgbClr val="808080"/>
              </a:solidFill>
              <a:effectLst/>
              <a:uLnTx/>
              <a:uFillTx/>
              <a:latin typeface="Arial"/>
              <a:ea typeface="+mn-ea"/>
              <a:cs typeface="+mn-cs"/>
            </a:endParaRPr>
          </a:p>
        </p:txBody>
      </p:sp>
      <p:pic>
        <p:nvPicPr>
          <p:cNvPr id="66" name="Picture 65">
            <a:extLst>
              <a:ext uri="{FF2B5EF4-FFF2-40B4-BE49-F238E27FC236}">
                <a16:creationId xmlns:a16="http://schemas.microsoft.com/office/drawing/2014/main" id="{C7883FFD-CD46-4C55-90BA-E191229A4224}"/>
              </a:ext>
            </a:extLst>
          </p:cNvPr>
          <p:cNvPicPr>
            <a:picLocks noChangeAspect="1"/>
          </p:cNvPicPr>
          <p:nvPr userDrawn="1"/>
        </p:nvPicPr>
        <p:blipFill>
          <a:blip r:embed="rId42"/>
          <a:stretch>
            <a:fillRect/>
          </a:stretch>
        </p:blipFill>
        <p:spPr>
          <a:xfrm>
            <a:off x="10566819" y="6527871"/>
            <a:ext cx="1094400" cy="144000"/>
          </a:xfrm>
          <a:prstGeom prst="rect">
            <a:avLst/>
          </a:prstGeom>
        </p:spPr>
      </p:pic>
    </p:spTree>
    <p:extLst>
      <p:ext uri="{BB962C8B-B14F-4D97-AF65-F5344CB8AC3E}">
        <p14:creationId xmlns:p14="http://schemas.microsoft.com/office/powerpoint/2010/main" val="1428691309"/>
      </p:ext>
    </p:extLst>
  </p:cSld>
  <p:clrMap bg1="lt1" tx1="dk1" bg2="lt2" tx2="dk2" accent1="accent1" accent2="accent2" accent3="accent3" accent4="accent4" accent5="accent5" accent6="accent6" hlink="hlink" folHlink="folHlink"/>
  <p:sldLayoutIdLst>
    <p:sldLayoutId id="2147483657" r:id="rId1"/>
    <p:sldLayoutId id="2147483658" r:id="rId2"/>
    <p:sldLayoutId id="2147483659" r:id="rId3"/>
    <p:sldLayoutId id="2147483660" r:id="rId4"/>
    <p:sldLayoutId id="2147483661" r:id="rId5"/>
    <p:sldLayoutId id="2147483662" r:id="rId6"/>
    <p:sldLayoutId id="2147483663" r:id="rId7"/>
    <p:sldLayoutId id="2147483664" r:id="rId8"/>
    <p:sldLayoutId id="2147483665" r:id="rId9"/>
    <p:sldLayoutId id="2147483666" r:id="rId10"/>
    <p:sldLayoutId id="2147483667" r:id="rId11"/>
    <p:sldLayoutId id="2147483668" r:id="rId12"/>
    <p:sldLayoutId id="2147483669" r:id="rId13"/>
    <p:sldLayoutId id="2147483670" r:id="rId14"/>
    <p:sldLayoutId id="2147483671" r:id="rId15"/>
    <p:sldLayoutId id="2147483672" r:id="rId16"/>
    <p:sldLayoutId id="2147483673" r:id="rId17"/>
    <p:sldLayoutId id="2147483674" r:id="rId18"/>
    <p:sldLayoutId id="2147483675" r:id="rId19"/>
    <p:sldLayoutId id="2147483676" r:id="rId20"/>
    <p:sldLayoutId id="2147483677" r:id="rId21"/>
  </p:sldLayoutIdLst>
  <p:hf hdr="0" ftr="0" dt="0"/>
  <p:txStyles>
    <p:titleStyle>
      <a:lvl1pPr algn="l" defTabSz="913526" rtl="0" eaLnBrk="1" fontAlgn="base" hangingPunct="1">
        <a:spcBef>
          <a:spcPct val="0"/>
        </a:spcBef>
        <a:spcAft>
          <a:spcPct val="0"/>
        </a:spcAft>
        <a:tabLst>
          <a:tab pos="275353" algn="l"/>
        </a:tabLst>
        <a:defRPr lang="x-none" sz="2400" b="0" baseline="0">
          <a:solidFill>
            <a:srgbClr val="063E59"/>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p:titleStyle>
    <p:bodyStyle>
      <a:lvl1pPr marL="0" indent="0" algn="l" defTabSz="913526" rtl="0" eaLnBrk="1" fontAlgn="base" hangingPunct="1">
        <a:spcBef>
          <a:spcPct val="0"/>
        </a:spcBef>
        <a:spcAft>
          <a:spcPct val="0"/>
        </a:spcAft>
        <a:buClr>
          <a:srgbClr val="063E59"/>
        </a:buClr>
        <a:buSzPct val="100000"/>
        <a:defRPr lang="x-none" sz="1400" baseline="0">
          <a:solidFill>
            <a:schemeClr val="accent3">
              <a:lumMod val="90000"/>
              <a:lumOff val="10000"/>
            </a:schemeClr>
          </a:solidFill>
          <a:latin typeface="+mn-lt"/>
          <a:ea typeface="+mn-ea"/>
          <a:cs typeface="+mn-cs"/>
        </a:defRPr>
      </a:lvl1pPr>
      <a:lvl2pPr marL="197607" indent="-195987" algn="l" defTabSz="913526" rtl="0" eaLnBrk="1" fontAlgn="base" hangingPunct="1">
        <a:spcBef>
          <a:spcPct val="0"/>
        </a:spcBef>
        <a:spcAft>
          <a:spcPct val="0"/>
        </a:spcAft>
        <a:buClr>
          <a:schemeClr val="accent3">
            <a:lumMod val="90000"/>
            <a:lumOff val="10000"/>
          </a:schemeClr>
        </a:buClr>
        <a:buSzPct val="125000"/>
        <a:buFont typeface="Arial" panose="020B0604020202020204" pitchFamily="34" charset="0"/>
        <a:buChar char="•"/>
        <a:defRPr lang="x-none" sz="1400" baseline="0">
          <a:solidFill>
            <a:schemeClr val="accent3">
              <a:lumMod val="90000"/>
              <a:lumOff val="10000"/>
            </a:schemeClr>
          </a:solidFill>
          <a:latin typeface="+mn-lt"/>
        </a:defRPr>
      </a:lvl2pPr>
      <a:lvl3pPr marL="466481" indent="-267255" algn="l" defTabSz="913526" rtl="0" eaLnBrk="1" fontAlgn="base" hangingPunct="1">
        <a:spcBef>
          <a:spcPct val="0"/>
        </a:spcBef>
        <a:spcAft>
          <a:spcPct val="0"/>
        </a:spcAft>
        <a:buClr>
          <a:schemeClr val="accent3">
            <a:lumMod val="90000"/>
            <a:lumOff val="10000"/>
          </a:schemeClr>
        </a:buClr>
        <a:buSzPct val="120000"/>
        <a:buFont typeface="Courier New" panose="02070309020205020404" pitchFamily="49" charset="0"/>
        <a:buChar char="o"/>
        <a:defRPr lang="x-none" sz="1400" baseline="0">
          <a:solidFill>
            <a:schemeClr val="accent3">
              <a:lumMod val="90000"/>
              <a:lumOff val="10000"/>
            </a:schemeClr>
          </a:solidFill>
          <a:latin typeface="+mn-lt"/>
        </a:defRPr>
      </a:lvl3pPr>
      <a:lvl4pPr marL="626835" indent="-158733" algn="l" defTabSz="913526" rtl="0" eaLnBrk="1" fontAlgn="base" hangingPunct="1">
        <a:spcBef>
          <a:spcPct val="0"/>
        </a:spcBef>
        <a:spcAft>
          <a:spcPct val="0"/>
        </a:spcAft>
        <a:buClr>
          <a:schemeClr val="accent3">
            <a:lumMod val="90000"/>
            <a:lumOff val="10000"/>
          </a:schemeClr>
        </a:buClr>
        <a:buSzPct val="120000"/>
        <a:buFont typeface="Arial" charset="0"/>
        <a:buChar char="▫"/>
        <a:defRPr lang="x-none" sz="1400" baseline="0">
          <a:solidFill>
            <a:schemeClr val="accent3">
              <a:lumMod val="90000"/>
              <a:lumOff val="10000"/>
            </a:schemeClr>
          </a:solidFill>
          <a:latin typeface="+mn-lt"/>
        </a:defRPr>
      </a:lvl4pPr>
      <a:lvl5pPr marL="765029" indent="-132818" algn="l" defTabSz="913526" rtl="0" eaLnBrk="1" fontAlgn="base" hangingPunct="1">
        <a:spcBef>
          <a:spcPct val="0"/>
        </a:spcBef>
        <a:spcAft>
          <a:spcPct val="0"/>
        </a:spcAft>
        <a:buClr>
          <a:schemeClr val="accent3">
            <a:lumMod val="90000"/>
            <a:lumOff val="10000"/>
          </a:schemeClr>
        </a:buClr>
        <a:buSzPct val="89000"/>
        <a:buFont typeface="Arial" charset="0"/>
        <a:buChar char="-"/>
        <a:defRPr lang="x-none" sz="1400" baseline="0">
          <a:solidFill>
            <a:schemeClr val="accent3">
              <a:lumMod val="90000"/>
              <a:lumOff val="10000"/>
            </a:schemeClr>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962" rtl="0" eaLnBrk="1" latinLnBrk="0" hangingPunct="1">
        <a:defRPr lang="x-none" sz="1837" kern="1200">
          <a:solidFill>
            <a:schemeClr val="tx1"/>
          </a:solidFill>
          <a:latin typeface="+mn-lt"/>
          <a:ea typeface="+mn-ea"/>
          <a:cs typeface="+mn-cs"/>
        </a:defRPr>
      </a:lvl1pPr>
      <a:lvl2pPr marL="466481" algn="l" defTabSz="932962" rtl="0" eaLnBrk="1" latinLnBrk="0" hangingPunct="1">
        <a:defRPr lang="x-none" sz="1837" kern="1200">
          <a:solidFill>
            <a:schemeClr val="tx1"/>
          </a:solidFill>
          <a:latin typeface="+mn-lt"/>
          <a:ea typeface="+mn-ea"/>
          <a:cs typeface="+mn-cs"/>
        </a:defRPr>
      </a:lvl2pPr>
      <a:lvl3pPr marL="932962" algn="l" defTabSz="932962" rtl="0" eaLnBrk="1" latinLnBrk="0" hangingPunct="1">
        <a:defRPr lang="x-none" sz="1837" kern="1200">
          <a:solidFill>
            <a:schemeClr val="tx1"/>
          </a:solidFill>
          <a:latin typeface="+mn-lt"/>
          <a:ea typeface="+mn-ea"/>
          <a:cs typeface="+mn-cs"/>
        </a:defRPr>
      </a:lvl3pPr>
      <a:lvl4pPr marL="1399443" algn="l" defTabSz="932962" rtl="0" eaLnBrk="1" latinLnBrk="0" hangingPunct="1">
        <a:defRPr lang="x-none" sz="1837" kern="1200">
          <a:solidFill>
            <a:schemeClr val="tx1"/>
          </a:solidFill>
          <a:latin typeface="+mn-lt"/>
          <a:ea typeface="+mn-ea"/>
          <a:cs typeface="+mn-cs"/>
        </a:defRPr>
      </a:lvl4pPr>
      <a:lvl5pPr marL="1865925" algn="l" defTabSz="932962" rtl="0" eaLnBrk="1" latinLnBrk="0" hangingPunct="1">
        <a:defRPr lang="x-none" sz="1837" kern="1200">
          <a:solidFill>
            <a:schemeClr val="tx1"/>
          </a:solidFill>
          <a:latin typeface="+mn-lt"/>
          <a:ea typeface="+mn-ea"/>
          <a:cs typeface="+mn-cs"/>
        </a:defRPr>
      </a:lvl5pPr>
      <a:lvl6pPr marL="2332406" algn="l" defTabSz="932962" rtl="0" eaLnBrk="1" latinLnBrk="0" hangingPunct="1">
        <a:defRPr lang="x-none" sz="1837" kern="1200">
          <a:solidFill>
            <a:schemeClr val="tx1"/>
          </a:solidFill>
          <a:latin typeface="+mn-lt"/>
          <a:ea typeface="+mn-ea"/>
          <a:cs typeface="+mn-cs"/>
        </a:defRPr>
      </a:lvl6pPr>
      <a:lvl7pPr marL="2798887" algn="l" defTabSz="932962" rtl="0" eaLnBrk="1" latinLnBrk="0" hangingPunct="1">
        <a:defRPr lang="x-none" sz="1837" kern="1200">
          <a:solidFill>
            <a:schemeClr val="tx1"/>
          </a:solidFill>
          <a:latin typeface="+mn-lt"/>
          <a:ea typeface="+mn-ea"/>
          <a:cs typeface="+mn-cs"/>
        </a:defRPr>
      </a:lvl7pPr>
      <a:lvl8pPr marL="3265368" algn="l" defTabSz="932962" rtl="0" eaLnBrk="1" latinLnBrk="0" hangingPunct="1">
        <a:defRPr lang="x-none" sz="1837" kern="1200">
          <a:solidFill>
            <a:schemeClr val="tx1"/>
          </a:solidFill>
          <a:latin typeface="+mn-lt"/>
          <a:ea typeface="+mn-ea"/>
          <a:cs typeface="+mn-cs"/>
        </a:defRPr>
      </a:lvl8pPr>
      <a:lvl9pPr marL="3731849" algn="l" defTabSz="932962" rtl="0" eaLnBrk="1" latinLnBrk="0" hangingPunct="1">
        <a:defRPr lang="x-none"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19.jpeg"/></Relationships>
</file>

<file path=ppt/slides/_rels/slide10.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2.svg"/><Relationship Id="rId7" Type="http://schemas.openxmlformats.org/officeDocument/2006/relationships/image" Target="../media/image34.png"/><Relationship Id="rId2" Type="http://schemas.openxmlformats.org/officeDocument/2006/relationships/image" Target="../media/image31.png"/><Relationship Id="rId1" Type="http://schemas.openxmlformats.org/officeDocument/2006/relationships/slideLayout" Target="../slideLayouts/slideLayout2.xml"/><Relationship Id="rId6" Type="http://schemas.openxmlformats.org/officeDocument/2006/relationships/image" Target="../media/image33.png"/><Relationship Id="rId5" Type="http://schemas.openxmlformats.org/officeDocument/2006/relationships/image" Target="../media/image34.svg"/><Relationship Id="rId10" Type="http://schemas.openxmlformats.org/officeDocument/2006/relationships/image" Target="../media/image37.png"/><Relationship Id="rId4" Type="http://schemas.openxmlformats.org/officeDocument/2006/relationships/image" Target="../media/image32.png"/><Relationship Id="rId9" Type="http://schemas.openxmlformats.org/officeDocument/2006/relationships/image" Target="../media/image36.png"/></Relationships>
</file>

<file path=ppt/slides/_rels/slide13.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51.svg"/><Relationship Id="rId3" Type="http://schemas.openxmlformats.org/officeDocument/2006/relationships/image" Target="../media/image41.svg"/><Relationship Id="rId7" Type="http://schemas.openxmlformats.org/officeDocument/2006/relationships/image" Target="../media/image45.svg"/><Relationship Id="rId12" Type="http://schemas.openxmlformats.org/officeDocument/2006/relationships/image" Target="../media/image43.png"/><Relationship Id="rId2" Type="http://schemas.openxmlformats.org/officeDocument/2006/relationships/image" Target="../media/image38.png"/><Relationship Id="rId1" Type="http://schemas.openxmlformats.org/officeDocument/2006/relationships/slideLayout" Target="../slideLayouts/slideLayout2.xml"/><Relationship Id="rId6" Type="http://schemas.openxmlformats.org/officeDocument/2006/relationships/image" Target="../media/image40.png"/><Relationship Id="rId11" Type="http://schemas.openxmlformats.org/officeDocument/2006/relationships/image" Target="../media/image49.svg"/><Relationship Id="rId5" Type="http://schemas.openxmlformats.org/officeDocument/2006/relationships/image" Target="../media/image43.svg"/><Relationship Id="rId15" Type="http://schemas.openxmlformats.org/officeDocument/2006/relationships/image" Target="../media/image53.svg"/><Relationship Id="rId10" Type="http://schemas.openxmlformats.org/officeDocument/2006/relationships/image" Target="../media/image42.png"/><Relationship Id="rId4" Type="http://schemas.openxmlformats.org/officeDocument/2006/relationships/image" Target="../media/image39.png"/><Relationship Id="rId9" Type="http://schemas.openxmlformats.org/officeDocument/2006/relationships/image" Target="../media/image47.svg"/><Relationship Id="rId14" Type="http://schemas.openxmlformats.org/officeDocument/2006/relationships/image" Target="../media/image44.png"/></Relationships>
</file>

<file path=ppt/slides/_rels/slide14.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slideLayout" Target="../slideLayouts/slideLayout2.xml"/><Relationship Id="rId7" Type="http://schemas.openxmlformats.org/officeDocument/2006/relationships/diagramLayout" Target="../diagrams/layout1.xml"/><Relationship Id="rId2" Type="http://schemas.openxmlformats.org/officeDocument/2006/relationships/tags" Target="../tags/tag56.xml"/><Relationship Id="rId1" Type="http://schemas.openxmlformats.org/officeDocument/2006/relationships/vmlDrawing" Target="../drawings/vmlDrawing27.v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27.bin"/><Relationship Id="rId9" Type="http://schemas.openxmlformats.org/officeDocument/2006/relationships/diagramColors" Target="../diagrams/colors1.xml"/></Relationships>
</file>

<file path=ppt/slides/_rels/slide15.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image" Target="../media/image53.jpeg"/></Relationships>
</file>

<file path=ppt/slides/_rels/slide25.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image" Target="../media/image54.emf"/><Relationship Id="rId1" Type="http://schemas.openxmlformats.org/officeDocument/2006/relationships/slideLayout" Target="../slideLayouts/slideLayout2.xml"/><Relationship Id="rId5" Type="http://schemas.openxmlformats.org/officeDocument/2006/relationships/image" Target="../media/image57.emf"/><Relationship Id="rId4" Type="http://schemas.openxmlformats.org/officeDocument/2006/relationships/image" Target="../media/image56.emf"/></Relationships>
</file>

<file path=ppt/slides/_rels/slide2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tags" Target="../tags/tag49.xml"/><Relationship Id="rId13" Type="http://schemas.openxmlformats.org/officeDocument/2006/relationships/image" Target="../media/image1.emf"/><Relationship Id="rId3" Type="http://schemas.openxmlformats.org/officeDocument/2006/relationships/tags" Target="../tags/tag44.xml"/><Relationship Id="rId7" Type="http://schemas.openxmlformats.org/officeDocument/2006/relationships/tags" Target="../tags/tag48.xml"/><Relationship Id="rId12" Type="http://schemas.openxmlformats.org/officeDocument/2006/relationships/oleObject" Target="../embeddings/oleObject24.bin"/><Relationship Id="rId2" Type="http://schemas.openxmlformats.org/officeDocument/2006/relationships/tags" Target="../tags/tag43.xml"/><Relationship Id="rId16" Type="http://schemas.openxmlformats.org/officeDocument/2006/relationships/slide" Target="slide7.xml"/><Relationship Id="rId1" Type="http://schemas.openxmlformats.org/officeDocument/2006/relationships/vmlDrawing" Target="../drawings/vmlDrawing24.vml"/><Relationship Id="rId6" Type="http://schemas.openxmlformats.org/officeDocument/2006/relationships/tags" Target="../tags/tag47.xml"/><Relationship Id="rId11" Type="http://schemas.openxmlformats.org/officeDocument/2006/relationships/slideLayout" Target="../slideLayouts/slideLayout2.xml"/><Relationship Id="rId5" Type="http://schemas.openxmlformats.org/officeDocument/2006/relationships/tags" Target="../tags/tag46.xml"/><Relationship Id="rId15" Type="http://schemas.openxmlformats.org/officeDocument/2006/relationships/slide" Target="slide3.xml"/><Relationship Id="rId10" Type="http://schemas.openxmlformats.org/officeDocument/2006/relationships/tags" Target="../tags/tag51.xml"/><Relationship Id="rId4" Type="http://schemas.openxmlformats.org/officeDocument/2006/relationships/tags" Target="../tags/tag45.xml"/><Relationship Id="rId9" Type="http://schemas.openxmlformats.org/officeDocument/2006/relationships/tags" Target="../tags/tag50.xml"/><Relationship Id="rId14" Type="http://schemas.openxmlformats.org/officeDocument/2006/relationships/image" Target="../media/image20.jpeg"/></Relationships>
</file>

<file path=ppt/slides/_rels/slide3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image" Target="../media/image22.png"/><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 Id="rId9" Type="http://schemas.openxmlformats.org/officeDocument/2006/relationships/image" Target="../media/image29.png"/></Relationships>
</file>

<file path=ppt/slides/_rels/slide7.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p:nvPr/>
        </p:nvPicPr>
        <p:blipFill rotWithShape="1">
          <a:blip r:embed="rId3" cstate="print">
            <a:extLst>
              <a:ext uri="{28A0092B-C50C-407E-A947-70E740481C1C}">
                <a14:useLocalDpi xmlns:a14="http://schemas.microsoft.com/office/drawing/2010/main" val="0"/>
              </a:ext>
            </a:extLst>
          </a:blip>
          <a:srcRect b="39337"/>
          <a:stretch/>
        </p:blipFill>
        <p:spPr bwMode="auto">
          <a:xfrm>
            <a:off x="0" y="14514"/>
            <a:ext cx="5965371" cy="4034972"/>
          </a:xfrm>
          <a:prstGeom prst="rect">
            <a:avLst/>
          </a:prstGeom>
          <a:ln>
            <a:noFill/>
          </a:ln>
          <a:extLst>
            <a:ext uri="{53640926-AAD7-44D8-BBD7-CCE9431645EC}">
              <a14:shadowObscured xmlns:a14="http://schemas.microsoft.com/office/drawing/2010/main"/>
            </a:ext>
          </a:extLst>
        </p:spPr>
      </p:pic>
      <p:sp>
        <p:nvSpPr>
          <p:cNvPr id="9" name="TextBox 8"/>
          <p:cNvSpPr txBox="1"/>
          <p:nvPr/>
        </p:nvSpPr>
        <p:spPr>
          <a:xfrm>
            <a:off x="2628667" y="2942461"/>
            <a:ext cx="7574468" cy="2800767"/>
          </a:xfrm>
          <a:prstGeom prst="rect">
            <a:avLst/>
          </a:prstGeom>
          <a:noFill/>
        </p:spPr>
        <p:txBody>
          <a:bodyPr wrap="square" rtlCol="0">
            <a:spAutoFit/>
          </a:bodyPr>
          <a:lstStyle/>
          <a:p>
            <a:pPr algn="ctr"/>
            <a:r>
              <a:rPr lang="en-ZA" sz="2400" b="1" dirty="0">
                <a:solidFill>
                  <a:schemeClr val="accent5">
                    <a:lumMod val="50000"/>
                  </a:schemeClr>
                </a:solidFill>
              </a:rPr>
              <a:t>NATIONAL HOUSING FINANCE CORPORATION </a:t>
            </a:r>
          </a:p>
          <a:p>
            <a:pPr algn="ctr"/>
            <a:r>
              <a:rPr lang="en-GB" sz="2400" b="1" dirty="0">
                <a:solidFill>
                  <a:schemeClr val="accent5">
                    <a:lumMod val="50000"/>
                  </a:schemeClr>
                </a:solidFill>
              </a:rPr>
              <a:t>STRATEGIC PLAN 2020-2025 &amp;  </a:t>
            </a:r>
          </a:p>
          <a:p>
            <a:pPr algn="ctr"/>
            <a:r>
              <a:rPr lang="en-GB" sz="2400" b="1" dirty="0">
                <a:solidFill>
                  <a:schemeClr val="accent5">
                    <a:lumMod val="50000"/>
                  </a:schemeClr>
                </a:solidFill>
              </a:rPr>
              <a:t>APP 2020/21</a:t>
            </a:r>
          </a:p>
          <a:p>
            <a:pPr algn="ctr"/>
            <a:endParaRPr lang="en-GB" sz="2400" b="1" dirty="0">
              <a:solidFill>
                <a:schemeClr val="accent5">
                  <a:lumMod val="50000"/>
                </a:schemeClr>
              </a:solidFill>
            </a:endParaRPr>
          </a:p>
          <a:p>
            <a:pPr algn="ctr"/>
            <a:endParaRPr lang="en-GB" sz="2000" b="1" dirty="0">
              <a:solidFill>
                <a:schemeClr val="accent5">
                  <a:lumMod val="50000"/>
                </a:schemeClr>
              </a:solidFill>
            </a:endParaRPr>
          </a:p>
          <a:p>
            <a:pPr algn="ctr"/>
            <a:r>
              <a:rPr lang="en-GB" sz="2000" b="1" i="1" dirty="0">
                <a:solidFill>
                  <a:schemeClr val="accent5">
                    <a:lumMod val="50000"/>
                  </a:schemeClr>
                </a:solidFill>
              </a:rPr>
              <a:t>Presentation to the P</a:t>
            </a:r>
            <a:r>
              <a:rPr lang="en-ZA" sz="2000" b="1" i="1" dirty="0" err="1">
                <a:solidFill>
                  <a:schemeClr val="accent5">
                    <a:lumMod val="50000"/>
                  </a:schemeClr>
                </a:solidFill>
              </a:rPr>
              <a:t>ortfolio</a:t>
            </a:r>
            <a:r>
              <a:rPr lang="en-ZA" sz="2000" b="1" i="1" dirty="0">
                <a:solidFill>
                  <a:schemeClr val="accent5">
                    <a:lumMod val="50000"/>
                  </a:schemeClr>
                </a:solidFill>
              </a:rPr>
              <a:t> Committee on Human Settlements, Water and Sanitation</a:t>
            </a:r>
          </a:p>
          <a:p>
            <a:pPr algn="ctr"/>
            <a:r>
              <a:rPr lang="en-ZA" sz="2000" b="1" i="1" dirty="0">
                <a:solidFill>
                  <a:schemeClr val="accent5">
                    <a:lumMod val="50000"/>
                  </a:schemeClr>
                </a:solidFill>
              </a:rPr>
              <a:t>29</a:t>
            </a:r>
            <a:r>
              <a:rPr lang="en-ZA" sz="2000" b="1" i="1" baseline="30000" dirty="0">
                <a:solidFill>
                  <a:schemeClr val="accent5">
                    <a:lumMod val="50000"/>
                  </a:schemeClr>
                </a:solidFill>
              </a:rPr>
              <a:t>th</a:t>
            </a:r>
            <a:r>
              <a:rPr lang="en-ZA" sz="2000" b="1" i="1" dirty="0">
                <a:solidFill>
                  <a:schemeClr val="accent5">
                    <a:lumMod val="50000"/>
                  </a:schemeClr>
                </a:solidFill>
              </a:rPr>
              <a:t> APRIL 2021</a:t>
            </a:r>
          </a:p>
        </p:txBody>
      </p:sp>
      <p:sp>
        <p:nvSpPr>
          <p:cNvPr id="10" name="TextBox 9"/>
          <p:cNvSpPr txBox="1"/>
          <p:nvPr/>
        </p:nvSpPr>
        <p:spPr>
          <a:xfrm>
            <a:off x="139409" y="6057035"/>
            <a:ext cx="6052041" cy="369332"/>
          </a:xfrm>
          <a:prstGeom prst="rect">
            <a:avLst/>
          </a:prstGeom>
          <a:noFill/>
        </p:spPr>
        <p:txBody>
          <a:bodyPr wrap="none" rtlCol="0">
            <a:spAutoFit/>
          </a:bodyPr>
          <a:lstStyle/>
          <a:p>
            <a:r>
              <a:rPr lang="en-ZA" b="1" dirty="0">
                <a:solidFill>
                  <a:schemeClr val="accent5">
                    <a:lumMod val="50000"/>
                  </a:schemeClr>
                </a:solidFill>
              </a:rPr>
              <a:t>LAYING STRONG FOUNDATIONS FOR TOMORROW’S SUCCESS </a:t>
            </a:r>
            <a:endParaRPr lang="en-US" b="1" dirty="0">
              <a:solidFill>
                <a:schemeClr val="accent5">
                  <a:lumMod val="50000"/>
                </a:schemeClr>
              </a:solidFill>
            </a:endParaRPr>
          </a:p>
        </p:txBody>
      </p:sp>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942787" y="240522"/>
            <a:ext cx="2520696" cy="1438656"/>
          </a:xfrm>
          <a:prstGeom prst="rect">
            <a:avLst/>
          </a:prstGeom>
        </p:spPr>
      </p:pic>
      <p:sp>
        <p:nvSpPr>
          <p:cNvPr id="6" name="Parallelogram 7"/>
          <p:cNvSpPr/>
          <p:nvPr/>
        </p:nvSpPr>
        <p:spPr>
          <a:xfrm>
            <a:off x="-2" y="6519067"/>
            <a:ext cx="9871077" cy="335757"/>
          </a:xfrm>
          <a:custGeom>
            <a:avLst/>
            <a:gdLst>
              <a:gd name="connsiteX0" fmla="*/ 0 w 10188575"/>
              <a:gd name="connsiteY0" fmla="*/ 166915 h 166915"/>
              <a:gd name="connsiteX1" fmla="*/ 41729 w 10188575"/>
              <a:gd name="connsiteY1" fmla="*/ 0 h 166915"/>
              <a:gd name="connsiteX2" fmla="*/ 10188575 w 10188575"/>
              <a:gd name="connsiteY2" fmla="*/ 0 h 166915"/>
              <a:gd name="connsiteX3" fmla="*/ 10146846 w 10188575"/>
              <a:gd name="connsiteY3" fmla="*/ 166915 h 166915"/>
              <a:gd name="connsiteX4" fmla="*/ 0 w 10188575"/>
              <a:gd name="connsiteY4" fmla="*/ 166915 h 166915"/>
              <a:gd name="connsiteX0" fmla="*/ 17802 w 10146846"/>
              <a:gd name="connsiteY0" fmla="*/ 166915 h 166915"/>
              <a:gd name="connsiteX1" fmla="*/ 0 w 10146846"/>
              <a:gd name="connsiteY1" fmla="*/ 0 h 166915"/>
              <a:gd name="connsiteX2" fmla="*/ 10146846 w 10146846"/>
              <a:gd name="connsiteY2" fmla="*/ 0 h 166915"/>
              <a:gd name="connsiteX3" fmla="*/ 10105117 w 10146846"/>
              <a:gd name="connsiteY3" fmla="*/ 166915 h 166915"/>
              <a:gd name="connsiteX4" fmla="*/ 17802 w 10146846"/>
              <a:gd name="connsiteY4" fmla="*/ 166915 h 166915"/>
              <a:gd name="connsiteX0" fmla="*/ 3514 w 10132558"/>
              <a:gd name="connsiteY0" fmla="*/ 166915 h 166915"/>
              <a:gd name="connsiteX1" fmla="*/ 0 w 10132558"/>
              <a:gd name="connsiteY1" fmla="*/ 2381 h 166915"/>
              <a:gd name="connsiteX2" fmla="*/ 10132558 w 10132558"/>
              <a:gd name="connsiteY2" fmla="*/ 0 h 166915"/>
              <a:gd name="connsiteX3" fmla="*/ 10090829 w 10132558"/>
              <a:gd name="connsiteY3" fmla="*/ 166915 h 166915"/>
              <a:gd name="connsiteX4" fmla="*/ 3514 w 10132558"/>
              <a:gd name="connsiteY4" fmla="*/ 166915 h 166915"/>
              <a:gd name="connsiteX0" fmla="*/ 154 w 10129198"/>
              <a:gd name="connsiteY0" fmla="*/ 166915 h 166915"/>
              <a:gd name="connsiteX1" fmla="*/ 3784 w 10129198"/>
              <a:gd name="connsiteY1" fmla="*/ 0 h 166915"/>
              <a:gd name="connsiteX2" fmla="*/ 10129198 w 10129198"/>
              <a:gd name="connsiteY2" fmla="*/ 0 h 166915"/>
              <a:gd name="connsiteX3" fmla="*/ 10087469 w 10129198"/>
              <a:gd name="connsiteY3" fmla="*/ 166915 h 166915"/>
              <a:gd name="connsiteX4" fmla="*/ 154 w 10129198"/>
              <a:gd name="connsiteY4" fmla="*/ 166915 h 166915"/>
              <a:gd name="connsiteX0" fmla="*/ 239 w 10126902"/>
              <a:gd name="connsiteY0" fmla="*/ 169296 h 169296"/>
              <a:gd name="connsiteX1" fmla="*/ 1488 w 10126902"/>
              <a:gd name="connsiteY1" fmla="*/ 0 h 169296"/>
              <a:gd name="connsiteX2" fmla="*/ 10126902 w 10126902"/>
              <a:gd name="connsiteY2" fmla="*/ 0 h 169296"/>
              <a:gd name="connsiteX3" fmla="*/ 10085173 w 10126902"/>
              <a:gd name="connsiteY3" fmla="*/ 166915 h 169296"/>
              <a:gd name="connsiteX4" fmla="*/ 239 w 10126902"/>
              <a:gd name="connsiteY4" fmla="*/ 169296 h 169296"/>
              <a:gd name="connsiteX0" fmla="*/ 239 w 10425352"/>
              <a:gd name="connsiteY0" fmla="*/ 175887 h 175887"/>
              <a:gd name="connsiteX1" fmla="*/ 1488 w 10425352"/>
              <a:gd name="connsiteY1" fmla="*/ 6591 h 175887"/>
              <a:gd name="connsiteX2" fmla="*/ 10425352 w 10425352"/>
              <a:gd name="connsiteY2" fmla="*/ 0 h 175887"/>
              <a:gd name="connsiteX3" fmla="*/ 10085173 w 10425352"/>
              <a:gd name="connsiteY3" fmla="*/ 173506 h 175887"/>
              <a:gd name="connsiteX4" fmla="*/ 239 w 10425352"/>
              <a:gd name="connsiteY4" fmla="*/ 175887 h 175887"/>
              <a:gd name="connsiteX0" fmla="*/ 239 w 10635515"/>
              <a:gd name="connsiteY0" fmla="*/ 179182 h 179182"/>
              <a:gd name="connsiteX1" fmla="*/ 1488 w 10635515"/>
              <a:gd name="connsiteY1" fmla="*/ 9886 h 179182"/>
              <a:gd name="connsiteX2" fmla="*/ 10635515 w 10635515"/>
              <a:gd name="connsiteY2" fmla="*/ 0 h 179182"/>
              <a:gd name="connsiteX3" fmla="*/ 10085173 w 10635515"/>
              <a:gd name="connsiteY3" fmla="*/ 176801 h 179182"/>
              <a:gd name="connsiteX4" fmla="*/ 239 w 10635515"/>
              <a:gd name="connsiteY4" fmla="*/ 179182 h 179182"/>
              <a:gd name="connsiteX0" fmla="*/ 239 w 10635515"/>
              <a:gd name="connsiteY0" fmla="*/ 179182 h 179182"/>
              <a:gd name="connsiteX1" fmla="*/ 1488 w 10635515"/>
              <a:gd name="connsiteY1" fmla="*/ 9886 h 179182"/>
              <a:gd name="connsiteX2" fmla="*/ 10635515 w 10635515"/>
              <a:gd name="connsiteY2" fmla="*/ 0 h 179182"/>
              <a:gd name="connsiteX3" fmla="*/ 10224620 w 10635515"/>
              <a:gd name="connsiteY3" fmla="*/ 178449 h 179182"/>
              <a:gd name="connsiteX4" fmla="*/ 239 w 10635515"/>
              <a:gd name="connsiteY4" fmla="*/ 179182 h 179182"/>
              <a:gd name="connsiteX0" fmla="*/ 239 w 10635515"/>
              <a:gd name="connsiteY0" fmla="*/ 174239 h 174239"/>
              <a:gd name="connsiteX1" fmla="*/ 1488 w 10635515"/>
              <a:gd name="connsiteY1" fmla="*/ 4943 h 174239"/>
              <a:gd name="connsiteX2" fmla="*/ 10635515 w 10635515"/>
              <a:gd name="connsiteY2" fmla="*/ 0 h 174239"/>
              <a:gd name="connsiteX3" fmla="*/ 10224620 w 10635515"/>
              <a:gd name="connsiteY3" fmla="*/ 173506 h 174239"/>
              <a:gd name="connsiteX4" fmla="*/ 239 w 10635515"/>
              <a:gd name="connsiteY4" fmla="*/ 174239 h 174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35515" h="174239">
                <a:moveTo>
                  <a:pt x="239" y="174239"/>
                </a:moveTo>
                <a:cubicBezTo>
                  <a:pt x="-932" y="119394"/>
                  <a:pt x="2659" y="59788"/>
                  <a:pt x="1488" y="4943"/>
                </a:cubicBezTo>
                <a:lnTo>
                  <a:pt x="10635515" y="0"/>
                </a:lnTo>
                <a:lnTo>
                  <a:pt x="10224620" y="173506"/>
                </a:lnTo>
                <a:lnTo>
                  <a:pt x="239" y="174239"/>
                </a:lnTo>
                <a:close/>
              </a:path>
            </a:pathLst>
          </a:custGeom>
          <a:pattFill prst="pct70">
            <a:fgClr>
              <a:schemeClr val="bg1">
                <a:lumMod val="75000"/>
              </a:schemeClr>
            </a:fgClr>
            <a:bgClr>
              <a:schemeClr val="bg1"/>
            </a:bgClr>
          </a:patt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dirty="0"/>
          </a:p>
        </p:txBody>
      </p:sp>
      <p:sp>
        <p:nvSpPr>
          <p:cNvPr id="7" name="Parallelogram 10"/>
          <p:cNvSpPr/>
          <p:nvPr/>
        </p:nvSpPr>
        <p:spPr>
          <a:xfrm>
            <a:off x="10360480" y="6519067"/>
            <a:ext cx="1831520" cy="330199"/>
          </a:xfrm>
          <a:custGeom>
            <a:avLst/>
            <a:gdLst>
              <a:gd name="connsiteX0" fmla="*/ 0 w 1983938"/>
              <a:gd name="connsiteY0" fmla="*/ 166914 h 166914"/>
              <a:gd name="connsiteX1" fmla="*/ 41729 w 1983938"/>
              <a:gd name="connsiteY1" fmla="*/ 0 h 166914"/>
              <a:gd name="connsiteX2" fmla="*/ 1983938 w 1983938"/>
              <a:gd name="connsiteY2" fmla="*/ 0 h 166914"/>
              <a:gd name="connsiteX3" fmla="*/ 1942210 w 1983938"/>
              <a:gd name="connsiteY3" fmla="*/ 166914 h 166914"/>
              <a:gd name="connsiteX4" fmla="*/ 0 w 1983938"/>
              <a:gd name="connsiteY4" fmla="*/ 166914 h 166914"/>
              <a:gd name="connsiteX0" fmla="*/ 0 w 1942210"/>
              <a:gd name="connsiteY0" fmla="*/ 166914 h 166914"/>
              <a:gd name="connsiteX1" fmla="*/ 41729 w 1942210"/>
              <a:gd name="connsiteY1" fmla="*/ 0 h 166914"/>
              <a:gd name="connsiteX2" fmla="*/ 1910120 w 1942210"/>
              <a:gd name="connsiteY2" fmla="*/ 0 h 166914"/>
              <a:gd name="connsiteX3" fmla="*/ 1942210 w 1942210"/>
              <a:gd name="connsiteY3" fmla="*/ 166914 h 166914"/>
              <a:gd name="connsiteX4" fmla="*/ 0 w 1942210"/>
              <a:gd name="connsiteY4" fmla="*/ 166914 h 166914"/>
              <a:gd name="connsiteX0" fmla="*/ 0 w 1913635"/>
              <a:gd name="connsiteY0" fmla="*/ 166914 h 166914"/>
              <a:gd name="connsiteX1" fmla="*/ 41729 w 1913635"/>
              <a:gd name="connsiteY1" fmla="*/ 0 h 166914"/>
              <a:gd name="connsiteX2" fmla="*/ 1910120 w 1913635"/>
              <a:gd name="connsiteY2" fmla="*/ 0 h 166914"/>
              <a:gd name="connsiteX3" fmla="*/ 1913635 w 1913635"/>
              <a:gd name="connsiteY3" fmla="*/ 166914 h 166914"/>
              <a:gd name="connsiteX4" fmla="*/ 0 w 1913635"/>
              <a:gd name="connsiteY4" fmla="*/ 166914 h 166914"/>
              <a:gd name="connsiteX0" fmla="*/ 0 w 1913635"/>
              <a:gd name="connsiteY0" fmla="*/ 170187 h 170187"/>
              <a:gd name="connsiteX1" fmla="*/ 352879 w 1913635"/>
              <a:gd name="connsiteY1" fmla="*/ 0 h 170187"/>
              <a:gd name="connsiteX2" fmla="*/ 1910120 w 1913635"/>
              <a:gd name="connsiteY2" fmla="*/ 3273 h 170187"/>
              <a:gd name="connsiteX3" fmla="*/ 1913635 w 1913635"/>
              <a:gd name="connsiteY3" fmla="*/ 170187 h 170187"/>
              <a:gd name="connsiteX4" fmla="*/ 0 w 1913635"/>
              <a:gd name="connsiteY4" fmla="*/ 170187 h 1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635" h="170187">
                <a:moveTo>
                  <a:pt x="0" y="170187"/>
                </a:moveTo>
                <a:lnTo>
                  <a:pt x="352879" y="0"/>
                </a:lnTo>
                <a:lnTo>
                  <a:pt x="1910120" y="3273"/>
                </a:lnTo>
                <a:cubicBezTo>
                  <a:pt x="1911292" y="58911"/>
                  <a:pt x="1912463" y="114549"/>
                  <a:pt x="1913635" y="170187"/>
                </a:cubicBezTo>
                <a:lnTo>
                  <a:pt x="0" y="170187"/>
                </a:lnTo>
                <a:close/>
              </a:path>
            </a:pathLst>
          </a:custGeom>
          <a:pattFill prst="pct70">
            <a:fgClr>
              <a:schemeClr val="accent4"/>
            </a:fgClr>
            <a:bgClr>
              <a:schemeClr val="bg1"/>
            </a:bgClr>
          </a:patt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sp>
        <p:nvSpPr>
          <p:cNvPr id="8" name="Parallelogram 12"/>
          <p:cNvSpPr/>
          <p:nvPr/>
        </p:nvSpPr>
        <p:spPr>
          <a:xfrm>
            <a:off x="9680574" y="6524623"/>
            <a:ext cx="841376" cy="330201"/>
          </a:xfrm>
          <a:custGeom>
            <a:avLst/>
            <a:gdLst>
              <a:gd name="connsiteX0" fmla="*/ 0 w 812801"/>
              <a:gd name="connsiteY0" fmla="*/ 333376 h 333376"/>
              <a:gd name="connsiteX1" fmla="*/ 83344 w 812801"/>
              <a:gd name="connsiteY1" fmla="*/ 0 h 333376"/>
              <a:gd name="connsiteX2" fmla="*/ 812801 w 812801"/>
              <a:gd name="connsiteY2" fmla="*/ 0 h 333376"/>
              <a:gd name="connsiteX3" fmla="*/ 729457 w 812801"/>
              <a:gd name="connsiteY3" fmla="*/ 333376 h 333376"/>
              <a:gd name="connsiteX4" fmla="*/ 0 w 812801"/>
              <a:gd name="connsiteY4" fmla="*/ 333376 h 333376"/>
              <a:gd name="connsiteX0" fmla="*/ 0 w 1111251"/>
              <a:gd name="connsiteY0" fmla="*/ 330201 h 333376"/>
              <a:gd name="connsiteX1" fmla="*/ 381794 w 1111251"/>
              <a:gd name="connsiteY1" fmla="*/ 0 h 333376"/>
              <a:gd name="connsiteX2" fmla="*/ 1111251 w 1111251"/>
              <a:gd name="connsiteY2" fmla="*/ 0 h 333376"/>
              <a:gd name="connsiteX3" fmla="*/ 1027907 w 1111251"/>
              <a:gd name="connsiteY3" fmla="*/ 333376 h 333376"/>
              <a:gd name="connsiteX4" fmla="*/ 0 w 1111251"/>
              <a:gd name="connsiteY4" fmla="*/ 330201 h 333376"/>
              <a:gd name="connsiteX0" fmla="*/ 0 w 1111251"/>
              <a:gd name="connsiteY0" fmla="*/ 330201 h 330201"/>
              <a:gd name="connsiteX1" fmla="*/ 381794 w 1111251"/>
              <a:gd name="connsiteY1" fmla="*/ 0 h 330201"/>
              <a:gd name="connsiteX2" fmla="*/ 1111251 w 1111251"/>
              <a:gd name="connsiteY2" fmla="*/ 0 h 330201"/>
              <a:gd name="connsiteX3" fmla="*/ 805657 w 1111251"/>
              <a:gd name="connsiteY3" fmla="*/ 320676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815976"/>
              <a:gd name="connsiteY0" fmla="*/ 330201 h 330201"/>
              <a:gd name="connsiteX1" fmla="*/ 381794 w 815976"/>
              <a:gd name="connsiteY1" fmla="*/ 0 h 330201"/>
              <a:gd name="connsiteX2" fmla="*/ 815976 w 815976"/>
              <a:gd name="connsiteY2" fmla="*/ 0 h 330201"/>
              <a:gd name="connsiteX3" fmla="*/ 450057 w 815976"/>
              <a:gd name="connsiteY3" fmla="*/ 330201 h 330201"/>
              <a:gd name="connsiteX4" fmla="*/ 0 w 815976"/>
              <a:gd name="connsiteY4" fmla="*/ 330201 h 330201"/>
              <a:gd name="connsiteX0" fmla="*/ 0 w 841376"/>
              <a:gd name="connsiteY0" fmla="*/ 330201 h 330201"/>
              <a:gd name="connsiteX1" fmla="*/ 381794 w 841376"/>
              <a:gd name="connsiteY1" fmla="*/ 0 h 330201"/>
              <a:gd name="connsiteX2" fmla="*/ 841376 w 841376"/>
              <a:gd name="connsiteY2" fmla="*/ 0 h 330201"/>
              <a:gd name="connsiteX3" fmla="*/ 450057 w 841376"/>
              <a:gd name="connsiteY3" fmla="*/ 330201 h 330201"/>
              <a:gd name="connsiteX4" fmla="*/ 0 w 841376"/>
              <a:gd name="connsiteY4" fmla="*/ 330201 h 33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376" h="330201">
                <a:moveTo>
                  <a:pt x="0" y="330201"/>
                </a:moveTo>
                <a:lnTo>
                  <a:pt x="381794" y="0"/>
                </a:lnTo>
                <a:lnTo>
                  <a:pt x="841376" y="0"/>
                </a:lnTo>
                <a:lnTo>
                  <a:pt x="450057" y="330201"/>
                </a:lnTo>
                <a:lnTo>
                  <a:pt x="0" y="330201"/>
                </a:lnTo>
                <a:close/>
              </a:path>
            </a:pathLst>
          </a:custGeom>
          <a:pattFill prst="pct70">
            <a:fgClr>
              <a:schemeClr val="accent5">
                <a:lumMod val="50000"/>
              </a:schemeClr>
            </a:fgClr>
            <a:bgClr>
              <a:schemeClr val="bg1"/>
            </a:bgClr>
          </a:patt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p>
        </p:txBody>
      </p:sp>
      <p:sp>
        <p:nvSpPr>
          <p:cNvPr id="2" name="Slide Number Placeholder 1">
            <a:extLst>
              <a:ext uri="{FF2B5EF4-FFF2-40B4-BE49-F238E27FC236}">
                <a16:creationId xmlns:a16="http://schemas.microsoft.com/office/drawing/2014/main" id="{CE1869E5-AFA4-44C3-8848-2C184FA8382F}"/>
              </a:ext>
            </a:extLst>
          </p:cNvPr>
          <p:cNvSpPr>
            <a:spLocks noGrp="1"/>
          </p:cNvSpPr>
          <p:nvPr>
            <p:ph type="sldNum" sz="quarter" idx="12"/>
          </p:nvPr>
        </p:nvSpPr>
        <p:spPr>
          <a:xfrm>
            <a:off x="9283959" y="6484141"/>
            <a:ext cx="2743200" cy="365125"/>
          </a:xfrm>
        </p:spPr>
        <p:txBody>
          <a:bodyPr/>
          <a:lstStyle/>
          <a:p>
            <a:endParaRPr lang="en-ZA" dirty="0"/>
          </a:p>
        </p:txBody>
      </p:sp>
    </p:spTree>
    <p:extLst>
      <p:ext uri="{BB962C8B-B14F-4D97-AF65-F5344CB8AC3E}">
        <p14:creationId xmlns:p14="http://schemas.microsoft.com/office/powerpoint/2010/main" val="21987525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txBox="1">
            <a:spLocks/>
          </p:cNvSpPr>
          <p:nvPr/>
        </p:nvSpPr>
        <p:spPr>
          <a:xfrm>
            <a:off x="-1" y="5646"/>
            <a:ext cx="12192001" cy="805723"/>
          </a:xfrm>
          <a:prstGeom prst="rect">
            <a:avLst/>
          </a:prstGeom>
          <a:solidFill>
            <a:srgbClr val="00266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rtlCol="0" anchor="ctr">
            <a:noAutofit/>
            <a:scene3d>
              <a:camera prst="orthographicFront"/>
              <a:lightRig rig="soft" dir="t"/>
            </a:scene3d>
            <a:sp3d prstMaterial="softEdge">
              <a:bevelT w="25400" h="25400"/>
            </a:sp3d>
          </a:bodyPr>
          <a:lstStyle>
            <a:lvl1pPr algn="r" rtl="0" eaLnBrk="1" latinLnBrk="0" hangingPunct="1">
              <a:spcBef>
                <a:spcPct val="0"/>
              </a:spcBef>
              <a:buNone/>
              <a:defRPr kumimoji="0" sz="3200" b="1" kern="1200">
                <a:solidFill>
                  <a:srgbClr val="9A9B9C"/>
                </a:solidFill>
                <a:effectLst>
                  <a:outerShdw blurRad="31750" dist="25400" dir="5400000" algn="tl" rotWithShape="0">
                    <a:srgbClr val="000000">
                      <a:alpha val="25000"/>
                    </a:srgbClr>
                  </a:outerShdw>
                </a:effectLst>
                <a:latin typeface="+mn-lt"/>
                <a:ea typeface="+mj-ea"/>
                <a:cs typeface="+mj-cs"/>
              </a:defRPr>
            </a:lvl1pPr>
            <a:lvl2pPr>
              <a:defRPr/>
            </a:lvl2pPr>
            <a:lvl3pPr>
              <a:defRPr/>
            </a:lvl3pPr>
            <a:lvl4pPr>
              <a:defRPr/>
            </a:lvl4pPr>
            <a:lvl5pPr>
              <a:defRPr/>
            </a:lvl5pPr>
            <a:lvl6pPr>
              <a:defRPr/>
            </a:lvl6pPr>
            <a:lvl7pPr>
              <a:defRPr/>
            </a:lvl7pPr>
            <a:lvl8pPr>
              <a:defRPr/>
            </a:lvl8pPr>
            <a:lvl9pPr>
              <a:defRPr/>
            </a:lvl9pPr>
            <a:extLst/>
          </a:lstStyle>
          <a:p>
            <a:pPr marL="354013" algn="l"/>
            <a:r>
              <a:rPr lang="en-US" sz="2400" kern="0" dirty="0">
                <a:solidFill>
                  <a:prstClr val="white"/>
                </a:solidFill>
                <a:effectLst/>
              </a:rPr>
              <a:t>PERFORMANCE MTSF CONTRIBUTION </a:t>
            </a:r>
          </a:p>
        </p:txBody>
      </p:sp>
      <p:pic>
        <p:nvPicPr>
          <p:cNvPr id="6" name="Picture 5">
            <a:extLst>
              <a:ext uri="{FF2B5EF4-FFF2-40B4-BE49-F238E27FC236}">
                <a16:creationId xmlns:a16="http://schemas.microsoft.com/office/drawing/2014/main" id="{A7D9216A-0757-46D4-8AE6-5827A68C63E4}"/>
              </a:ext>
            </a:extLst>
          </p:cNvPr>
          <p:cNvPicPr>
            <a:picLocks noChangeAspect="1"/>
          </p:cNvPicPr>
          <p:nvPr/>
        </p:nvPicPr>
        <p:blipFill>
          <a:blip r:embed="rId2"/>
          <a:stretch>
            <a:fillRect/>
          </a:stretch>
        </p:blipFill>
        <p:spPr>
          <a:xfrm>
            <a:off x="0" y="811368"/>
            <a:ext cx="10144776" cy="6040985"/>
          </a:xfrm>
          <a:prstGeom prst="rect">
            <a:avLst/>
          </a:prstGeom>
        </p:spPr>
      </p:pic>
    </p:spTree>
    <p:extLst>
      <p:ext uri="{BB962C8B-B14F-4D97-AF65-F5344CB8AC3E}">
        <p14:creationId xmlns:p14="http://schemas.microsoft.com/office/powerpoint/2010/main" val="41259816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A282B52-CDAB-4AE7-971E-125A0F0EED6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9" name="think-cell Slide" r:id="rId5" imgW="425" imgH="424" progId="TCLayout.ActiveDocument.1">
                  <p:embed/>
                </p:oleObj>
              </mc:Choice>
              <mc:Fallback>
                <p:oleObj name="think-cell Slide" r:id="rId5" imgW="425"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F45F542-157F-4C1D-910D-B0AD9101F8D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ZA" sz="1600">
              <a:latin typeface="Calibri" panose="020F0502020204030204" pitchFamily="34" charset="0"/>
              <a:sym typeface="Calibri" panose="020F0502020204030204" pitchFamily="34" charset="0"/>
            </a:endParaRPr>
          </a:p>
        </p:txBody>
      </p:sp>
      <p:sp>
        <p:nvSpPr>
          <p:cNvPr id="18" name="Rectangle 17">
            <a:extLst>
              <a:ext uri="{FF2B5EF4-FFF2-40B4-BE49-F238E27FC236}">
                <a16:creationId xmlns:a16="http://schemas.microsoft.com/office/drawing/2014/main" id="{AD5B4FE6-B71B-499E-AFFE-303FB2402E67}"/>
              </a:ext>
            </a:extLst>
          </p:cNvPr>
          <p:cNvSpPr/>
          <p:nvPr/>
        </p:nvSpPr>
        <p:spPr>
          <a:xfrm>
            <a:off x="-3" y="811369"/>
            <a:ext cx="12192002" cy="571325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14350" lvl="0" indent="-514350">
              <a:buFont typeface="+mj-lt"/>
              <a:buAutoNum type="arabicPeriod"/>
            </a:pPr>
            <a:r>
              <a:rPr lang="en-US" sz="2800" dirty="0"/>
              <a:t>Overview of the situational analysis:</a:t>
            </a:r>
          </a:p>
          <a:p>
            <a:pPr marL="1371600" lvl="2" indent="-457200">
              <a:buFont typeface="Arial" panose="020B0604020202020204" pitchFamily="34" charset="0"/>
              <a:buChar char="•"/>
            </a:pPr>
            <a:r>
              <a:rPr lang="en-US" sz="2800" dirty="0"/>
              <a:t>The external environment: PESTEL model</a:t>
            </a:r>
          </a:p>
          <a:p>
            <a:pPr marL="1371600" lvl="2" indent="-457200">
              <a:buFont typeface="Arial" panose="020B0604020202020204" pitchFamily="34" charset="0"/>
              <a:buChar char="•"/>
            </a:pPr>
            <a:r>
              <a:rPr lang="en-US" sz="2800" dirty="0"/>
              <a:t>The internal environment </a:t>
            </a:r>
          </a:p>
          <a:p>
            <a:pPr lvl="2"/>
            <a:endParaRPr lang="en-US" sz="2800" dirty="0"/>
          </a:p>
          <a:p>
            <a:pPr marL="514350" lvl="0" indent="-514350">
              <a:buFont typeface="+mj-lt"/>
              <a:buAutoNum type="arabicPeriod"/>
            </a:pPr>
            <a:r>
              <a:rPr lang="en-US" sz="2800" dirty="0"/>
              <a:t>The institutional Performance:</a:t>
            </a:r>
          </a:p>
          <a:p>
            <a:pPr marL="1371600" lvl="2" indent="-457200">
              <a:buFont typeface="Arial" panose="020B0604020202020204" pitchFamily="34" charset="0"/>
              <a:buChar char="•"/>
            </a:pPr>
            <a:r>
              <a:rPr lang="en-US" sz="2800" dirty="0"/>
              <a:t>Outcomes, Outputs, Performance Indicators and Targets</a:t>
            </a:r>
          </a:p>
          <a:p>
            <a:pPr marL="1371600" lvl="2" indent="-457200">
              <a:buFont typeface="Arial" panose="020B0604020202020204" pitchFamily="34" charset="0"/>
              <a:buChar char="•"/>
            </a:pPr>
            <a:r>
              <a:rPr lang="en-US" sz="2800" dirty="0"/>
              <a:t>Budget </a:t>
            </a:r>
          </a:p>
          <a:p>
            <a:pPr lvl="2"/>
            <a:endParaRPr lang="en-ZA" sz="2800" dirty="0"/>
          </a:p>
          <a:p>
            <a:pPr marL="514350" lvl="0" indent="-514350">
              <a:buFont typeface="+mj-lt"/>
              <a:buAutoNum type="arabicPeriod"/>
            </a:pPr>
            <a:r>
              <a:rPr lang="en-US" sz="2800" dirty="0"/>
              <a:t>The key risks and mitigations</a:t>
            </a:r>
            <a:endParaRPr lang="en-ZA" sz="2800" b="1" dirty="0"/>
          </a:p>
        </p:txBody>
      </p:sp>
      <p:sp>
        <p:nvSpPr>
          <p:cNvPr id="7" name="Title 2"/>
          <p:cNvSpPr txBox="1">
            <a:spLocks/>
          </p:cNvSpPr>
          <p:nvPr/>
        </p:nvSpPr>
        <p:spPr>
          <a:xfrm>
            <a:off x="-1" y="5646"/>
            <a:ext cx="12192001" cy="805723"/>
          </a:xfrm>
          <a:prstGeom prst="rect">
            <a:avLst/>
          </a:prstGeom>
          <a:solidFill>
            <a:srgbClr val="00266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rtlCol="0" anchor="ctr">
            <a:noAutofit/>
            <a:scene3d>
              <a:camera prst="orthographicFront"/>
              <a:lightRig rig="soft" dir="t"/>
            </a:scene3d>
            <a:sp3d prstMaterial="softEdge">
              <a:bevelT w="25400" h="25400"/>
            </a:sp3d>
          </a:bodyPr>
          <a:lstStyle>
            <a:lvl1pPr algn="r" rtl="0" eaLnBrk="1" latinLnBrk="0" hangingPunct="1">
              <a:spcBef>
                <a:spcPct val="0"/>
              </a:spcBef>
              <a:buNone/>
              <a:defRPr kumimoji="0" sz="3200" b="1" kern="1200">
                <a:solidFill>
                  <a:srgbClr val="9A9B9C"/>
                </a:solidFill>
                <a:effectLst>
                  <a:outerShdw blurRad="31750" dist="25400" dir="5400000" algn="tl" rotWithShape="0">
                    <a:srgbClr val="000000">
                      <a:alpha val="25000"/>
                    </a:srgbClr>
                  </a:outerShdw>
                </a:effectLst>
                <a:latin typeface="+mn-lt"/>
                <a:ea typeface="+mj-ea"/>
                <a:cs typeface="+mj-cs"/>
              </a:defRPr>
            </a:lvl1pPr>
            <a:lvl2pPr>
              <a:defRPr/>
            </a:lvl2pPr>
            <a:lvl3pPr>
              <a:defRPr/>
            </a:lvl3pPr>
            <a:lvl4pPr>
              <a:defRPr/>
            </a:lvl4pPr>
            <a:lvl5pPr>
              <a:defRPr/>
            </a:lvl5pPr>
            <a:lvl6pPr>
              <a:defRPr/>
            </a:lvl6pPr>
            <a:lvl7pPr>
              <a:defRPr/>
            </a:lvl7pPr>
            <a:lvl8pPr>
              <a:defRPr/>
            </a:lvl8pPr>
            <a:lvl9pPr>
              <a:defRPr/>
            </a:lvl9pPr>
            <a:extLst/>
          </a:lstStyle>
          <a:p>
            <a:pPr marL="354013" indent="7938" algn="l"/>
            <a:r>
              <a:rPr lang="en-ZA" sz="2400" kern="0" dirty="0">
                <a:solidFill>
                  <a:prstClr val="white"/>
                </a:solidFill>
              </a:rPr>
              <a:t>Annual Performance Plan (</a:t>
            </a:r>
            <a:r>
              <a:rPr lang="en-GB" sz="2400" kern="0" dirty="0">
                <a:solidFill>
                  <a:prstClr val="white"/>
                </a:solidFill>
              </a:rPr>
              <a:t>APP) </a:t>
            </a:r>
          </a:p>
          <a:p>
            <a:pPr marL="354013" indent="7938" algn="l"/>
            <a:r>
              <a:rPr lang="en-GB" sz="2400" kern="0" dirty="0">
                <a:solidFill>
                  <a:prstClr val="white"/>
                </a:solidFill>
              </a:rPr>
              <a:t> 2020/21</a:t>
            </a:r>
          </a:p>
        </p:txBody>
      </p:sp>
      <p:sp>
        <p:nvSpPr>
          <p:cNvPr id="8" name="Parallelogram 7"/>
          <p:cNvSpPr/>
          <p:nvPr/>
        </p:nvSpPr>
        <p:spPr>
          <a:xfrm>
            <a:off x="-2" y="6519067"/>
            <a:ext cx="9871077" cy="335757"/>
          </a:xfrm>
          <a:custGeom>
            <a:avLst/>
            <a:gdLst>
              <a:gd name="connsiteX0" fmla="*/ 0 w 10188575"/>
              <a:gd name="connsiteY0" fmla="*/ 166915 h 166915"/>
              <a:gd name="connsiteX1" fmla="*/ 41729 w 10188575"/>
              <a:gd name="connsiteY1" fmla="*/ 0 h 166915"/>
              <a:gd name="connsiteX2" fmla="*/ 10188575 w 10188575"/>
              <a:gd name="connsiteY2" fmla="*/ 0 h 166915"/>
              <a:gd name="connsiteX3" fmla="*/ 10146846 w 10188575"/>
              <a:gd name="connsiteY3" fmla="*/ 166915 h 166915"/>
              <a:gd name="connsiteX4" fmla="*/ 0 w 10188575"/>
              <a:gd name="connsiteY4" fmla="*/ 166915 h 166915"/>
              <a:gd name="connsiteX0" fmla="*/ 17802 w 10146846"/>
              <a:gd name="connsiteY0" fmla="*/ 166915 h 166915"/>
              <a:gd name="connsiteX1" fmla="*/ 0 w 10146846"/>
              <a:gd name="connsiteY1" fmla="*/ 0 h 166915"/>
              <a:gd name="connsiteX2" fmla="*/ 10146846 w 10146846"/>
              <a:gd name="connsiteY2" fmla="*/ 0 h 166915"/>
              <a:gd name="connsiteX3" fmla="*/ 10105117 w 10146846"/>
              <a:gd name="connsiteY3" fmla="*/ 166915 h 166915"/>
              <a:gd name="connsiteX4" fmla="*/ 17802 w 10146846"/>
              <a:gd name="connsiteY4" fmla="*/ 166915 h 166915"/>
              <a:gd name="connsiteX0" fmla="*/ 3514 w 10132558"/>
              <a:gd name="connsiteY0" fmla="*/ 166915 h 166915"/>
              <a:gd name="connsiteX1" fmla="*/ 0 w 10132558"/>
              <a:gd name="connsiteY1" fmla="*/ 2381 h 166915"/>
              <a:gd name="connsiteX2" fmla="*/ 10132558 w 10132558"/>
              <a:gd name="connsiteY2" fmla="*/ 0 h 166915"/>
              <a:gd name="connsiteX3" fmla="*/ 10090829 w 10132558"/>
              <a:gd name="connsiteY3" fmla="*/ 166915 h 166915"/>
              <a:gd name="connsiteX4" fmla="*/ 3514 w 10132558"/>
              <a:gd name="connsiteY4" fmla="*/ 166915 h 166915"/>
              <a:gd name="connsiteX0" fmla="*/ 154 w 10129198"/>
              <a:gd name="connsiteY0" fmla="*/ 166915 h 166915"/>
              <a:gd name="connsiteX1" fmla="*/ 3784 w 10129198"/>
              <a:gd name="connsiteY1" fmla="*/ 0 h 166915"/>
              <a:gd name="connsiteX2" fmla="*/ 10129198 w 10129198"/>
              <a:gd name="connsiteY2" fmla="*/ 0 h 166915"/>
              <a:gd name="connsiteX3" fmla="*/ 10087469 w 10129198"/>
              <a:gd name="connsiteY3" fmla="*/ 166915 h 166915"/>
              <a:gd name="connsiteX4" fmla="*/ 154 w 10129198"/>
              <a:gd name="connsiteY4" fmla="*/ 166915 h 166915"/>
              <a:gd name="connsiteX0" fmla="*/ 239 w 10126902"/>
              <a:gd name="connsiteY0" fmla="*/ 169296 h 169296"/>
              <a:gd name="connsiteX1" fmla="*/ 1488 w 10126902"/>
              <a:gd name="connsiteY1" fmla="*/ 0 h 169296"/>
              <a:gd name="connsiteX2" fmla="*/ 10126902 w 10126902"/>
              <a:gd name="connsiteY2" fmla="*/ 0 h 169296"/>
              <a:gd name="connsiteX3" fmla="*/ 10085173 w 10126902"/>
              <a:gd name="connsiteY3" fmla="*/ 166915 h 169296"/>
              <a:gd name="connsiteX4" fmla="*/ 239 w 10126902"/>
              <a:gd name="connsiteY4" fmla="*/ 169296 h 169296"/>
              <a:gd name="connsiteX0" fmla="*/ 239 w 10425352"/>
              <a:gd name="connsiteY0" fmla="*/ 175887 h 175887"/>
              <a:gd name="connsiteX1" fmla="*/ 1488 w 10425352"/>
              <a:gd name="connsiteY1" fmla="*/ 6591 h 175887"/>
              <a:gd name="connsiteX2" fmla="*/ 10425352 w 10425352"/>
              <a:gd name="connsiteY2" fmla="*/ 0 h 175887"/>
              <a:gd name="connsiteX3" fmla="*/ 10085173 w 10425352"/>
              <a:gd name="connsiteY3" fmla="*/ 173506 h 175887"/>
              <a:gd name="connsiteX4" fmla="*/ 239 w 10425352"/>
              <a:gd name="connsiteY4" fmla="*/ 175887 h 175887"/>
              <a:gd name="connsiteX0" fmla="*/ 239 w 10635515"/>
              <a:gd name="connsiteY0" fmla="*/ 179182 h 179182"/>
              <a:gd name="connsiteX1" fmla="*/ 1488 w 10635515"/>
              <a:gd name="connsiteY1" fmla="*/ 9886 h 179182"/>
              <a:gd name="connsiteX2" fmla="*/ 10635515 w 10635515"/>
              <a:gd name="connsiteY2" fmla="*/ 0 h 179182"/>
              <a:gd name="connsiteX3" fmla="*/ 10085173 w 10635515"/>
              <a:gd name="connsiteY3" fmla="*/ 176801 h 179182"/>
              <a:gd name="connsiteX4" fmla="*/ 239 w 10635515"/>
              <a:gd name="connsiteY4" fmla="*/ 179182 h 179182"/>
              <a:gd name="connsiteX0" fmla="*/ 239 w 10635515"/>
              <a:gd name="connsiteY0" fmla="*/ 179182 h 179182"/>
              <a:gd name="connsiteX1" fmla="*/ 1488 w 10635515"/>
              <a:gd name="connsiteY1" fmla="*/ 9886 h 179182"/>
              <a:gd name="connsiteX2" fmla="*/ 10635515 w 10635515"/>
              <a:gd name="connsiteY2" fmla="*/ 0 h 179182"/>
              <a:gd name="connsiteX3" fmla="*/ 10224620 w 10635515"/>
              <a:gd name="connsiteY3" fmla="*/ 178449 h 179182"/>
              <a:gd name="connsiteX4" fmla="*/ 239 w 10635515"/>
              <a:gd name="connsiteY4" fmla="*/ 179182 h 179182"/>
              <a:gd name="connsiteX0" fmla="*/ 239 w 10635515"/>
              <a:gd name="connsiteY0" fmla="*/ 174239 h 174239"/>
              <a:gd name="connsiteX1" fmla="*/ 1488 w 10635515"/>
              <a:gd name="connsiteY1" fmla="*/ 4943 h 174239"/>
              <a:gd name="connsiteX2" fmla="*/ 10635515 w 10635515"/>
              <a:gd name="connsiteY2" fmla="*/ 0 h 174239"/>
              <a:gd name="connsiteX3" fmla="*/ 10224620 w 10635515"/>
              <a:gd name="connsiteY3" fmla="*/ 173506 h 174239"/>
              <a:gd name="connsiteX4" fmla="*/ 239 w 10635515"/>
              <a:gd name="connsiteY4" fmla="*/ 174239 h 174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35515" h="174239">
                <a:moveTo>
                  <a:pt x="239" y="174239"/>
                </a:moveTo>
                <a:cubicBezTo>
                  <a:pt x="-932" y="119394"/>
                  <a:pt x="2659" y="59788"/>
                  <a:pt x="1488" y="4943"/>
                </a:cubicBezTo>
                <a:lnTo>
                  <a:pt x="10635515" y="0"/>
                </a:lnTo>
                <a:lnTo>
                  <a:pt x="10224620" y="173506"/>
                </a:lnTo>
                <a:lnTo>
                  <a:pt x="239" y="174239"/>
                </a:lnTo>
                <a:close/>
              </a:path>
            </a:pathLst>
          </a:custGeom>
          <a:pattFill prst="pct70">
            <a:fgClr>
              <a:schemeClr val="bg1">
                <a:lumMod val="75000"/>
              </a:schemeClr>
            </a:fgClr>
            <a:bgClr>
              <a:schemeClr val="bg1"/>
            </a:bgClr>
          </a:patt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11" name="Parallelogram 10"/>
          <p:cNvSpPr/>
          <p:nvPr/>
        </p:nvSpPr>
        <p:spPr>
          <a:xfrm>
            <a:off x="10360480" y="6519067"/>
            <a:ext cx="1831520" cy="330199"/>
          </a:xfrm>
          <a:custGeom>
            <a:avLst/>
            <a:gdLst>
              <a:gd name="connsiteX0" fmla="*/ 0 w 1983938"/>
              <a:gd name="connsiteY0" fmla="*/ 166914 h 166914"/>
              <a:gd name="connsiteX1" fmla="*/ 41729 w 1983938"/>
              <a:gd name="connsiteY1" fmla="*/ 0 h 166914"/>
              <a:gd name="connsiteX2" fmla="*/ 1983938 w 1983938"/>
              <a:gd name="connsiteY2" fmla="*/ 0 h 166914"/>
              <a:gd name="connsiteX3" fmla="*/ 1942210 w 1983938"/>
              <a:gd name="connsiteY3" fmla="*/ 166914 h 166914"/>
              <a:gd name="connsiteX4" fmla="*/ 0 w 1983938"/>
              <a:gd name="connsiteY4" fmla="*/ 166914 h 166914"/>
              <a:gd name="connsiteX0" fmla="*/ 0 w 1942210"/>
              <a:gd name="connsiteY0" fmla="*/ 166914 h 166914"/>
              <a:gd name="connsiteX1" fmla="*/ 41729 w 1942210"/>
              <a:gd name="connsiteY1" fmla="*/ 0 h 166914"/>
              <a:gd name="connsiteX2" fmla="*/ 1910120 w 1942210"/>
              <a:gd name="connsiteY2" fmla="*/ 0 h 166914"/>
              <a:gd name="connsiteX3" fmla="*/ 1942210 w 1942210"/>
              <a:gd name="connsiteY3" fmla="*/ 166914 h 166914"/>
              <a:gd name="connsiteX4" fmla="*/ 0 w 1942210"/>
              <a:gd name="connsiteY4" fmla="*/ 166914 h 166914"/>
              <a:gd name="connsiteX0" fmla="*/ 0 w 1913635"/>
              <a:gd name="connsiteY0" fmla="*/ 166914 h 166914"/>
              <a:gd name="connsiteX1" fmla="*/ 41729 w 1913635"/>
              <a:gd name="connsiteY1" fmla="*/ 0 h 166914"/>
              <a:gd name="connsiteX2" fmla="*/ 1910120 w 1913635"/>
              <a:gd name="connsiteY2" fmla="*/ 0 h 166914"/>
              <a:gd name="connsiteX3" fmla="*/ 1913635 w 1913635"/>
              <a:gd name="connsiteY3" fmla="*/ 166914 h 166914"/>
              <a:gd name="connsiteX4" fmla="*/ 0 w 1913635"/>
              <a:gd name="connsiteY4" fmla="*/ 166914 h 166914"/>
              <a:gd name="connsiteX0" fmla="*/ 0 w 1913635"/>
              <a:gd name="connsiteY0" fmla="*/ 170187 h 170187"/>
              <a:gd name="connsiteX1" fmla="*/ 352879 w 1913635"/>
              <a:gd name="connsiteY1" fmla="*/ 0 h 170187"/>
              <a:gd name="connsiteX2" fmla="*/ 1910120 w 1913635"/>
              <a:gd name="connsiteY2" fmla="*/ 3273 h 170187"/>
              <a:gd name="connsiteX3" fmla="*/ 1913635 w 1913635"/>
              <a:gd name="connsiteY3" fmla="*/ 170187 h 170187"/>
              <a:gd name="connsiteX4" fmla="*/ 0 w 1913635"/>
              <a:gd name="connsiteY4" fmla="*/ 170187 h 1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635" h="170187">
                <a:moveTo>
                  <a:pt x="0" y="170187"/>
                </a:moveTo>
                <a:lnTo>
                  <a:pt x="352879" y="0"/>
                </a:lnTo>
                <a:lnTo>
                  <a:pt x="1910120" y="3273"/>
                </a:lnTo>
                <a:cubicBezTo>
                  <a:pt x="1911292" y="58911"/>
                  <a:pt x="1912463" y="114549"/>
                  <a:pt x="1913635" y="170187"/>
                </a:cubicBezTo>
                <a:lnTo>
                  <a:pt x="0" y="170187"/>
                </a:lnTo>
                <a:close/>
              </a:path>
            </a:pathLst>
          </a:custGeom>
          <a:pattFill prst="pct70">
            <a:fgClr>
              <a:schemeClr val="accent4"/>
            </a:fgClr>
            <a:bgClr>
              <a:schemeClr val="bg1"/>
            </a:bgClr>
          </a:patt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3" name="Parallelogram 12"/>
          <p:cNvSpPr/>
          <p:nvPr/>
        </p:nvSpPr>
        <p:spPr>
          <a:xfrm>
            <a:off x="9680574" y="6524623"/>
            <a:ext cx="841376" cy="330201"/>
          </a:xfrm>
          <a:custGeom>
            <a:avLst/>
            <a:gdLst>
              <a:gd name="connsiteX0" fmla="*/ 0 w 812801"/>
              <a:gd name="connsiteY0" fmla="*/ 333376 h 333376"/>
              <a:gd name="connsiteX1" fmla="*/ 83344 w 812801"/>
              <a:gd name="connsiteY1" fmla="*/ 0 h 333376"/>
              <a:gd name="connsiteX2" fmla="*/ 812801 w 812801"/>
              <a:gd name="connsiteY2" fmla="*/ 0 h 333376"/>
              <a:gd name="connsiteX3" fmla="*/ 729457 w 812801"/>
              <a:gd name="connsiteY3" fmla="*/ 333376 h 333376"/>
              <a:gd name="connsiteX4" fmla="*/ 0 w 812801"/>
              <a:gd name="connsiteY4" fmla="*/ 333376 h 333376"/>
              <a:gd name="connsiteX0" fmla="*/ 0 w 1111251"/>
              <a:gd name="connsiteY0" fmla="*/ 330201 h 333376"/>
              <a:gd name="connsiteX1" fmla="*/ 381794 w 1111251"/>
              <a:gd name="connsiteY1" fmla="*/ 0 h 333376"/>
              <a:gd name="connsiteX2" fmla="*/ 1111251 w 1111251"/>
              <a:gd name="connsiteY2" fmla="*/ 0 h 333376"/>
              <a:gd name="connsiteX3" fmla="*/ 1027907 w 1111251"/>
              <a:gd name="connsiteY3" fmla="*/ 333376 h 333376"/>
              <a:gd name="connsiteX4" fmla="*/ 0 w 1111251"/>
              <a:gd name="connsiteY4" fmla="*/ 330201 h 333376"/>
              <a:gd name="connsiteX0" fmla="*/ 0 w 1111251"/>
              <a:gd name="connsiteY0" fmla="*/ 330201 h 330201"/>
              <a:gd name="connsiteX1" fmla="*/ 381794 w 1111251"/>
              <a:gd name="connsiteY1" fmla="*/ 0 h 330201"/>
              <a:gd name="connsiteX2" fmla="*/ 1111251 w 1111251"/>
              <a:gd name="connsiteY2" fmla="*/ 0 h 330201"/>
              <a:gd name="connsiteX3" fmla="*/ 805657 w 1111251"/>
              <a:gd name="connsiteY3" fmla="*/ 320676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815976"/>
              <a:gd name="connsiteY0" fmla="*/ 330201 h 330201"/>
              <a:gd name="connsiteX1" fmla="*/ 381794 w 815976"/>
              <a:gd name="connsiteY1" fmla="*/ 0 h 330201"/>
              <a:gd name="connsiteX2" fmla="*/ 815976 w 815976"/>
              <a:gd name="connsiteY2" fmla="*/ 0 h 330201"/>
              <a:gd name="connsiteX3" fmla="*/ 450057 w 815976"/>
              <a:gd name="connsiteY3" fmla="*/ 330201 h 330201"/>
              <a:gd name="connsiteX4" fmla="*/ 0 w 815976"/>
              <a:gd name="connsiteY4" fmla="*/ 330201 h 330201"/>
              <a:gd name="connsiteX0" fmla="*/ 0 w 841376"/>
              <a:gd name="connsiteY0" fmla="*/ 330201 h 330201"/>
              <a:gd name="connsiteX1" fmla="*/ 381794 w 841376"/>
              <a:gd name="connsiteY1" fmla="*/ 0 h 330201"/>
              <a:gd name="connsiteX2" fmla="*/ 841376 w 841376"/>
              <a:gd name="connsiteY2" fmla="*/ 0 h 330201"/>
              <a:gd name="connsiteX3" fmla="*/ 450057 w 841376"/>
              <a:gd name="connsiteY3" fmla="*/ 330201 h 330201"/>
              <a:gd name="connsiteX4" fmla="*/ 0 w 841376"/>
              <a:gd name="connsiteY4" fmla="*/ 330201 h 33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376" h="330201">
                <a:moveTo>
                  <a:pt x="0" y="330201"/>
                </a:moveTo>
                <a:lnTo>
                  <a:pt x="381794" y="0"/>
                </a:lnTo>
                <a:lnTo>
                  <a:pt x="841376" y="0"/>
                </a:lnTo>
                <a:lnTo>
                  <a:pt x="450057" y="330201"/>
                </a:lnTo>
                <a:lnTo>
                  <a:pt x="0" y="330201"/>
                </a:lnTo>
                <a:close/>
              </a:path>
            </a:pathLst>
          </a:custGeom>
          <a:pattFill prst="pct70">
            <a:fgClr>
              <a:schemeClr val="accent5">
                <a:lumMod val="50000"/>
              </a:schemeClr>
            </a:fgClr>
            <a:bgClr>
              <a:schemeClr val="bg1"/>
            </a:bgClr>
          </a:patt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306EBDAB-6567-4BB5-A72D-B8C120B081C9}"/>
              </a:ext>
            </a:extLst>
          </p:cNvPr>
          <p:cNvSpPr txBox="1"/>
          <p:nvPr/>
        </p:nvSpPr>
        <p:spPr>
          <a:xfrm>
            <a:off x="30144" y="6484140"/>
            <a:ext cx="12161855" cy="373859"/>
          </a:xfrm>
          <a:prstGeom prst="rect">
            <a:avLst/>
          </a:prstGeom>
          <a:noFill/>
        </p:spPr>
        <p:txBody>
          <a:bodyPr wrap="square" rtlCol="0" anchor="ctr">
            <a:noAutofit/>
          </a:bodyPr>
          <a:lstStyle/>
          <a:p>
            <a:pPr indent="361950"/>
            <a:endParaRPr lang="en-ZA" sz="1000" b="1" dirty="0"/>
          </a:p>
        </p:txBody>
      </p:sp>
      <p:sp>
        <p:nvSpPr>
          <p:cNvPr id="5" name="Slide Number Placeholder 4">
            <a:extLst>
              <a:ext uri="{FF2B5EF4-FFF2-40B4-BE49-F238E27FC236}">
                <a16:creationId xmlns:a16="http://schemas.microsoft.com/office/drawing/2014/main" id="{A987B35D-F68B-4006-AC19-5A526609671C}"/>
              </a:ext>
            </a:extLst>
          </p:cNvPr>
          <p:cNvSpPr>
            <a:spLocks noGrp="1"/>
          </p:cNvSpPr>
          <p:nvPr>
            <p:ph type="sldNum" sz="quarter" idx="12"/>
          </p:nvPr>
        </p:nvSpPr>
        <p:spPr>
          <a:xfrm>
            <a:off x="9448800" y="6484141"/>
            <a:ext cx="2743200" cy="365125"/>
          </a:xfrm>
        </p:spPr>
        <p:txBody>
          <a:bodyPr anchor="ctr"/>
          <a:lstStyle/>
          <a:p>
            <a:fld id="{87102F09-8F7D-4EC1-9AE5-82CA77F49212}" type="slidenum">
              <a:rPr lang="en-ZA" b="1" smtClean="0">
                <a:solidFill>
                  <a:schemeClr val="tx1"/>
                </a:solidFill>
              </a:rPr>
              <a:t>11</a:t>
            </a:fld>
            <a:endParaRPr lang="en-ZA" b="1">
              <a:solidFill>
                <a:schemeClr val="tx1"/>
              </a:solidFill>
            </a:endParaRPr>
          </a:p>
        </p:txBody>
      </p:sp>
      <p:sp>
        <p:nvSpPr>
          <p:cNvPr id="90" name="TextBox 104">
            <a:extLst>
              <a:ext uri="{FF2B5EF4-FFF2-40B4-BE49-F238E27FC236}">
                <a16:creationId xmlns:a16="http://schemas.microsoft.com/office/drawing/2014/main" id="{D5A278F4-494E-415E-A3B1-D7D24FEB3AFD}"/>
              </a:ext>
            </a:extLst>
          </p:cNvPr>
          <p:cNvSpPr txBox="1"/>
          <p:nvPr/>
        </p:nvSpPr>
        <p:spPr>
          <a:xfrm>
            <a:off x="5696862" y="1329865"/>
            <a:ext cx="5084457" cy="553998"/>
          </a:xfrm>
          <a:prstGeom prst="rect">
            <a:avLst/>
          </a:prstGeom>
          <a:noFill/>
          <a:ln w="6350">
            <a:noFill/>
            <a:prstDash val="dash"/>
          </a:ln>
        </p:spPr>
        <p:txBody>
          <a:bodyPr wrap="squar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endParaRPr lang="en-ZA" sz="1600" dirty="0">
              <a:solidFill>
                <a:schemeClr val="bg1"/>
              </a:solidFill>
            </a:endParaRPr>
          </a:p>
        </p:txBody>
      </p:sp>
    </p:spTree>
    <p:extLst>
      <p:ext uri="{BB962C8B-B14F-4D97-AF65-F5344CB8AC3E}">
        <p14:creationId xmlns:p14="http://schemas.microsoft.com/office/powerpoint/2010/main" val="11652490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1" y="5646"/>
            <a:ext cx="12192001" cy="805723"/>
          </a:xfrm>
          <a:prstGeom prst="rect">
            <a:avLst/>
          </a:prstGeom>
          <a:solidFill>
            <a:srgbClr val="00266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rtlCol="0" anchor="ctr">
            <a:noAutofit/>
            <a:scene3d>
              <a:camera prst="orthographicFront"/>
              <a:lightRig rig="soft" dir="t"/>
            </a:scene3d>
            <a:sp3d prstMaterial="softEdge">
              <a:bevelT w="25400" h="25400"/>
            </a:sp3d>
          </a:bodyPr>
          <a:lstStyle>
            <a:lvl1pPr algn="r" rtl="0" eaLnBrk="1" latinLnBrk="0" hangingPunct="1">
              <a:spcBef>
                <a:spcPct val="0"/>
              </a:spcBef>
              <a:buNone/>
              <a:defRPr kumimoji="0" sz="3200" b="1" kern="1200">
                <a:solidFill>
                  <a:srgbClr val="9A9B9C"/>
                </a:solidFill>
                <a:effectLst>
                  <a:outerShdw blurRad="31750" dist="25400" dir="5400000" algn="tl" rotWithShape="0">
                    <a:srgbClr val="000000">
                      <a:alpha val="25000"/>
                    </a:srgbClr>
                  </a:outerShdw>
                </a:effectLst>
                <a:latin typeface="+mn-lt"/>
                <a:ea typeface="+mj-ea"/>
                <a:cs typeface="+mj-cs"/>
              </a:defRPr>
            </a:lvl1pPr>
            <a:lvl2pPr>
              <a:defRPr/>
            </a:lvl2pPr>
            <a:lvl3pPr>
              <a:defRPr/>
            </a:lvl3pPr>
            <a:lvl4pPr>
              <a:defRPr/>
            </a:lvl4pPr>
            <a:lvl5pPr>
              <a:defRPr/>
            </a:lvl5pPr>
            <a:lvl6pPr>
              <a:defRPr/>
            </a:lvl6pPr>
            <a:lvl7pPr>
              <a:defRPr/>
            </a:lvl7pPr>
            <a:lvl8pPr>
              <a:defRPr/>
            </a:lvl8pPr>
            <a:lvl9pPr>
              <a:defRPr/>
            </a:lvl9pPr>
            <a:extLst/>
          </a:lstStyle>
          <a:p>
            <a:pPr algn="l">
              <a:defRPr/>
            </a:pPr>
            <a:r>
              <a:rPr lang="en-US" sz="2400" kern="0" dirty="0">
                <a:solidFill>
                  <a:prstClr val="white"/>
                </a:solidFill>
              </a:rPr>
              <a:t>NHFC IN TRANSITION TO BECOME HSDB: CURRENT REALITIES</a:t>
            </a:r>
          </a:p>
        </p:txBody>
      </p:sp>
      <p:sp>
        <p:nvSpPr>
          <p:cNvPr id="8" name="Parallelogram 7"/>
          <p:cNvSpPr/>
          <p:nvPr/>
        </p:nvSpPr>
        <p:spPr>
          <a:xfrm>
            <a:off x="-2" y="6519067"/>
            <a:ext cx="9871077" cy="335757"/>
          </a:xfrm>
          <a:custGeom>
            <a:avLst/>
            <a:gdLst>
              <a:gd name="connsiteX0" fmla="*/ 0 w 10188575"/>
              <a:gd name="connsiteY0" fmla="*/ 166915 h 166915"/>
              <a:gd name="connsiteX1" fmla="*/ 41729 w 10188575"/>
              <a:gd name="connsiteY1" fmla="*/ 0 h 166915"/>
              <a:gd name="connsiteX2" fmla="*/ 10188575 w 10188575"/>
              <a:gd name="connsiteY2" fmla="*/ 0 h 166915"/>
              <a:gd name="connsiteX3" fmla="*/ 10146846 w 10188575"/>
              <a:gd name="connsiteY3" fmla="*/ 166915 h 166915"/>
              <a:gd name="connsiteX4" fmla="*/ 0 w 10188575"/>
              <a:gd name="connsiteY4" fmla="*/ 166915 h 166915"/>
              <a:gd name="connsiteX0" fmla="*/ 17802 w 10146846"/>
              <a:gd name="connsiteY0" fmla="*/ 166915 h 166915"/>
              <a:gd name="connsiteX1" fmla="*/ 0 w 10146846"/>
              <a:gd name="connsiteY1" fmla="*/ 0 h 166915"/>
              <a:gd name="connsiteX2" fmla="*/ 10146846 w 10146846"/>
              <a:gd name="connsiteY2" fmla="*/ 0 h 166915"/>
              <a:gd name="connsiteX3" fmla="*/ 10105117 w 10146846"/>
              <a:gd name="connsiteY3" fmla="*/ 166915 h 166915"/>
              <a:gd name="connsiteX4" fmla="*/ 17802 w 10146846"/>
              <a:gd name="connsiteY4" fmla="*/ 166915 h 166915"/>
              <a:gd name="connsiteX0" fmla="*/ 3514 w 10132558"/>
              <a:gd name="connsiteY0" fmla="*/ 166915 h 166915"/>
              <a:gd name="connsiteX1" fmla="*/ 0 w 10132558"/>
              <a:gd name="connsiteY1" fmla="*/ 2381 h 166915"/>
              <a:gd name="connsiteX2" fmla="*/ 10132558 w 10132558"/>
              <a:gd name="connsiteY2" fmla="*/ 0 h 166915"/>
              <a:gd name="connsiteX3" fmla="*/ 10090829 w 10132558"/>
              <a:gd name="connsiteY3" fmla="*/ 166915 h 166915"/>
              <a:gd name="connsiteX4" fmla="*/ 3514 w 10132558"/>
              <a:gd name="connsiteY4" fmla="*/ 166915 h 166915"/>
              <a:gd name="connsiteX0" fmla="*/ 154 w 10129198"/>
              <a:gd name="connsiteY0" fmla="*/ 166915 h 166915"/>
              <a:gd name="connsiteX1" fmla="*/ 3784 w 10129198"/>
              <a:gd name="connsiteY1" fmla="*/ 0 h 166915"/>
              <a:gd name="connsiteX2" fmla="*/ 10129198 w 10129198"/>
              <a:gd name="connsiteY2" fmla="*/ 0 h 166915"/>
              <a:gd name="connsiteX3" fmla="*/ 10087469 w 10129198"/>
              <a:gd name="connsiteY3" fmla="*/ 166915 h 166915"/>
              <a:gd name="connsiteX4" fmla="*/ 154 w 10129198"/>
              <a:gd name="connsiteY4" fmla="*/ 166915 h 166915"/>
              <a:gd name="connsiteX0" fmla="*/ 239 w 10126902"/>
              <a:gd name="connsiteY0" fmla="*/ 169296 h 169296"/>
              <a:gd name="connsiteX1" fmla="*/ 1488 w 10126902"/>
              <a:gd name="connsiteY1" fmla="*/ 0 h 169296"/>
              <a:gd name="connsiteX2" fmla="*/ 10126902 w 10126902"/>
              <a:gd name="connsiteY2" fmla="*/ 0 h 169296"/>
              <a:gd name="connsiteX3" fmla="*/ 10085173 w 10126902"/>
              <a:gd name="connsiteY3" fmla="*/ 166915 h 169296"/>
              <a:gd name="connsiteX4" fmla="*/ 239 w 10126902"/>
              <a:gd name="connsiteY4" fmla="*/ 169296 h 169296"/>
              <a:gd name="connsiteX0" fmla="*/ 239 w 10425352"/>
              <a:gd name="connsiteY0" fmla="*/ 175887 h 175887"/>
              <a:gd name="connsiteX1" fmla="*/ 1488 w 10425352"/>
              <a:gd name="connsiteY1" fmla="*/ 6591 h 175887"/>
              <a:gd name="connsiteX2" fmla="*/ 10425352 w 10425352"/>
              <a:gd name="connsiteY2" fmla="*/ 0 h 175887"/>
              <a:gd name="connsiteX3" fmla="*/ 10085173 w 10425352"/>
              <a:gd name="connsiteY3" fmla="*/ 173506 h 175887"/>
              <a:gd name="connsiteX4" fmla="*/ 239 w 10425352"/>
              <a:gd name="connsiteY4" fmla="*/ 175887 h 175887"/>
              <a:gd name="connsiteX0" fmla="*/ 239 w 10635515"/>
              <a:gd name="connsiteY0" fmla="*/ 179182 h 179182"/>
              <a:gd name="connsiteX1" fmla="*/ 1488 w 10635515"/>
              <a:gd name="connsiteY1" fmla="*/ 9886 h 179182"/>
              <a:gd name="connsiteX2" fmla="*/ 10635515 w 10635515"/>
              <a:gd name="connsiteY2" fmla="*/ 0 h 179182"/>
              <a:gd name="connsiteX3" fmla="*/ 10085173 w 10635515"/>
              <a:gd name="connsiteY3" fmla="*/ 176801 h 179182"/>
              <a:gd name="connsiteX4" fmla="*/ 239 w 10635515"/>
              <a:gd name="connsiteY4" fmla="*/ 179182 h 179182"/>
              <a:gd name="connsiteX0" fmla="*/ 239 w 10635515"/>
              <a:gd name="connsiteY0" fmla="*/ 179182 h 179182"/>
              <a:gd name="connsiteX1" fmla="*/ 1488 w 10635515"/>
              <a:gd name="connsiteY1" fmla="*/ 9886 h 179182"/>
              <a:gd name="connsiteX2" fmla="*/ 10635515 w 10635515"/>
              <a:gd name="connsiteY2" fmla="*/ 0 h 179182"/>
              <a:gd name="connsiteX3" fmla="*/ 10224620 w 10635515"/>
              <a:gd name="connsiteY3" fmla="*/ 178449 h 179182"/>
              <a:gd name="connsiteX4" fmla="*/ 239 w 10635515"/>
              <a:gd name="connsiteY4" fmla="*/ 179182 h 179182"/>
              <a:gd name="connsiteX0" fmla="*/ 239 w 10635515"/>
              <a:gd name="connsiteY0" fmla="*/ 174239 h 174239"/>
              <a:gd name="connsiteX1" fmla="*/ 1488 w 10635515"/>
              <a:gd name="connsiteY1" fmla="*/ 4943 h 174239"/>
              <a:gd name="connsiteX2" fmla="*/ 10635515 w 10635515"/>
              <a:gd name="connsiteY2" fmla="*/ 0 h 174239"/>
              <a:gd name="connsiteX3" fmla="*/ 10224620 w 10635515"/>
              <a:gd name="connsiteY3" fmla="*/ 173506 h 174239"/>
              <a:gd name="connsiteX4" fmla="*/ 239 w 10635515"/>
              <a:gd name="connsiteY4" fmla="*/ 174239 h 174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35515" h="174239">
                <a:moveTo>
                  <a:pt x="239" y="174239"/>
                </a:moveTo>
                <a:cubicBezTo>
                  <a:pt x="-932" y="119394"/>
                  <a:pt x="2659" y="59788"/>
                  <a:pt x="1488" y="4943"/>
                </a:cubicBezTo>
                <a:lnTo>
                  <a:pt x="10635515" y="0"/>
                </a:lnTo>
                <a:lnTo>
                  <a:pt x="10224620" y="173506"/>
                </a:lnTo>
                <a:lnTo>
                  <a:pt x="239" y="174239"/>
                </a:lnTo>
                <a:close/>
              </a:path>
            </a:pathLst>
          </a:custGeom>
          <a:pattFill prst="pct70">
            <a:fgClr>
              <a:schemeClr val="bg1">
                <a:lumMod val="75000"/>
              </a:schemeClr>
            </a:fgClr>
            <a:bgClr>
              <a:schemeClr val="bg1"/>
            </a:bgClr>
          </a:patt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dirty="0"/>
          </a:p>
        </p:txBody>
      </p:sp>
      <p:sp>
        <p:nvSpPr>
          <p:cNvPr id="11" name="Parallelogram 10"/>
          <p:cNvSpPr/>
          <p:nvPr/>
        </p:nvSpPr>
        <p:spPr>
          <a:xfrm>
            <a:off x="10360480" y="6519067"/>
            <a:ext cx="1831520" cy="330199"/>
          </a:xfrm>
          <a:custGeom>
            <a:avLst/>
            <a:gdLst>
              <a:gd name="connsiteX0" fmla="*/ 0 w 1983938"/>
              <a:gd name="connsiteY0" fmla="*/ 166914 h 166914"/>
              <a:gd name="connsiteX1" fmla="*/ 41729 w 1983938"/>
              <a:gd name="connsiteY1" fmla="*/ 0 h 166914"/>
              <a:gd name="connsiteX2" fmla="*/ 1983938 w 1983938"/>
              <a:gd name="connsiteY2" fmla="*/ 0 h 166914"/>
              <a:gd name="connsiteX3" fmla="*/ 1942210 w 1983938"/>
              <a:gd name="connsiteY3" fmla="*/ 166914 h 166914"/>
              <a:gd name="connsiteX4" fmla="*/ 0 w 1983938"/>
              <a:gd name="connsiteY4" fmla="*/ 166914 h 166914"/>
              <a:gd name="connsiteX0" fmla="*/ 0 w 1942210"/>
              <a:gd name="connsiteY0" fmla="*/ 166914 h 166914"/>
              <a:gd name="connsiteX1" fmla="*/ 41729 w 1942210"/>
              <a:gd name="connsiteY1" fmla="*/ 0 h 166914"/>
              <a:gd name="connsiteX2" fmla="*/ 1910120 w 1942210"/>
              <a:gd name="connsiteY2" fmla="*/ 0 h 166914"/>
              <a:gd name="connsiteX3" fmla="*/ 1942210 w 1942210"/>
              <a:gd name="connsiteY3" fmla="*/ 166914 h 166914"/>
              <a:gd name="connsiteX4" fmla="*/ 0 w 1942210"/>
              <a:gd name="connsiteY4" fmla="*/ 166914 h 166914"/>
              <a:gd name="connsiteX0" fmla="*/ 0 w 1913635"/>
              <a:gd name="connsiteY0" fmla="*/ 166914 h 166914"/>
              <a:gd name="connsiteX1" fmla="*/ 41729 w 1913635"/>
              <a:gd name="connsiteY1" fmla="*/ 0 h 166914"/>
              <a:gd name="connsiteX2" fmla="*/ 1910120 w 1913635"/>
              <a:gd name="connsiteY2" fmla="*/ 0 h 166914"/>
              <a:gd name="connsiteX3" fmla="*/ 1913635 w 1913635"/>
              <a:gd name="connsiteY3" fmla="*/ 166914 h 166914"/>
              <a:gd name="connsiteX4" fmla="*/ 0 w 1913635"/>
              <a:gd name="connsiteY4" fmla="*/ 166914 h 166914"/>
              <a:gd name="connsiteX0" fmla="*/ 0 w 1913635"/>
              <a:gd name="connsiteY0" fmla="*/ 170187 h 170187"/>
              <a:gd name="connsiteX1" fmla="*/ 352879 w 1913635"/>
              <a:gd name="connsiteY1" fmla="*/ 0 h 170187"/>
              <a:gd name="connsiteX2" fmla="*/ 1910120 w 1913635"/>
              <a:gd name="connsiteY2" fmla="*/ 3273 h 170187"/>
              <a:gd name="connsiteX3" fmla="*/ 1913635 w 1913635"/>
              <a:gd name="connsiteY3" fmla="*/ 170187 h 170187"/>
              <a:gd name="connsiteX4" fmla="*/ 0 w 1913635"/>
              <a:gd name="connsiteY4" fmla="*/ 170187 h 1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635" h="170187">
                <a:moveTo>
                  <a:pt x="0" y="170187"/>
                </a:moveTo>
                <a:lnTo>
                  <a:pt x="352879" y="0"/>
                </a:lnTo>
                <a:lnTo>
                  <a:pt x="1910120" y="3273"/>
                </a:lnTo>
                <a:cubicBezTo>
                  <a:pt x="1911292" y="58911"/>
                  <a:pt x="1912463" y="114549"/>
                  <a:pt x="1913635" y="170187"/>
                </a:cubicBezTo>
                <a:lnTo>
                  <a:pt x="0" y="170187"/>
                </a:lnTo>
                <a:close/>
              </a:path>
            </a:pathLst>
          </a:custGeom>
          <a:pattFill prst="pct70">
            <a:fgClr>
              <a:schemeClr val="accent4"/>
            </a:fgClr>
            <a:bgClr>
              <a:schemeClr val="bg1"/>
            </a:bgClr>
          </a:patt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sp>
        <p:nvSpPr>
          <p:cNvPr id="13" name="Parallelogram 12"/>
          <p:cNvSpPr/>
          <p:nvPr/>
        </p:nvSpPr>
        <p:spPr>
          <a:xfrm>
            <a:off x="9680574" y="6524623"/>
            <a:ext cx="841376" cy="330201"/>
          </a:xfrm>
          <a:custGeom>
            <a:avLst/>
            <a:gdLst>
              <a:gd name="connsiteX0" fmla="*/ 0 w 812801"/>
              <a:gd name="connsiteY0" fmla="*/ 333376 h 333376"/>
              <a:gd name="connsiteX1" fmla="*/ 83344 w 812801"/>
              <a:gd name="connsiteY1" fmla="*/ 0 h 333376"/>
              <a:gd name="connsiteX2" fmla="*/ 812801 w 812801"/>
              <a:gd name="connsiteY2" fmla="*/ 0 h 333376"/>
              <a:gd name="connsiteX3" fmla="*/ 729457 w 812801"/>
              <a:gd name="connsiteY3" fmla="*/ 333376 h 333376"/>
              <a:gd name="connsiteX4" fmla="*/ 0 w 812801"/>
              <a:gd name="connsiteY4" fmla="*/ 333376 h 333376"/>
              <a:gd name="connsiteX0" fmla="*/ 0 w 1111251"/>
              <a:gd name="connsiteY0" fmla="*/ 330201 h 333376"/>
              <a:gd name="connsiteX1" fmla="*/ 381794 w 1111251"/>
              <a:gd name="connsiteY1" fmla="*/ 0 h 333376"/>
              <a:gd name="connsiteX2" fmla="*/ 1111251 w 1111251"/>
              <a:gd name="connsiteY2" fmla="*/ 0 h 333376"/>
              <a:gd name="connsiteX3" fmla="*/ 1027907 w 1111251"/>
              <a:gd name="connsiteY3" fmla="*/ 333376 h 333376"/>
              <a:gd name="connsiteX4" fmla="*/ 0 w 1111251"/>
              <a:gd name="connsiteY4" fmla="*/ 330201 h 333376"/>
              <a:gd name="connsiteX0" fmla="*/ 0 w 1111251"/>
              <a:gd name="connsiteY0" fmla="*/ 330201 h 330201"/>
              <a:gd name="connsiteX1" fmla="*/ 381794 w 1111251"/>
              <a:gd name="connsiteY1" fmla="*/ 0 h 330201"/>
              <a:gd name="connsiteX2" fmla="*/ 1111251 w 1111251"/>
              <a:gd name="connsiteY2" fmla="*/ 0 h 330201"/>
              <a:gd name="connsiteX3" fmla="*/ 805657 w 1111251"/>
              <a:gd name="connsiteY3" fmla="*/ 320676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815976"/>
              <a:gd name="connsiteY0" fmla="*/ 330201 h 330201"/>
              <a:gd name="connsiteX1" fmla="*/ 381794 w 815976"/>
              <a:gd name="connsiteY1" fmla="*/ 0 h 330201"/>
              <a:gd name="connsiteX2" fmla="*/ 815976 w 815976"/>
              <a:gd name="connsiteY2" fmla="*/ 0 h 330201"/>
              <a:gd name="connsiteX3" fmla="*/ 450057 w 815976"/>
              <a:gd name="connsiteY3" fmla="*/ 330201 h 330201"/>
              <a:gd name="connsiteX4" fmla="*/ 0 w 815976"/>
              <a:gd name="connsiteY4" fmla="*/ 330201 h 330201"/>
              <a:gd name="connsiteX0" fmla="*/ 0 w 841376"/>
              <a:gd name="connsiteY0" fmla="*/ 330201 h 330201"/>
              <a:gd name="connsiteX1" fmla="*/ 381794 w 841376"/>
              <a:gd name="connsiteY1" fmla="*/ 0 h 330201"/>
              <a:gd name="connsiteX2" fmla="*/ 841376 w 841376"/>
              <a:gd name="connsiteY2" fmla="*/ 0 h 330201"/>
              <a:gd name="connsiteX3" fmla="*/ 450057 w 841376"/>
              <a:gd name="connsiteY3" fmla="*/ 330201 h 330201"/>
              <a:gd name="connsiteX4" fmla="*/ 0 w 841376"/>
              <a:gd name="connsiteY4" fmla="*/ 330201 h 33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376" h="330201">
                <a:moveTo>
                  <a:pt x="0" y="330201"/>
                </a:moveTo>
                <a:lnTo>
                  <a:pt x="381794" y="0"/>
                </a:lnTo>
                <a:lnTo>
                  <a:pt x="841376" y="0"/>
                </a:lnTo>
                <a:lnTo>
                  <a:pt x="450057" y="330201"/>
                </a:lnTo>
                <a:lnTo>
                  <a:pt x="0" y="330201"/>
                </a:lnTo>
                <a:close/>
              </a:path>
            </a:pathLst>
          </a:custGeom>
          <a:pattFill prst="pct70">
            <a:fgClr>
              <a:schemeClr val="accent5">
                <a:lumMod val="50000"/>
              </a:schemeClr>
            </a:fgClr>
            <a:bgClr>
              <a:schemeClr val="bg1"/>
            </a:bgClr>
          </a:patt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p>
        </p:txBody>
      </p:sp>
      <p:sp>
        <p:nvSpPr>
          <p:cNvPr id="3" name="TextBox 2">
            <a:extLst>
              <a:ext uri="{FF2B5EF4-FFF2-40B4-BE49-F238E27FC236}">
                <a16:creationId xmlns:a16="http://schemas.microsoft.com/office/drawing/2014/main" id="{306EBDAB-6567-4BB5-A72D-B8C120B081C9}"/>
              </a:ext>
            </a:extLst>
          </p:cNvPr>
          <p:cNvSpPr txBox="1"/>
          <p:nvPr/>
        </p:nvSpPr>
        <p:spPr>
          <a:xfrm>
            <a:off x="30145" y="6484140"/>
            <a:ext cx="9650430" cy="373859"/>
          </a:xfrm>
          <a:prstGeom prst="rect">
            <a:avLst/>
          </a:prstGeom>
          <a:noFill/>
        </p:spPr>
        <p:txBody>
          <a:bodyPr wrap="square" rtlCol="0" anchor="ctr">
            <a:noAutofit/>
          </a:bodyPr>
          <a:lstStyle/>
          <a:p>
            <a:pPr marL="354013"/>
            <a:endParaRPr lang="en-US" sz="1000" b="1" dirty="0"/>
          </a:p>
        </p:txBody>
      </p:sp>
      <p:sp>
        <p:nvSpPr>
          <p:cNvPr id="5" name="Slide Number Placeholder 4">
            <a:extLst>
              <a:ext uri="{FF2B5EF4-FFF2-40B4-BE49-F238E27FC236}">
                <a16:creationId xmlns:a16="http://schemas.microsoft.com/office/drawing/2014/main" id="{A987B35D-F68B-4006-AC19-5A526609671C}"/>
              </a:ext>
            </a:extLst>
          </p:cNvPr>
          <p:cNvSpPr>
            <a:spLocks noGrp="1"/>
          </p:cNvSpPr>
          <p:nvPr>
            <p:ph type="sldNum" sz="quarter" idx="12"/>
          </p:nvPr>
        </p:nvSpPr>
        <p:spPr>
          <a:xfrm>
            <a:off x="9448800" y="6484141"/>
            <a:ext cx="2743200" cy="365125"/>
          </a:xfrm>
        </p:spPr>
        <p:txBody>
          <a:bodyPr anchor="ctr"/>
          <a:lstStyle/>
          <a:p>
            <a:fld id="{87102F09-8F7D-4EC1-9AE5-82CA77F49212}" type="slidenum">
              <a:rPr lang="en-ZA" b="1" smtClean="0">
                <a:solidFill>
                  <a:schemeClr val="tx1"/>
                </a:solidFill>
              </a:rPr>
              <a:t>12</a:t>
            </a:fld>
            <a:endParaRPr lang="en-ZA" b="1" dirty="0">
              <a:solidFill>
                <a:schemeClr val="tx1"/>
              </a:solidFill>
            </a:endParaRPr>
          </a:p>
        </p:txBody>
      </p:sp>
      <p:grpSp>
        <p:nvGrpSpPr>
          <p:cNvPr id="4" name="Group 3"/>
          <p:cNvGrpSpPr/>
          <p:nvPr/>
        </p:nvGrpSpPr>
        <p:grpSpPr>
          <a:xfrm>
            <a:off x="1819159" y="1389495"/>
            <a:ext cx="9749063" cy="4717005"/>
            <a:chOff x="6795197" y="1372392"/>
            <a:chExt cx="4765608" cy="4717005"/>
          </a:xfrm>
        </p:grpSpPr>
        <p:sp>
          <p:nvSpPr>
            <p:cNvPr id="81" name="TextBox 80">
              <a:extLst>
                <a:ext uri="{FF2B5EF4-FFF2-40B4-BE49-F238E27FC236}">
                  <a16:creationId xmlns:a16="http://schemas.microsoft.com/office/drawing/2014/main" id="{85464D0F-F3A9-447F-8543-DDA43D55C895}"/>
                </a:ext>
              </a:extLst>
            </p:cNvPr>
            <p:cNvSpPr txBox="1"/>
            <p:nvPr/>
          </p:nvSpPr>
          <p:spPr>
            <a:xfrm>
              <a:off x="6795197" y="1372392"/>
              <a:ext cx="4765608" cy="523220"/>
            </a:xfrm>
            <a:prstGeom prst="rect">
              <a:avLst/>
            </a:prstGeom>
            <a:noFill/>
          </p:spPr>
          <p:txBody>
            <a:bodyPr wrap="square" rtlCol="0">
              <a:spAutoFit/>
            </a:bodyPr>
            <a:lstStyle/>
            <a:p>
              <a:r>
                <a:rPr lang="en-US" sz="1400" dirty="0"/>
                <a:t>The housing market is </a:t>
              </a:r>
              <a:r>
                <a:rPr lang="en-US" sz="1400" b="1" dirty="0"/>
                <a:t>still very fractured</a:t>
              </a:r>
              <a:r>
                <a:rPr lang="en-US" sz="1400" dirty="0"/>
                <a:t>, despite the efforts and progress made, with citizens having </a:t>
              </a:r>
              <a:r>
                <a:rPr lang="en-US" sz="1400" b="1" dirty="0"/>
                <a:t>inequitable access to the benefits</a:t>
              </a:r>
              <a:r>
                <a:rPr lang="en-US" sz="1400" dirty="0"/>
                <a:t>, resulting in an </a:t>
              </a:r>
              <a:r>
                <a:rPr lang="en-US" sz="1400" b="1" dirty="0"/>
                <a:t>affordability problem</a:t>
              </a:r>
              <a:endParaRPr lang="en-ZA" sz="1400" b="1" dirty="0"/>
            </a:p>
          </p:txBody>
        </p:sp>
        <p:sp>
          <p:nvSpPr>
            <p:cNvPr id="83" name="TextBox 82">
              <a:extLst>
                <a:ext uri="{FF2B5EF4-FFF2-40B4-BE49-F238E27FC236}">
                  <a16:creationId xmlns:a16="http://schemas.microsoft.com/office/drawing/2014/main" id="{5E6006EC-4CB2-4540-8C6D-A5F509EC1C90}"/>
                </a:ext>
              </a:extLst>
            </p:cNvPr>
            <p:cNvSpPr txBox="1"/>
            <p:nvPr/>
          </p:nvSpPr>
          <p:spPr>
            <a:xfrm>
              <a:off x="6795197" y="2228973"/>
              <a:ext cx="4765608" cy="307777"/>
            </a:xfrm>
            <a:prstGeom prst="rect">
              <a:avLst/>
            </a:prstGeom>
            <a:noFill/>
          </p:spPr>
          <p:txBody>
            <a:bodyPr wrap="square" rtlCol="0">
              <a:spAutoFit/>
            </a:bodyPr>
            <a:lstStyle/>
            <a:p>
              <a:r>
                <a:rPr lang="en-US" sz="1400" dirty="0"/>
                <a:t>There are </a:t>
              </a:r>
              <a:r>
                <a:rPr lang="en-US" sz="1400" b="1" dirty="0"/>
                <a:t>16,7m households across SA</a:t>
              </a:r>
              <a:r>
                <a:rPr lang="en-US" sz="1400" dirty="0"/>
                <a:t>, </a:t>
              </a:r>
              <a:r>
                <a:rPr lang="en-US" sz="1400" b="1" dirty="0"/>
                <a:t>81,1% are considered formal dwellings</a:t>
              </a:r>
              <a:endParaRPr lang="en-ZA" sz="1400" b="1" dirty="0"/>
            </a:p>
          </p:txBody>
        </p:sp>
        <p:sp>
          <p:nvSpPr>
            <p:cNvPr id="85" name="TextBox 84">
              <a:extLst>
                <a:ext uri="{FF2B5EF4-FFF2-40B4-BE49-F238E27FC236}">
                  <a16:creationId xmlns:a16="http://schemas.microsoft.com/office/drawing/2014/main" id="{0C7BBF0C-0098-44A5-949F-69A462E0B062}"/>
                </a:ext>
              </a:extLst>
            </p:cNvPr>
            <p:cNvSpPr txBox="1"/>
            <p:nvPr/>
          </p:nvSpPr>
          <p:spPr>
            <a:xfrm>
              <a:off x="6795197" y="2900888"/>
              <a:ext cx="4765608" cy="307777"/>
            </a:xfrm>
            <a:prstGeom prst="rect">
              <a:avLst/>
            </a:prstGeom>
            <a:noFill/>
          </p:spPr>
          <p:txBody>
            <a:bodyPr wrap="square" rtlCol="0">
              <a:spAutoFit/>
            </a:bodyPr>
            <a:lstStyle/>
            <a:p>
              <a:r>
                <a:rPr lang="en-US" sz="1400" b="1" dirty="0"/>
                <a:t>13,1% of households </a:t>
              </a:r>
              <a:r>
                <a:rPr lang="en-US" sz="1400" dirty="0"/>
                <a:t>are still considered </a:t>
              </a:r>
              <a:r>
                <a:rPr lang="en-US" sz="1400" b="1" dirty="0"/>
                <a:t>informal, </a:t>
              </a:r>
              <a:r>
                <a:rPr lang="en-US" sz="1400" dirty="0"/>
                <a:t>being</a:t>
              </a:r>
              <a:r>
                <a:rPr lang="en-US" sz="1400" b="1" dirty="0"/>
                <a:t> slums or backyard dwellings</a:t>
              </a:r>
              <a:endParaRPr lang="en-ZA" sz="1400" b="1" dirty="0"/>
            </a:p>
          </p:txBody>
        </p:sp>
        <p:sp>
          <p:nvSpPr>
            <p:cNvPr id="89" name="TextBox 88">
              <a:extLst>
                <a:ext uri="{FF2B5EF4-FFF2-40B4-BE49-F238E27FC236}">
                  <a16:creationId xmlns:a16="http://schemas.microsoft.com/office/drawing/2014/main" id="{F8BE72CA-EA12-4F2B-8E0F-B09F60397465}"/>
                </a:ext>
              </a:extLst>
            </p:cNvPr>
            <p:cNvSpPr txBox="1"/>
            <p:nvPr/>
          </p:nvSpPr>
          <p:spPr>
            <a:xfrm>
              <a:off x="6795197" y="3572803"/>
              <a:ext cx="4765608" cy="307777"/>
            </a:xfrm>
            <a:prstGeom prst="rect">
              <a:avLst/>
            </a:prstGeom>
            <a:noFill/>
          </p:spPr>
          <p:txBody>
            <a:bodyPr wrap="square" rtlCol="0">
              <a:spAutoFit/>
            </a:bodyPr>
            <a:lstStyle/>
            <a:p>
              <a:r>
                <a:rPr lang="en-US" sz="1400" dirty="0"/>
                <a:t>There is an estimated </a:t>
              </a:r>
              <a:r>
                <a:rPr lang="en-US" sz="1400" b="1" dirty="0"/>
                <a:t>housing backlog </a:t>
              </a:r>
              <a:r>
                <a:rPr lang="en-US" sz="1400" dirty="0"/>
                <a:t>of between </a:t>
              </a:r>
              <a:r>
                <a:rPr lang="en-US" sz="1400" b="1" dirty="0"/>
                <a:t>2,3m and 3,7m households, growing at 178 000 a year</a:t>
              </a:r>
              <a:endParaRPr lang="en-ZA" sz="1400" b="1" dirty="0"/>
            </a:p>
          </p:txBody>
        </p:sp>
        <p:sp>
          <p:nvSpPr>
            <p:cNvPr id="32" name="TextBox 31">
              <a:extLst>
                <a:ext uri="{FF2B5EF4-FFF2-40B4-BE49-F238E27FC236}">
                  <a16:creationId xmlns:a16="http://schemas.microsoft.com/office/drawing/2014/main" id="{1387F14A-C0A2-F445-AE1F-E9CDAF739507}"/>
                </a:ext>
              </a:extLst>
            </p:cNvPr>
            <p:cNvSpPr txBox="1"/>
            <p:nvPr/>
          </p:nvSpPr>
          <p:spPr>
            <a:xfrm>
              <a:off x="6795197" y="4244718"/>
              <a:ext cx="4765608" cy="307777"/>
            </a:xfrm>
            <a:prstGeom prst="rect">
              <a:avLst/>
            </a:prstGeom>
            <a:noFill/>
          </p:spPr>
          <p:txBody>
            <a:bodyPr wrap="square" rtlCol="0">
              <a:spAutoFit/>
            </a:bodyPr>
            <a:lstStyle/>
            <a:p>
              <a:r>
                <a:rPr lang="en-US" sz="1400" b="1" dirty="0"/>
                <a:t>7,7m</a:t>
              </a:r>
              <a:r>
                <a:rPr lang="en-US" sz="1400" dirty="0"/>
                <a:t> households (46,3%) </a:t>
              </a:r>
              <a:r>
                <a:rPr lang="en-US" sz="1400" b="1" dirty="0"/>
                <a:t>earn less than R3 500 </a:t>
              </a:r>
              <a:r>
                <a:rPr lang="en-US" sz="1400" dirty="0"/>
                <a:t>a month, </a:t>
              </a:r>
              <a:r>
                <a:rPr lang="en-US" sz="1400" b="1" dirty="0"/>
                <a:t>qualifying for Government Subsidy (RDP)</a:t>
              </a:r>
              <a:endParaRPr lang="en-ZA" sz="1400" b="1" dirty="0"/>
            </a:p>
          </p:txBody>
        </p:sp>
        <p:sp>
          <p:nvSpPr>
            <p:cNvPr id="33" name="TextBox 32">
              <a:extLst>
                <a:ext uri="{FF2B5EF4-FFF2-40B4-BE49-F238E27FC236}">
                  <a16:creationId xmlns:a16="http://schemas.microsoft.com/office/drawing/2014/main" id="{09ABD54E-4C45-FE4B-B851-DB6E277661CA}"/>
                </a:ext>
              </a:extLst>
            </p:cNvPr>
            <p:cNvSpPr txBox="1"/>
            <p:nvPr/>
          </p:nvSpPr>
          <p:spPr>
            <a:xfrm>
              <a:off x="6795197" y="4916633"/>
              <a:ext cx="4765608" cy="523220"/>
            </a:xfrm>
            <a:prstGeom prst="rect">
              <a:avLst/>
            </a:prstGeom>
            <a:noFill/>
          </p:spPr>
          <p:txBody>
            <a:bodyPr wrap="square" rtlCol="0">
              <a:spAutoFit/>
            </a:bodyPr>
            <a:lstStyle/>
            <a:p>
              <a:r>
                <a:rPr lang="en-US" sz="1400" b="1" dirty="0"/>
                <a:t>7,2m</a:t>
              </a:r>
              <a:r>
                <a:rPr lang="en-US" sz="1400" dirty="0"/>
                <a:t> households (37,1%) earn </a:t>
              </a:r>
              <a:r>
                <a:rPr lang="en-US" sz="1400" b="1" dirty="0"/>
                <a:t>between R3 501 and R20 000</a:t>
              </a:r>
              <a:r>
                <a:rPr lang="en-US" sz="1400" dirty="0"/>
                <a:t> a month</a:t>
              </a:r>
              <a:r>
                <a:rPr lang="en-US" sz="1400" b="1" dirty="0"/>
                <a:t>, </a:t>
              </a:r>
              <a:r>
                <a:rPr lang="en-US" sz="1400" dirty="0"/>
                <a:t>making them </a:t>
              </a:r>
              <a:r>
                <a:rPr lang="en-US" sz="1400" b="1" dirty="0"/>
                <a:t>ineligible for RDP </a:t>
              </a:r>
              <a:r>
                <a:rPr lang="en-US" sz="1400" dirty="0"/>
                <a:t>but </a:t>
              </a:r>
              <a:r>
                <a:rPr lang="en-US" sz="1400" b="1" dirty="0"/>
                <a:t>unable to afford </a:t>
              </a:r>
              <a:r>
                <a:rPr lang="en-US" sz="1400" dirty="0"/>
                <a:t>to participate in the private property market</a:t>
              </a:r>
            </a:p>
          </p:txBody>
        </p:sp>
        <p:sp>
          <p:nvSpPr>
            <p:cNvPr id="34" name="TextBox 33">
              <a:extLst>
                <a:ext uri="{FF2B5EF4-FFF2-40B4-BE49-F238E27FC236}">
                  <a16:creationId xmlns:a16="http://schemas.microsoft.com/office/drawing/2014/main" id="{0AA62F9D-E708-CA43-8216-579DF647912D}"/>
                </a:ext>
              </a:extLst>
            </p:cNvPr>
            <p:cNvSpPr txBox="1"/>
            <p:nvPr/>
          </p:nvSpPr>
          <p:spPr>
            <a:xfrm>
              <a:off x="6795197" y="5781620"/>
              <a:ext cx="4765608" cy="307777"/>
            </a:xfrm>
            <a:prstGeom prst="rect">
              <a:avLst/>
            </a:prstGeom>
            <a:noFill/>
          </p:spPr>
          <p:txBody>
            <a:bodyPr wrap="square" rtlCol="0">
              <a:spAutoFit/>
            </a:bodyPr>
            <a:lstStyle/>
            <a:p>
              <a:r>
                <a:rPr lang="en-US" sz="1400" b="1" dirty="0"/>
                <a:t>0,8m</a:t>
              </a:r>
              <a:r>
                <a:rPr lang="en-US" sz="1400" dirty="0"/>
                <a:t> households (4,3%) earn </a:t>
              </a:r>
              <a:r>
                <a:rPr lang="en-US" sz="1400" b="1" dirty="0"/>
                <a:t>between R15 000 and R20 000</a:t>
              </a:r>
              <a:r>
                <a:rPr lang="en-US" sz="1400" dirty="0"/>
                <a:t> a month</a:t>
              </a:r>
            </a:p>
          </p:txBody>
        </p:sp>
      </p:grpSp>
      <p:grpSp>
        <p:nvGrpSpPr>
          <p:cNvPr id="2" name="Group 1"/>
          <p:cNvGrpSpPr/>
          <p:nvPr/>
        </p:nvGrpSpPr>
        <p:grpSpPr>
          <a:xfrm>
            <a:off x="502983" y="1261112"/>
            <a:ext cx="540000" cy="4896702"/>
            <a:chOff x="6255197" y="1351718"/>
            <a:chExt cx="540000" cy="4896702"/>
          </a:xfrm>
        </p:grpSpPr>
        <p:pic>
          <p:nvPicPr>
            <p:cNvPr id="80" name="Graphic 79" descr="Pie chart">
              <a:extLst>
                <a:ext uri="{FF2B5EF4-FFF2-40B4-BE49-F238E27FC236}">
                  <a16:creationId xmlns:a16="http://schemas.microsoft.com/office/drawing/2014/main" id="{44ED317D-FE6D-44DD-9BF4-F4C3D2EAEBE2}"/>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6255197" y="2075334"/>
              <a:ext cx="540000" cy="540000"/>
            </a:xfrm>
            <a:prstGeom prst="rect">
              <a:avLst/>
            </a:prstGeom>
          </p:spPr>
        </p:pic>
        <p:pic>
          <p:nvPicPr>
            <p:cNvPr id="82" name="Graphic 81" descr="Puzzle pieces">
              <a:extLst>
                <a:ext uri="{FF2B5EF4-FFF2-40B4-BE49-F238E27FC236}">
                  <a16:creationId xmlns:a16="http://schemas.microsoft.com/office/drawing/2014/main" id="{AEFE3D8E-B003-4671-AF06-C28727A55D3E}"/>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6255197" y="1351718"/>
              <a:ext cx="540000" cy="540000"/>
            </a:xfrm>
            <a:prstGeom prst="rect">
              <a:avLst/>
            </a:prstGeom>
          </p:spPr>
        </p:pic>
        <p:pic>
          <p:nvPicPr>
            <p:cNvPr id="84" name="Picture 83">
              <a:extLst>
                <a:ext uri="{FF2B5EF4-FFF2-40B4-BE49-F238E27FC236}">
                  <a16:creationId xmlns:a16="http://schemas.microsoft.com/office/drawing/2014/main" id="{A47C9881-84B1-43AA-AB5F-54703396BE96}"/>
                </a:ext>
              </a:extLst>
            </p:cNvPr>
            <p:cNvPicPr>
              <a:picLocks noChangeAspect="1"/>
            </p:cNvPicPr>
            <p:nvPr/>
          </p:nvPicPr>
          <p:blipFill rotWithShape="1">
            <a:blip r:embed="rId6"/>
            <a:srcRect l="22822" t="17037" r="21155" b="26939"/>
            <a:stretch/>
          </p:blipFill>
          <p:spPr>
            <a:xfrm>
              <a:off x="6255197" y="2798950"/>
              <a:ext cx="540000" cy="540000"/>
            </a:xfrm>
            <a:prstGeom prst="rect">
              <a:avLst/>
            </a:prstGeom>
          </p:spPr>
        </p:pic>
        <p:pic>
          <p:nvPicPr>
            <p:cNvPr id="88" name="Picture 87">
              <a:extLst>
                <a:ext uri="{FF2B5EF4-FFF2-40B4-BE49-F238E27FC236}">
                  <a16:creationId xmlns:a16="http://schemas.microsoft.com/office/drawing/2014/main" id="{AA8FCE28-28C1-448D-A074-E0A49E8C72C3}"/>
                </a:ext>
              </a:extLst>
            </p:cNvPr>
            <p:cNvPicPr>
              <a:picLocks noChangeAspect="1"/>
            </p:cNvPicPr>
            <p:nvPr/>
          </p:nvPicPr>
          <p:blipFill rotWithShape="1">
            <a:blip r:embed="rId7"/>
            <a:srcRect l="17677" t="11694" r="17877" b="23861"/>
            <a:stretch/>
          </p:blipFill>
          <p:spPr>
            <a:xfrm>
              <a:off x="6255197" y="3522566"/>
              <a:ext cx="540000" cy="540000"/>
            </a:xfrm>
            <a:prstGeom prst="rect">
              <a:avLst/>
            </a:prstGeom>
          </p:spPr>
        </p:pic>
        <p:pic>
          <p:nvPicPr>
            <p:cNvPr id="35" name="Picture 34">
              <a:extLst>
                <a:ext uri="{FF2B5EF4-FFF2-40B4-BE49-F238E27FC236}">
                  <a16:creationId xmlns:a16="http://schemas.microsoft.com/office/drawing/2014/main" id="{1219F366-144F-7845-826F-178428616A8E}"/>
                </a:ext>
              </a:extLst>
            </p:cNvPr>
            <p:cNvPicPr>
              <a:picLocks noChangeAspect="1"/>
            </p:cNvPicPr>
            <p:nvPr/>
          </p:nvPicPr>
          <p:blipFill>
            <a:blip r:embed="rId8"/>
            <a:stretch>
              <a:fillRect/>
            </a:stretch>
          </p:blipFill>
          <p:spPr>
            <a:xfrm>
              <a:off x="6255197" y="4214738"/>
              <a:ext cx="540000" cy="530001"/>
            </a:xfrm>
            <a:prstGeom prst="rect">
              <a:avLst/>
            </a:prstGeom>
          </p:spPr>
        </p:pic>
        <p:pic>
          <p:nvPicPr>
            <p:cNvPr id="36" name="Picture 35">
              <a:extLst>
                <a:ext uri="{FF2B5EF4-FFF2-40B4-BE49-F238E27FC236}">
                  <a16:creationId xmlns:a16="http://schemas.microsoft.com/office/drawing/2014/main" id="{D157DF36-6402-F646-BFAA-063FEC0405D6}"/>
                </a:ext>
              </a:extLst>
            </p:cNvPr>
            <p:cNvPicPr>
              <a:picLocks noChangeAspect="1"/>
            </p:cNvPicPr>
            <p:nvPr/>
          </p:nvPicPr>
          <p:blipFill>
            <a:blip r:embed="rId9"/>
            <a:stretch>
              <a:fillRect/>
            </a:stretch>
          </p:blipFill>
          <p:spPr>
            <a:xfrm>
              <a:off x="6255197" y="4963395"/>
              <a:ext cx="540000" cy="571765"/>
            </a:xfrm>
            <a:prstGeom prst="rect">
              <a:avLst/>
            </a:prstGeom>
          </p:spPr>
        </p:pic>
        <p:pic>
          <p:nvPicPr>
            <p:cNvPr id="37" name="Picture 36">
              <a:extLst>
                <a:ext uri="{FF2B5EF4-FFF2-40B4-BE49-F238E27FC236}">
                  <a16:creationId xmlns:a16="http://schemas.microsoft.com/office/drawing/2014/main" id="{F582D38E-27F8-604C-BF36-2FDF3472C7CC}"/>
                </a:ext>
              </a:extLst>
            </p:cNvPr>
            <p:cNvPicPr>
              <a:picLocks noChangeAspect="1"/>
            </p:cNvPicPr>
            <p:nvPr/>
          </p:nvPicPr>
          <p:blipFill>
            <a:blip r:embed="rId10"/>
            <a:stretch>
              <a:fillRect/>
            </a:stretch>
          </p:blipFill>
          <p:spPr>
            <a:xfrm>
              <a:off x="6255197" y="5667665"/>
              <a:ext cx="540000" cy="580755"/>
            </a:xfrm>
            <a:prstGeom prst="rect">
              <a:avLst/>
            </a:prstGeom>
          </p:spPr>
        </p:pic>
      </p:grpSp>
    </p:spTree>
    <p:extLst>
      <p:ext uri="{BB962C8B-B14F-4D97-AF65-F5344CB8AC3E}">
        <p14:creationId xmlns:p14="http://schemas.microsoft.com/office/powerpoint/2010/main" val="2296030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1" y="5646"/>
            <a:ext cx="12192001" cy="805723"/>
          </a:xfrm>
          <a:prstGeom prst="rect">
            <a:avLst/>
          </a:prstGeom>
          <a:solidFill>
            <a:srgbClr val="00266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rtlCol="0" anchor="ctr">
            <a:noAutofit/>
            <a:scene3d>
              <a:camera prst="orthographicFront"/>
              <a:lightRig rig="soft" dir="t"/>
            </a:scene3d>
            <a:sp3d prstMaterial="softEdge">
              <a:bevelT w="25400" h="25400"/>
            </a:sp3d>
          </a:bodyPr>
          <a:lstStyle>
            <a:lvl1pPr algn="r" rtl="0" eaLnBrk="1" latinLnBrk="0" hangingPunct="1">
              <a:spcBef>
                <a:spcPct val="0"/>
              </a:spcBef>
              <a:buNone/>
              <a:defRPr kumimoji="0" sz="3200" b="1" kern="1200">
                <a:solidFill>
                  <a:srgbClr val="9A9B9C"/>
                </a:solidFill>
                <a:effectLst>
                  <a:outerShdw blurRad="31750" dist="25400" dir="5400000" algn="tl" rotWithShape="0">
                    <a:srgbClr val="000000">
                      <a:alpha val="25000"/>
                    </a:srgbClr>
                  </a:outerShdw>
                </a:effectLst>
                <a:latin typeface="+mn-lt"/>
                <a:ea typeface="+mj-ea"/>
                <a:cs typeface="+mj-cs"/>
              </a:defRPr>
            </a:lvl1pPr>
            <a:lvl2pPr>
              <a:defRPr/>
            </a:lvl2pPr>
            <a:lvl3pPr>
              <a:defRPr/>
            </a:lvl3pPr>
            <a:lvl4pPr>
              <a:defRPr/>
            </a:lvl4pPr>
            <a:lvl5pPr>
              <a:defRPr/>
            </a:lvl5pPr>
            <a:lvl6pPr>
              <a:defRPr/>
            </a:lvl6pPr>
            <a:lvl7pPr>
              <a:defRPr/>
            </a:lvl7pPr>
            <a:lvl8pPr>
              <a:defRPr/>
            </a:lvl8pPr>
            <a:lvl9pPr>
              <a:defRPr/>
            </a:lvl9pPr>
            <a:extLst/>
          </a:lstStyle>
          <a:p>
            <a:pPr marL="354013" marR="0" lvl="0" indent="7938" algn="l"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0" cap="none" spc="0" normalizeH="0" baseline="0" noProof="0" dirty="0">
                <a:ln>
                  <a:noFill/>
                </a:ln>
                <a:solidFill>
                  <a:prstClr val="white"/>
                </a:solidFill>
                <a:effectLst>
                  <a:outerShdw blurRad="31750" dist="25400" dir="5400000" algn="tl" rotWithShape="0">
                    <a:srgbClr val="000000">
                      <a:alpha val="25000"/>
                    </a:srgbClr>
                  </a:outerShdw>
                </a:effectLst>
                <a:uLnTx/>
                <a:uFillTx/>
                <a:latin typeface="Calibri"/>
                <a:ea typeface="+mj-ea"/>
                <a:cs typeface="+mj-cs"/>
              </a:rPr>
              <a:t>From a macro-economic perspective, economic, political and social factors create barriers in catalyzing impact in the low cost housing market </a:t>
            </a:r>
          </a:p>
        </p:txBody>
      </p:sp>
      <p:sp>
        <p:nvSpPr>
          <p:cNvPr id="8" name="Parallelogram 7"/>
          <p:cNvSpPr/>
          <p:nvPr/>
        </p:nvSpPr>
        <p:spPr>
          <a:xfrm>
            <a:off x="-2" y="6519067"/>
            <a:ext cx="9871077" cy="335757"/>
          </a:xfrm>
          <a:custGeom>
            <a:avLst/>
            <a:gdLst>
              <a:gd name="connsiteX0" fmla="*/ 0 w 10188575"/>
              <a:gd name="connsiteY0" fmla="*/ 166915 h 166915"/>
              <a:gd name="connsiteX1" fmla="*/ 41729 w 10188575"/>
              <a:gd name="connsiteY1" fmla="*/ 0 h 166915"/>
              <a:gd name="connsiteX2" fmla="*/ 10188575 w 10188575"/>
              <a:gd name="connsiteY2" fmla="*/ 0 h 166915"/>
              <a:gd name="connsiteX3" fmla="*/ 10146846 w 10188575"/>
              <a:gd name="connsiteY3" fmla="*/ 166915 h 166915"/>
              <a:gd name="connsiteX4" fmla="*/ 0 w 10188575"/>
              <a:gd name="connsiteY4" fmla="*/ 166915 h 166915"/>
              <a:gd name="connsiteX0" fmla="*/ 17802 w 10146846"/>
              <a:gd name="connsiteY0" fmla="*/ 166915 h 166915"/>
              <a:gd name="connsiteX1" fmla="*/ 0 w 10146846"/>
              <a:gd name="connsiteY1" fmla="*/ 0 h 166915"/>
              <a:gd name="connsiteX2" fmla="*/ 10146846 w 10146846"/>
              <a:gd name="connsiteY2" fmla="*/ 0 h 166915"/>
              <a:gd name="connsiteX3" fmla="*/ 10105117 w 10146846"/>
              <a:gd name="connsiteY3" fmla="*/ 166915 h 166915"/>
              <a:gd name="connsiteX4" fmla="*/ 17802 w 10146846"/>
              <a:gd name="connsiteY4" fmla="*/ 166915 h 166915"/>
              <a:gd name="connsiteX0" fmla="*/ 3514 w 10132558"/>
              <a:gd name="connsiteY0" fmla="*/ 166915 h 166915"/>
              <a:gd name="connsiteX1" fmla="*/ 0 w 10132558"/>
              <a:gd name="connsiteY1" fmla="*/ 2381 h 166915"/>
              <a:gd name="connsiteX2" fmla="*/ 10132558 w 10132558"/>
              <a:gd name="connsiteY2" fmla="*/ 0 h 166915"/>
              <a:gd name="connsiteX3" fmla="*/ 10090829 w 10132558"/>
              <a:gd name="connsiteY3" fmla="*/ 166915 h 166915"/>
              <a:gd name="connsiteX4" fmla="*/ 3514 w 10132558"/>
              <a:gd name="connsiteY4" fmla="*/ 166915 h 166915"/>
              <a:gd name="connsiteX0" fmla="*/ 154 w 10129198"/>
              <a:gd name="connsiteY0" fmla="*/ 166915 h 166915"/>
              <a:gd name="connsiteX1" fmla="*/ 3784 w 10129198"/>
              <a:gd name="connsiteY1" fmla="*/ 0 h 166915"/>
              <a:gd name="connsiteX2" fmla="*/ 10129198 w 10129198"/>
              <a:gd name="connsiteY2" fmla="*/ 0 h 166915"/>
              <a:gd name="connsiteX3" fmla="*/ 10087469 w 10129198"/>
              <a:gd name="connsiteY3" fmla="*/ 166915 h 166915"/>
              <a:gd name="connsiteX4" fmla="*/ 154 w 10129198"/>
              <a:gd name="connsiteY4" fmla="*/ 166915 h 166915"/>
              <a:gd name="connsiteX0" fmla="*/ 239 w 10126902"/>
              <a:gd name="connsiteY0" fmla="*/ 169296 h 169296"/>
              <a:gd name="connsiteX1" fmla="*/ 1488 w 10126902"/>
              <a:gd name="connsiteY1" fmla="*/ 0 h 169296"/>
              <a:gd name="connsiteX2" fmla="*/ 10126902 w 10126902"/>
              <a:gd name="connsiteY2" fmla="*/ 0 h 169296"/>
              <a:gd name="connsiteX3" fmla="*/ 10085173 w 10126902"/>
              <a:gd name="connsiteY3" fmla="*/ 166915 h 169296"/>
              <a:gd name="connsiteX4" fmla="*/ 239 w 10126902"/>
              <a:gd name="connsiteY4" fmla="*/ 169296 h 169296"/>
              <a:gd name="connsiteX0" fmla="*/ 239 w 10425352"/>
              <a:gd name="connsiteY0" fmla="*/ 175887 h 175887"/>
              <a:gd name="connsiteX1" fmla="*/ 1488 w 10425352"/>
              <a:gd name="connsiteY1" fmla="*/ 6591 h 175887"/>
              <a:gd name="connsiteX2" fmla="*/ 10425352 w 10425352"/>
              <a:gd name="connsiteY2" fmla="*/ 0 h 175887"/>
              <a:gd name="connsiteX3" fmla="*/ 10085173 w 10425352"/>
              <a:gd name="connsiteY3" fmla="*/ 173506 h 175887"/>
              <a:gd name="connsiteX4" fmla="*/ 239 w 10425352"/>
              <a:gd name="connsiteY4" fmla="*/ 175887 h 175887"/>
              <a:gd name="connsiteX0" fmla="*/ 239 w 10635515"/>
              <a:gd name="connsiteY0" fmla="*/ 179182 h 179182"/>
              <a:gd name="connsiteX1" fmla="*/ 1488 w 10635515"/>
              <a:gd name="connsiteY1" fmla="*/ 9886 h 179182"/>
              <a:gd name="connsiteX2" fmla="*/ 10635515 w 10635515"/>
              <a:gd name="connsiteY2" fmla="*/ 0 h 179182"/>
              <a:gd name="connsiteX3" fmla="*/ 10085173 w 10635515"/>
              <a:gd name="connsiteY3" fmla="*/ 176801 h 179182"/>
              <a:gd name="connsiteX4" fmla="*/ 239 w 10635515"/>
              <a:gd name="connsiteY4" fmla="*/ 179182 h 179182"/>
              <a:gd name="connsiteX0" fmla="*/ 239 w 10635515"/>
              <a:gd name="connsiteY0" fmla="*/ 179182 h 179182"/>
              <a:gd name="connsiteX1" fmla="*/ 1488 w 10635515"/>
              <a:gd name="connsiteY1" fmla="*/ 9886 h 179182"/>
              <a:gd name="connsiteX2" fmla="*/ 10635515 w 10635515"/>
              <a:gd name="connsiteY2" fmla="*/ 0 h 179182"/>
              <a:gd name="connsiteX3" fmla="*/ 10224620 w 10635515"/>
              <a:gd name="connsiteY3" fmla="*/ 178449 h 179182"/>
              <a:gd name="connsiteX4" fmla="*/ 239 w 10635515"/>
              <a:gd name="connsiteY4" fmla="*/ 179182 h 179182"/>
              <a:gd name="connsiteX0" fmla="*/ 239 w 10635515"/>
              <a:gd name="connsiteY0" fmla="*/ 174239 h 174239"/>
              <a:gd name="connsiteX1" fmla="*/ 1488 w 10635515"/>
              <a:gd name="connsiteY1" fmla="*/ 4943 h 174239"/>
              <a:gd name="connsiteX2" fmla="*/ 10635515 w 10635515"/>
              <a:gd name="connsiteY2" fmla="*/ 0 h 174239"/>
              <a:gd name="connsiteX3" fmla="*/ 10224620 w 10635515"/>
              <a:gd name="connsiteY3" fmla="*/ 173506 h 174239"/>
              <a:gd name="connsiteX4" fmla="*/ 239 w 10635515"/>
              <a:gd name="connsiteY4" fmla="*/ 174239 h 174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35515" h="174239">
                <a:moveTo>
                  <a:pt x="239" y="174239"/>
                </a:moveTo>
                <a:cubicBezTo>
                  <a:pt x="-932" y="119394"/>
                  <a:pt x="2659" y="59788"/>
                  <a:pt x="1488" y="4943"/>
                </a:cubicBezTo>
                <a:lnTo>
                  <a:pt x="10635515" y="0"/>
                </a:lnTo>
                <a:lnTo>
                  <a:pt x="10224620" y="173506"/>
                </a:lnTo>
                <a:lnTo>
                  <a:pt x="239" y="174239"/>
                </a:lnTo>
                <a:close/>
              </a:path>
            </a:pathLst>
          </a:custGeom>
          <a:pattFill prst="pct70">
            <a:fgClr>
              <a:schemeClr val="bg1">
                <a:lumMod val="75000"/>
              </a:schemeClr>
            </a:fgClr>
            <a:bgClr>
              <a:schemeClr val="bg1"/>
            </a:bgClr>
          </a:pattFill>
        </p:spPr>
        <p:style>
          <a:lnRef idx="1">
            <a:schemeClr val="accent3"/>
          </a:lnRef>
          <a:fillRef idx="2">
            <a:schemeClr val="accent3"/>
          </a:fillRef>
          <a:effectRef idx="1">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Parallelogram 10"/>
          <p:cNvSpPr/>
          <p:nvPr/>
        </p:nvSpPr>
        <p:spPr>
          <a:xfrm>
            <a:off x="10360480" y="6519067"/>
            <a:ext cx="1831520" cy="330199"/>
          </a:xfrm>
          <a:custGeom>
            <a:avLst/>
            <a:gdLst>
              <a:gd name="connsiteX0" fmla="*/ 0 w 1983938"/>
              <a:gd name="connsiteY0" fmla="*/ 166914 h 166914"/>
              <a:gd name="connsiteX1" fmla="*/ 41729 w 1983938"/>
              <a:gd name="connsiteY1" fmla="*/ 0 h 166914"/>
              <a:gd name="connsiteX2" fmla="*/ 1983938 w 1983938"/>
              <a:gd name="connsiteY2" fmla="*/ 0 h 166914"/>
              <a:gd name="connsiteX3" fmla="*/ 1942210 w 1983938"/>
              <a:gd name="connsiteY3" fmla="*/ 166914 h 166914"/>
              <a:gd name="connsiteX4" fmla="*/ 0 w 1983938"/>
              <a:gd name="connsiteY4" fmla="*/ 166914 h 166914"/>
              <a:gd name="connsiteX0" fmla="*/ 0 w 1942210"/>
              <a:gd name="connsiteY0" fmla="*/ 166914 h 166914"/>
              <a:gd name="connsiteX1" fmla="*/ 41729 w 1942210"/>
              <a:gd name="connsiteY1" fmla="*/ 0 h 166914"/>
              <a:gd name="connsiteX2" fmla="*/ 1910120 w 1942210"/>
              <a:gd name="connsiteY2" fmla="*/ 0 h 166914"/>
              <a:gd name="connsiteX3" fmla="*/ 1942210 w 1942210"/>
              <a:gd name="connsiteY3" fmla="*/ 166914 h 166914"/>
              <a:gd name="connsiteX4" fmla="*/ 0 w 1942210"/>
              <a:gd name="connsiteY4" fmla="*/ 166914 h 166914"/>
              <a:gd name="connsiteX0" fmla="*/ 0 w 1913635"/>
              <a:gd name="connsiteY0" fmla="*/ 166914 h 166914"/>
              <a:gd name="connsiteX1" fmla="*/ 41729 w 1913635"/>
              <a:gd name="connsiteY1" fmla="*/ 0 h 166914"/>
              <a:gd name="connsiteX2" fmla="*/ 1910120 w 1913635"/>
              <a:gd name="connsiteY2" fmla="*/ 0 h 166914"/>
              <a:gd name="connsiteX3" fmla="*/ 1913635 w 1913635"/>
              <a:gd name="connsiteY3" fmla="*/ 166914 h 166914"/>
              <a:gd name="connsiteX4" fmla="*/ 0 w 1913635"/>
              <a:gd name="connsiteY4" fmla="*/ 166914 h 166914"/>
              <a:gd name="connsiteX0" fmla="*/ 0 w 1913635"/>
              <a:gd name="connsiteY0" fmla="*/ 170187 h 170187"/>
              <a:gd name="connsiteX1" fmla="*/ 352879 w 1913635"/>
              <a:gd name="connsiteY1" fmla="*/ 0 h 170187"/>
              <a:gd name="connsiteX2" fmla="*/ 1910120 w 1913635"/>
              <a:gd name="connsiteY2" fmla="*/ 3273 h 170187"/>
              <a:gd name="connsiteX3" fmla="*/ 1913635 w 1913635"/>
              <a:gd name="connsiteY3" fmla="*/ 170187 h 170187"/>
              <a:gd name="connsiteX4" fmla="*/ 0 w 1913635"/>
              <a:gd name="connsiteY4" fmla="*/ 170187 h 1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635" h="170187">
                <a:moveTo>
                  <a:pt x="0" y="170187"/>
                </a:moveTo>
                <a:lnTo>
                  <a:pt x="352879" y="0"/>
                </a:lnTo>
                <a:lnTo>
                  <a:pt x="1910120" y="3273"/>
                </a:lnTo>
                <a:cubicBezTo>
                  <a:pt x="1911292" y="58911"/>
                  <a:pt x="1912463" y="114549"/>
                  <a:pt x="1913635" y="170187"/>
                </a:cubicBezTo>
                <a:lnTo>
                  <a:pt x="0" y="170187"/>
                </a:lnTo>
                <a:close/>
              </a:path>
            </a:pathLst>
          </a:custGeom>
          <a:pattFill prst="pct70">
            <a:fgClr>
              <a:schemeClr val="accent4"/>
            </a:fgClr>
            <a:bgClr>
              <a:schemeClr val="bg1"/>
            </a:bgClr>
          </a:patt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 name="Parallelogram 12"/>
          <p:cNvSpPr/>
          <p:nvPr/>
        </p:nvSpPr>
        <p:spPr>
          <a:xfrm>
            <a:off x="9680574" y="6524623"/>
            <a:ext cx="841376" cy="330201"/>
          </a:xfrm>
          <a:custGeom>
            <a:avLst/>
            <a:gdLst>
              <a:gd name="connsiteX0" fmla="*/ 0 w 812801"/>
              <a:gd name="connsiteY0" fmla="*/ 333376 h 333376"/>
              <a:gd name="connsiteX1" fmla="*/ 83344 w 812801"/>
              <a:gd name="connsiteY1" fmla="*/ 0 h 333376"/>
              <a:gd name="connsiteX2" fmla="*/ 812801 w 812801"/>
              <a:gd name="connsiteY2" fmla="*/ 0 h 333376"/>
              <a:gd name="connsiteX3" fmla="*/ 729457 w 812801"/>
              <a:gd name="connsiteY3" fmla="*/ 333376 h 333376"/>
              <a:gd name="connsiteX4" fmla="*/ 0 w 812801"/>
              <a:gd name="connsiteY4" fmla="*/ 333376 h 333376"/>
              <a:gd name="connsiteX0" fmla="*/ 0 w 1111251"/>
              <a:gd name="connsiteY0" fmla="*/ 330201 h 333376"/>
              <a:gd name="connsiteX1" fmla="*/ 381794 w 1111251"/>
              <a:gd name="connsiteY1" fmla="*/ 0 h 333376"/>
              <a:gd name="connsiteX2" fmla="*/ 1111251 w 1111251"/>
              <a:gd name="connsiteY2" fmla="*/ 0 h 333376"/>
              <a:gd name="connsiteX3" fmla="*/ 1027907 w 1111251"/>
              <a:gd name="connsiteY3" fmla="*/ 333376 h 333376"/>
              <a:gd name="connsiteX4" fmla="*/ 0 w 1111251"/>
              <a:gd name="connsiteY4" fmla="*/ 330201 h 333376"/>
              <a:gd name="connsiteX0" fmla="*/ 0 w 1111251"/>
              <a:gd name="connsiteY0" fmla="*/ 330201 h 330201"/>
              <a:gd name="connsiteX1" fmla="*/ 381794 w 1111251"/>
              <a:gd name="connsiteY1" fmla="*/ 0 h 330201"/>
              <a:gd name="connsiteX2" fmla="*/ 1111251 w 1111251"/>
              <a:gd name="connsiteY2" fmla="*/ 0 h 330201"/>
              <a:gd name="connsiteX3" fmla="*/ 805657 w 1111251"/>
              <a:gd name="connsiteY3" fmla="*/ 320676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815976"/>
              <a:gd name="connsiteY0" fmla="*/ 330201 h 330201"/>
              <a:gd name="connsiteX1" fmla="*/ 381794 w 815976"/>
              <a:gd name="connsiteY1" fmla="*/ 0 h 330201"/>
              <a:gd name="connsiteX2" fmla="*/ 815976 w 815976"/>
              <a:gd name="connsiteY2" fmla="*/ 0 h 330201"/>
              <a:gd name="connsiteX3" fmla="*/ 450057 w 815976"/>
              <a:gd name="connsiteY3" fmla="*/ 330201 h 330201"/>
              <a:gd name="connsiteX4" fmla="*/ 0 w 815976"/>
              <a:gd name="connsiteY4" fmla="*/ 330201 h 330201"/>
              <a:gd name="connsiteX0" fmla="*/ 0 w 841376"/>
              <a:gd name="connsiteY0" fmla="*/ 330201 h 330201"/>
              <a:gd name="connsiteX1" fmla="*/ 381794 w 841376"/>
              <a:gd name="connsiteY1" fmla="*/ 0 h 330201"/>
              <a:gd name="connsiteX2" fmla="*/ 841376 w 841376"/>
              <a:gd name="connsiteY2" fmla="*/ 0 h 330201"/>
              <a:gd name="connsiteX3" fmla="*/ 450057 w 841376"/>
              <a:gd name="connsiteY3" fmla="*/ 330201 h 330201"/>
              <a:gd name="connsiteX4" fmla="*/ 0 w 841376"/>
              <a:gd name="connsiteY4" fmla="*/ 330201 h 33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376" h="330201">
                <a:moveTo>
                  <a:pt x="0" y="330201"/>
                </a:moveTo>
                <a:lnTo>
                  <a:pt x="381794" y="0"/>
                </a:lnTo>
                <a:lnTo>
                  <a:pt x="841376" y="0"/>
                </a:lnTo>
                <a:lnTo>
                  <a:pt x="450057" y="330201"/>
                </a:lnTo>
                <a:lnTo>
                  <a:pt x="0" y="330201"/>
                </a:lnTo>
                <a:close/>
              </a:path>
            </a:pathLst>
          </a:custGeom>
          <a:pattFill prst="pct70">
            <a:fgClr>
              <a:schemeClr val="accent5">
                <a:lumMod val="50000"/>
              </a:schemeClr>
            </a:fgClr>
            <a:bgClr>
              <a:schemeClr val="bg1"/>
            </a:bgClr>
          </a:patt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 name="TextBox 2">
            <a:extLst>
              <a:ext uri="{FF2B5EF4-FFF2-40B4-BE49-F238E27FC236}">
                <a16:creationId xmlns:a16="http://schemas.microsoft.com/office/drawing/2014/main" id="{306EBDAB-6567-4BB5-A72D-B8C120B081C9}"/>
              </a:ext>
            </a:extLst>
          </p:cNvPr>
          <p:cNvSpPr txBox="1"/>
          <p:nvPr/>
        </p:nvSpPr>
        <p:spPr>
          <a:xfrm>
            <a:off x="30145" y="6484140"/>
            <a:ext cx="9650430" cy="373859"/>
          </a:xfrm>
          <a:prstGeom prst="rect">
            <a:avLst/>
          </a:prstGeom>
          <a:noFill/>
        </p:spPr>
        <p:txBody>
          <a:bodyPr wrap="square" rtlCol="0" anchor="ctr">
            <a:noAutofit/>
          </a:bodyPr>
          <a:lstStyle/>
          <a:p>
            <a:pPr marL="354013"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a:extLst>
              <a:ext uri="{FF2B5EF4-FFF2-40B4-BE49-F238E27FC236}">
                <a16:creationId xmlns:a16="http://schemas.microsoft.com/office/drawing/2014/main" id="{A987B35D-F68B-4006-AC19-5A526609671C}"/>
              </a:ext>
            </a:extLst>
          </p:cNvPr>
          <p:cNvSpPr>
            <a:spLocks noGrp="1"/>
          </p:cNvSpPr>
          <p:nvPr>
            <p:ph type="sldNum" sz="quarter" idx="12"/>
          </p:nvPr>
        </p:nvSpPr>
        <p:spPr>
          <a:xfrm>
            <a:off x="9448800" y="6484141"/>
            <a:ext cx="2743200" cy="365125"/>
          </a:xfrm>
        </p:spPr>
        <p:txBody>
          <a:bodyPr anchor="ctr"/>
          <a:lstStyle/>
          <a:p>
            <a:pPr marL="0" marR="0" lvl="0" indent="0" algn="r" defTabSz="914400" rtl="0" eaLnBrk="1" fontAlgn="auto" latinLnBrk="0" hangingPunct="1">
              <a:lnSpc>
                <a:spcPct val="100000"/>
              </a:lnSpc>
              <a:spcBef>
                <a:spcPts val="0"/>
              </a:spcBef>
              <a:spcAft>
                <a:spcPts val="0"/>
              </a:spcAft>
              <a:buClrTx/>
              <a:buSzTx/>
              <a:buFontTx/>
              <a:buNone/>
              <a:tabLst/>
              <a:defRPr/>
            </a:pPr>
            <a:fld id="{87102F09-8F7D-4EC1-9AE5-82CA77F49212}" type="slidenum">
              <a:rPr kumimoji="0" lang="en-ZA" sz="1200" b="1"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ZA" sz="1200" b="1"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0" name="Group 1">
            <a:extLst>
              <a:ext uri="{FF2B5EF4-FFF2-40B4-BE49-F238E27FC236}">
                <a16:creationId xmlns:a16="http://schemas.microsoft.com/office/drawing/2014/main" id="{89DC7F72-C3A7-4C8A-924F-A0316ACB804E}"/>
              </a:ext>
            </a:extLst>
          </p:cNvPr>
          <p:cNvGrpSpPr/>
          <p:nvPr/>
        </p:nvGrpSpPr>
        <p:grpSpPr>
          <a:xfrm>
            <a:off x="3818151" y="1370143"/>
            <a:ext cx="4348834" cy="4341629"/>
            <a:chOff x="2323083" y="1750735"/>
            <a:chExt cx="4472740" cy="4341629"/>
          </a:xfrm>
        </p:grpSpPr>
        <p:sp>
          <p:nvSpPr>
            <p:cNvPr id="12" name="Oval 2">
              <a:extLst>
                <a:ext uri="{FF2B5EF4-FFF2-40B4-BE49-F238E27FC236}">
                  <a16:creationId xmlns:a16="http://schemas.microsoft.com/office/drawing/2014/main" id="{BB95E274-7B19-4758-B938-C681AF4EE9A6}"/>
                </a:ext>
              </a:extLst>
            </p:cNvPr>
            <p:cNvSpPr/>
            <p:nvPr/>
          </p:nvSpPr>
          <p:spPr>
            <a:xfrm>
              <a:off x="2388990" y="1750735"/>
              <a:ext cx="4341629" cy="4341629"/>
            </a:xfrm>
            <a:prstGeom prst="ellipse">
              <a:avLst/>
            </a:prstGeom>
            <a:noFill/>
            <a:ln w="190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Calibri"/>
                <a:ea typeface="맑은 고딕" panose="020B0503020000020004" pitchFamily="34" charset="-127"/>
                <a:cs typeface="+mn-cs"/>
              </a:endParaRPr>
            </a:p>
          </p:txBody>
        </p:sp>
        <p:sp>
          <p:nvSpPr>
            <p:cNvPr id="14" name="Oval 3">
              <a:extLst>
                <a:ext uri="{FF2B5EF4-FFF2-40B4-BE49-F238E27FC236}">
                  <a16:creationId xmlns:a16="http://schemas.microsoft.com/office/drawing/2014/main" id="{2DDE1AD7-1F9E-42EE-91D4-EEFDB6BEB912}"/>
                </a:ext>
              </a:extLst>
            </p:cNvPr>
            <p:cNvSpPr/>
            <p:nvPr/>
          </p:nvSpPr>
          <p:spPr>
            <a:xfrm>
              <a:off x="2323083" y="3867495"/>
              <a:ext cx="131813" cy="131813"/>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Calibri"/>
                <a:ea typeface="맑은 고딕" panose="020B0503020000020004" pitchFamily="34" charset="-127"/>
                <a:cs typeface="+mn-cs"/>
              </a:endParaRPr>
            </a:p>
          </p:txBody>
        </p:sp>
        <p:sp>
          <p:nvSpPr>
            <p:cNvPr id="15" name="Oval 4">
              <a:extLst>
                <a:ext uri="{FF2B5EF4-FFF2-40B4-BE49-F238E27FC236}">
                  <a16:creationId xmlns:a16="http://schemas.microsoft.com/office/drawing/2014/main" id="{BC034F56-9AB5-4731-B02C-5ADD28F110A1}"/>
                </a:ext>
              </a:extLst>
            </p:cNvPr>
            <p:cNvSpPr/>
            <p:nvPr/>
          </p:nvSpPr>
          <p:spPr>
            <a:xfrm>
              <a:off x="3472176" y="5748785"/>
              <a:ext cx="131813" cy="131813"/>
            </a:xfrm>
            <a:prstGeom prst="ellips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Calibri"/>
                <a:ea typeface="맑은 고딕" panose="020B0503020000020004" pitchFamily="34" charset="-127"/>
                <a:cs typeface="+mn-cs"/>
              </a:endParaRPr>
            </a:p>
          </p:txBody>
        </p:sp>
        <p:sp>
          <p:nvSpPr>
            <p:cNvPr id="16" name="Oval 5">
              <a:extLst>
                <a:ext uri="{FF2B5EF4-FFF2-40B4-BE49-F238E27FC236}">
                  <a16:creationId xmlns:a16="http://schemas.microsoft.com/office/drawing/2014/main" id="{DE4B1804-A3C8-4D00-A897-CC94264D4A3B}"/>
                </a:ext>
              </a:extLst>
            </p:cNvPr>
            <p:cNvSpPr/>
            <p:nvPr/>
          </p:nvSpPr>
          <p:spPr>
            <a:xfrm>
              <a:off x="5627959" y="5731201"/>
              <a:ext cx="131813" cy="131813"/>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Calibri"/>
                <a:ea typeface="맑은 고딕" panose="020B0503020000020004" pitchFamily="34" charset="-127"/>
                <a:cs typeface="+mn-cs"/>
              </a:endParaRPr>
            </a:p>
          </p:txBody>
        </p:sp>
        <p:sp>
          <p:nvSpPr>
            <p:cNvPr id="17" name="Oval 6">
              <a:extLst>
                <a:ext uri="{FF2B5EF4-FFF2-40B4-BE49-F238E27FC236}">
                  <a16:creationId xmlns:a16="http://schemas.microsoft.com/office/drawing/2014/main" id="{F7E4F561-30CF-46CF-B32D-CBFC68BD15F8}"/>
                </a:ext>
              </a:extLst>
            </p:cNvPr>
            <p:cNvSpPr/>
            <p:nvPr/>
          </p:nvSpPr>
          <p:spPr>
            <a:xfrm>
              <a:off x="6664010" y="3867495"/>
              <a:ext cx="131813" cy="131813"/>
            </a:xfrm>
            <a:prstGeom prst="ellipse">
              <a:avLst/>
            </a:prstGeom>
            <a:solidFill>
              <a:srgbClr val="FFD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Calibri"/>
                <a:ea typeface="맑은 고딕" panose="020B0503020000020004" pitchFamily="34" charset="-127"/>
                <a:cs typeface="+mn-cs"/>
              </a:endParaRPr>
            </a:p>
          </p:txBody>
        </p:sp>
        <p:sp>
          <p:nvSpPr>
            <p:cNvPr id="18" name="Oval 7">
              <a:extLst>
                <a:ext uri="{FF2B5EF4-FFF2-40B4-BE49-F238E27FC236}">
                  <a16:creationId xmlns:a16="http://schemas.microsoft.com/office/drawing/2014/main" id="{631AE1D0-0D67-4939-9C6E-AF398FA15A8E}"/>
                </a:ext>
              </a:extLst>
            </p:cNvPr>
            <p:cNvSpPr/>
            <p:nvPr/>
          </p:nvSpPr>
          <p:spPr>
            <a:xfrm>
              <a:off x="5619167" y="1965330"/>
              <a:ext cx="131813" cy="131813"/>
            </a:xfrm>
            <a:prstGeom prst="ellips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Calibri"/>
                <a:ea typeface="맑은 고딕" panose="020B0503020000020004" pitchFamily="34" charset="-127"/>
                <a:cs typeface="+mn-cs"/>
              </a:endParaRPr>
            </a:p>
          </p:txBody>
        </p:sp>
        <p:sp>
          <p:nvSpPr>
            <p:cNvPr id="19" name="Oval 8">
              <a:extLst>
                <a:ext uri="{FF2B5EF4-FFF2-40B4-BE49-F238E27FC236}">
                  <a16:creationId xmlns:a16="http://schemas.microsoft.com/office/drawing/2014/main" id="{6E88656E-09FF-4661-9F71-7E0952E4AFB1}"/>
                </a:ext>
              </a:extLst>
            </p:cNvPr>
            <p:cNvSpPr/>
            <p:nvPr/>
          </p:nvSpPr>
          <p:spPr>
            <a:xfrm>
              <a:off x="3454592" y="1965330"/>
              <a:ext cx="131813" cy="131813"/>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Calibri"/>
                <a:ea typeface="맑은 고딕" panose="020B0503020000020004" pitchFamily="34" charset="-127"/>
                <a:cs typeface="+mn-cs"/>
              </a:endParaRPr>
            </a:p>
          </p:txBody>
        </p:sp>
      </p:grpSp>
      <p:cxnSp>
        <p:nvCxnSpPr>
          <p:cNvPr id="20" name="Straight Arrow Connector 9">
            <a:extLst>
              <a:ext uri="{FF2B5EF4-FFF2-40B4-BE49-F238E27FC236}">
                <a16:creationId xmlns:a16="http://schemas.microsoft.com/office/drawing/2014/main" id="{C7E4D298-FCB1-4620-B652-86E74B6D1195}"/>
              </a:ext>
            </a:extLst>
          </p:cNvPr>
          <p:cNvCxnSpPr>
            <a:cxnSpLocks/>
          </p:cNvCxnSpPr>
          <p:nvPr/>
        </p:nvCxnSpPr>
        <p:spPr>
          <a:xfrm>
            <a:off x="4585703" y="2767961"/>
            <a:ext cx="2705493" cy="1545995"/>
          </a:xfrm>
          <a:prstGeom prst="straightConnector1">
            <a:avLst/>
          </a:prstGeom>
          <a:ln w="38100">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1" name="Straight Arrow Connector 10">
            <a:extLst>
              <a:ext uri="{FF2B5EF4-FFF2-40B4-BE49-F238E27FC236}">
                <a16:creationId xmlns:a16="http://schemas.microsoft.com/office/drawing/2014/main" id="{B2290F92-3CCE-4974-AE42-1A492112E2F5}"/>
              </a:ext>
            </a:extLst>
          </p:cNvPr>
          <p:cNvCxnSpPr>
            <a:endCxn id="24" idx="4"/>
          </p:cNvCxnSpPr>
          <p:nvPr/>
        </p:nvCxnSpPr>
        <p:spPr>
          <a:xfrm>
            <a:off x="5924309" y="1985535"/>
            <a:ext cx="54860" cy="3158254"/>
          </a:xfrm>
          <a:prstGeom prst="straightConnector1">
            <a:avLst/>
          </a:prstGeom>
          <a:ln w="38100">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2" name="Straight Arrow Connector 11">
            <a:extLst>
              <a:ext uri="{FF2B5EF4-FFF2-40B4-BE49-F238E27FC236}">
                <a16:creationId xmlns:a16="http://schemas.microsoft.com/office/drawing/2014/main" id="{AB85E013-CEDD-4F61-9B50-E9E7F5FCF360}"/>
              </a:ext>
            </a:extLst>
          </p:cNvPr>
          <p:cNvCxnSpPr>
            <a:cxnSpLocks/>
          </p:cNvCxnSpPr>
          <p:nvPr/>
        </p:nvCxnSpPr>
        <p:spPr>
          <a:xfrm flipH="1">
            <a:off x="4604559" y="2758533"/>
            <a:ext cx="2648931" cy="1555422"/>
          </a:xfrm>
          <a:prstGeom prst="straightConnector1">
            <a:avLst/>
          </a:prstGeom>
          <a:ln w="38100">
            <a:solidFill>
              <a:schemeClr val="tx1">
                <a:lumMod val="50000"/>
                <a:lumOff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23" name="Oval 14">
            <a:extLst>
              <a:ext uri="{FF2B5EF4-FFF2-40B4-BE49-F238E27FC236}">
                <a16:creationId xmlns:a16="http://schemas.microsoft.com/office/drawing/2014/main" id="{1E332F15-E56B-4CAB-A3DE-573FB598F092}"/>
              </a:ext>
            </a:extLst>
          </p:cNvPr>
          <p:cNvSpPr/>
          <p:nvPr/>
        </p:nvSpPr>
        <p:spPr>
          <a:xfrm>
            <a:off x="5333485" y="2898103"/>
            <a:ext cx="1237459" cy="1272716"/>
          </a:xfrm>
          <a:prstGeom prst="ellips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Calibri"/>
              <a:ea typeface="맑은 고딕" panose="020B0503020000020004" pitchFamily="34" charset="-127"/>
              <a:cs typeface="+mn-cs"/>
            </a:endParaRPr>
          </a:p>
        </p:txBody>
      </p:sp>
      <p:sp>
        <p:nvSpPr>
          <p:cNvPr id="24" name="Donut 15">
            <a:extLst>
              <a:ext uri="{FF2B5EF4-FFF2-40B4-BE49-F238E27FC236}">
                <a16:creationId xmlns:a16="http://schemas.microsoft.com/office/drawing/2014/main" id="{CB589D4A-B809-408F-846F-15AF440D643C}"/>
              </a:ext>
            </a:extLst>
          </p:cNvPr>
          <p:cNvSpPr/>
          <p:nvPr/>
        </p:nvSpPr>
        <p:spPr>
          <a:xfrm>
            <a:off x="4414423" y="1925133"/>
            <a:ext cx="3129491" cy="3218656"/>
          </a:xfrm>
          <a:prstGeom prst="donut">
            <a:avLst>
              <a:gd name="adj" fmla="val 4483"/>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solidFill>
              <a:effectLst/>
              <a:uLnTx/>
              <a:uFillTx/>
              <a:latin typeface="Calibri"/>
              <a:ea typeface="맑은 고딕" panose="020B0503020000020004" pitchFamily="34" charset="-127"/>
              <a:cs typeface="+mn-cs"/>
            </a:endParaRPr>
          </a:p>
        </p:txBody>
      </p:sp>
      <p:grpSp>
        <p:nvGrpSpPr>
          <p:cNvPr id="25" name="Group 16">
            <a:extLst>
              <a:ext uri="{FF2B5EF4-FFF2-40B4-BE49-F238E27FC236}">
                <a16:creationId xmlns:a16="http://schemas.microsoft.com/office/drawing/2014/main" id="{F268E518-F086-4D61-8DFB-12AD8CC5FB2B}"/>
              </a:ext>
            </a:extLst>
          </p:cNvPr>
          <p:cNvGrpSpPr/>
          <p:nvPr/>
        </p:nvGrpSpPr>
        <p:grpSpPr>
          <a:xfrm>
            <a:off x="4011363" y="1500235"/>
            <a:ext cx="3955746" cy="4068452"/>
            <a:chOff x="2527495" y="1880828"/>
            <a:chExt cx="4068452" cy="4068452"/>
          </a:xfrm>
        </p:grpSpPr>
        <p:sp>
          <p:nvSpPr>
            <p:cNvPr id="26" name="Block Arc 17">
              <a:extLst>
                <a:ext uri="{FF2B5EF4-FFF2-40B4-BE49-F238E27FC236}">
                  <a16:creationId xmlns:a16="http://schemas.microsoft.com/office/drawing/2014/main" id="{22E6F574-17AB-4AD3-B46B-AB964FBD285A}"/>
                </a:ext>
              </a:extLst>
            </p:cNvPr>
            <p:cNvSpPr/>
            <p:nvPr/>
          </p:nvSpPr>
          <p:spPr>
            <a:xfrm rot="19920000">
              <a:off x="2527495" y="1880828"/>
              <a:ext cx="4068452" cy="4068452"/>
            </a:xfrm>
            <a:prstGeom prst="blockArc">
              <a:avLst>
                <a:gd name="adj1" fmla="val 10800000"/>
                <a:gd name="adj2" fmla="val 14124484"/>
                <a:gd name="adj3" fmla="val 28327"/>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solidFill>
                <a:effectLst/>
                <a:uLnTx/>
                <a:uFillTx/>
                <a:latin typeface="Calibri"/>
                <a:ea typeface="맑은 고딕" panose="020B0503020000020004" pitchFamily="34" charset="-127"/>
                <a:cs typeface="+mn-cs"/>
              </a:endParaRPr>
            </a:p>
          </p:txBody>
        </p:sp>
        <p:sp>
          <p:nvSpPr>
            <p:cNvPr id="27" name="Block Arc 18">
              <a:extLst>
                <a:ext uri="{FF2B5EF4-FFF2-40B4-BE49-F238E27FC236}">
                  <a16:creationId xmlns:a16="http://schemas.microsoft.com/office/drawing/2014/main" id="{D0249690-0160-4F4D-A24A-DE4CACFCCEBE}"/>
                </a:ext>
              </a:extLst>
            </p:cNvPr>
            <p:cNvSpPr/>
            <p:nvPr/>
          </p:nvSpPr>
          <p:spPr>
            <a:xfrm rot="16320000">
              <a:off x="2527495" y="1880828"/>
              <a:ext cx="4068452" cy="4068452"/>
            </a:xfrm>
            <a:prstGeom prst="blockArc">
              <a:avLst>
                <a:gd name="adj1" fmla="val 10800000"/>
                <a:gd name="adj2" fmla="val 14124484"/>
                <a:gd name="adj3" fmla="val 28327"/>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solidFill>
                <a:effectLst/>
                <a:uLnTx/>
                <a:uFillTx/>
                <a:latin typeface="Calibri"/>
                <a:ea typeface="맑은 고딕" panose="020B0503020000020004" pitchFamily="34" charset="-127"/>
                <a:cs typeface="+mn-cs"/>
              </a:endParaRPr>
            </a:p>
          </p:txBody>
        </p:sp>
        <p:sp>
          <p:nvSpPr>
            <p:cNvPr id="28" name="Block Arc 19">
              <a:extLst>
                <a:ext uri="{FF2B5EF4-FFF2-40B4-BE49-F238E27FC236}">
                  <a16:creationId xmlns:a16="http://schemas.microsoft.com/office/drawing/2014/main" id="{F2AC4C61-48ED-4EA0-B072-1184BE2C50BA}"/>
                </a:ext>
              </a:extLst>
            </p:cNvPr>
            <p:cNvSpPr/>
            <p:nvPr/>
          </p:nvSpPr>
          <p:spPr>
            <a:xfrm rot="12720000">
              <a:off x="2527495" y="1880828"/>
              <a:ext cx="4068452" cy="4068452"/>
            </a:xfrm>
            <a:prstGeom prst="blockArc">
              <a:avLst>
                <a:gd name="adj1" fmla="val 10800000"/>
                <a:gd name="adj2" fmla="val 14124484"/>
                <a:gd name="adj3" fmla="val 2832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solidFill>
                <a:effectLst/>
                <a:uLnTx/>
                <a:uFillTx/>
                <a:latin typeface="Calibri"/>
                <a:ea typeface="맑은 고딕" panose="020B0503020000020004" pitchFamily="34" charset="-127"/>
                <a:cs typeface="+mn-cs"/>
              </a:endParaRPr>
            </a:p>
          </p:txBody>
        </p:sp>
        <p:sp>
          <p:nvSpPr>
            <p:cNvPr id="29" name="Block Arc 20">
              <a:extLst>
                <a:ext uri="{FF2B5EF4-FFF2-40B4-BE49-F238E27FC236}">
                  <a16:creationId xmlns:a16="http://schemas.microsoft.com/office/drawing/2014/main" id="{FDFD9734-C93C-4F05-B109-02CF338D940C}"/>
                </a:ext>
              </a:extLst>
            </p:cNvPr>
            <p:cNvSpPr/>
            <p:nvPr/>
          </p:nvSpPr>
          <p:spPr>
            <a:xfrm rot="9120000">
              <a:off x="2527495" y="1880828"/>
              <a:ext cx="4068452" cy="4068452"/>
            </a:xfrm>
            <a:prstGeom prst="blockArc">
              <a:avLst>
                <a:gd name="adj1" fmla="val 10800000"/>
                <a:gd name="adj2" fmla="val 14124484"/>
                <a:gd name="adj3" fmla="val 28327"/>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solidFill>
                <a:effectLst/>
                <a:uLnTx/>
                <a:uFillTx/>
                <a:latin typeface="Calibri"/>
                <a:ea typeface="맑은 고딕" panose="020B0503020000020004" pitchFamily="34" charset="-127"/>
                <a:cs typeface="+mn-cs"/>
              </a:endParaRPr>
            </a:p>
          </p:txBody>
        </p:sp>
        <p:sp>
          <p:nvSpPr>
            <p:cNvPr id="30" name="Block Arc 21">
              <a:extLst>
                <a:ext uri="{FF2B5EF4-FFF2-40B4-BE49-F238E27FC236}">
                  <a16:creationId xmlns:a16="http://schemas.microsoft.com/office/drawing/2014/main" id="{4E9DB2EB-19FF-407F-871B-EDEA918970E5}"/>
                </a:ext>
              </a:extLst>
            </p:cNvPr>
            <p:cNvSpPr/>
            <p:nvPr/>
          </p:nvSpPr>
          <p:spPr>
            <a:xfrm rot="5520000">
              <a:off x="2527495" y="1880828"/>
              <a:ext cx="4068452" cy="4068452"/>
            </a:xfrm>
            <a:prstGeom prst="blockArc">
              <a:avLst>
                <a:gd name="adj1" fmla="val 10800000"/>
                <a:gd name="adj2" fmla="val 14124484"/>
                <a:gd name="adj3" fmla="val 28327"/>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solidFill>
                <a:effectLst/>
                <a:uLnTx/>
                <a:uFillTx/>
                <a:latin typeface="Calibri"/>
                <a:ea typeface="맑은 고딕" panose="020B0503020000020004" pitchFamily="34" charset="-127"/>
                <a:cs typeface="+mn-cs"/>
              </a:endParaRPr>
            </a:p>
          </p:txBody>
        </p:sp>
        <p:sp>
          <p:nvSpPr>
            <p:cNvPr id="31" name="Block Arc 22">
              <a:extLst>
                <a:ext uri="{FF2B5EF4-FFF2-40B4-BE49-F238E27FC236}">
                  <a16:creationId xmlns:a16="http://schemas.microsoft.com/office/drawing/2014/main" id="{95595F4A-5071-46CE-856E-DDEA16DAD711}"/>
                </a:ext>
              </a:extLst>
            </p:cNvPr>
            <p:cNvSpPr/>
            <p:nvPr/>
          </p:nvSpPr>
          <p:spPr>
            <a:xfrm rot="1920000">
              <a:off x="2527495" y="1880828"/>
              <a:ext cx="4068452" cy="4068452"/>
            </a:xfrm>
            <a:prstGeom prst="blockArc">
              <a:avLst>
                <a:gd name="adj1" fmla="val 10800000"/>
                <a:gd name="adj2" fmla="val 14124484"/>
                <a:gd name="adj3" fmla="val 2832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solidFill>
                <a:effectLst/>
                <a:uLnTx/>
                <a:uFillTx/>
                <a:latin typeface="Calibri"/>
                <a:ea typeface="맑은 고딕" panose="020B0503020000020004" pitchFamily="34" charset="-127"/>
                <a:cs typeface="+mn-cs"/>
              </a:endParaRPr>
            </a:p>
          </p:txBody>
        </p:sp>
      </p:grpSp>
      <p:pic>
        <p:nvPicPr>
          <p:cNvPr id="35" name="Graphic 34" descr="Connections">
            <a:extLst>
              <a:ext uri="{FF2B5EF4-FFF2-40B4-BE49-F238E27FC236}">
                <a16:creationId xmlns:a16="http://schemas.microsoft.com/office/drawing/2014/main" id="{F93CE9FB-5352-456D-A750-8CBCE2AE6318}"/>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5633917" y="2929969"/>
            <a:ext cx="609063" cy="606275"/>
          </a:xfrm>
          <a:prstGeom prst="rect">
            <a:avLst/>
          </a:prstGeom>
        </p:spPr>
      </p:pic>
      <p:sp>
        <p:nvSpPr>
          <p:cNvPr id="36" name="TextBox 35">
            <a:extLst>
              <a:ext uri="{FF2B5EF4-FFF2-40B4-BE49-F238E27FC236}">
                <a16:creationId xmlns:a16="http://schemas.microsoft.com/office/drawing/2014/main" id="{726A520E-C9B7-4CCF-871F-557630A8ECCD}"/>
              </a:ext>
            </a:extLst>
          </p:cNvPr>
          <p:cNvSpPr txBox="1"/>
          <p:nvPr/>
        </p:nvSpPr>
        <p:spPr>
          <a:xfrm>
            <a:off x="5464587" y="3625559"/>
            <a:ext cx="947722" cy="369332"/>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900" b="1" i="0" u="none" strike="noStrike" kern="1200" cap="none" spc="0" normalizeH="0" baseline="0" noProof="0" dirty="0">
                <a:ln>
                  <a:noFill/>
                </a:ln>
                <a:solidFill>
                  <a:prstClr val="white"/>
                </a:solidFill>
                <a:effectLst/>
                <a:uLnTx/>
                <a:uFillTx/>
                <a:latin typeface="Arial" panose="020B0604020202020204" pitchFamily="34" charset="0"/>
                <a:ea typeface="맑은 고딕" panose="020B0503020000020004" pitchFamily="34" charset="-127"/>
                <a:cs typeface="Arial" panose="020B0604020202020204" pitchFamily="34" charset="0"/>
              </a:rPr>
              <a:t>PESTEL Analysis</a:t>
            </a:r>
          </a:p>
        </p:txBody>
      </p:sp>
      <p:cxnSp>
        <p:nvCxnSpPr>
          <p:cNvPr id="37" name="Straight Connector 36">
            <a:extLst>
              <a:ext uri="{FF2B5EF4-FFF2-40B4-BE49-F238E27FC236}">
                <a16:creationId xmlns:a16="http://schemas.microsoft.com/office/drawing/2014/main" id="{A9EFFF76-0022-4597-9C89-3BA7C70C3570}"/>
              </a:ext>
            </a:extLst>
          </p:cNvPr>
          <p:cNvCxnSpPr>
            <a:stCxn id="23" idx="2"/>
            <a:endCxn id="23" idx="6"/>
          </p:cNvCxnSpPr>
          <p:nvPr/>
        </p:nvCxnSpPr>
        <p:spPr>
          <a:xfrm>
            <a:off x="5333485" y="3534461"/>
            <a:ext cx="1237459" cy="0"/>
          </a:xfrm>
          <a:prstGeom prst="line">
            <a:avLst/>
          </a:prstGeom>
          <a:ln>
            <a:solidFill>
              <a:schemeClr val="bg1"/>
            </a:solidFill>
          </a:ln>
        </p:spPr>
        <p:style>
          <a:lnRef idx="3">
            <a:schemeClr val="dk1"/>
          </a:lnRef>
          <a:fillRef idx="0">
            <a:schemeClr val="dk1"/>
          </a:fillRef>
          <a:effectRef idx="2">
            <a:schemeClr val="dk1"/>
          </a:effectRef>
          <a:fontRef idx="minor">
            <a:schemeClr val="tx1"/>
          </a:fontRef>
        </p:style>
      </p:cxnSp>
      <p:sp>
        <p:nvSpPr>
          <p:cNvPr id="38" name="Rectangle 37">
            <a:extLst>
              <a:ext uri="{FF2B5EF4-FFF2-40B4-BE49-F238E27FC236}">
                <a16:creationId xmlns:a16="http://schemas.microsoft.com/office/drawing/2014/main" id="{4340551D-381B-4532-BE00-3E6BA5704087}"/>
              </a:ext>
            </a:extLst>
          </p:cNvPr>
          <p:cNvSpPr/>
          <p:nvPr/>
        </p:nvSpPr>
        <p:spPr>
          <a:xfrm>
            <a:off x="488302" y="928895"/>
            <a:ext cx="11215395" cy="209314"/>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a:ea typeface="+mn-ea"/>
                <a:cs typeface="+mn-cs"/>
              </a:rPr>
              <a:t>PESTEL ANALYSIS PORTRAIT</a:t>
            </a:r>
            <a:endParaRPr kumimoji="0" lang="en-ZA" sz="1200" b="1" i="0" u="none" strike="noStrike" kern="1200" cap="none" spc="0" normalizeH="0" baseline="0" noProof="0" dirty="0">
              <a:ln>
                <a:noFill/>
              </a:ln>
              <a:solidFill>
                <a:prstClr val="white"/>
              </a:solidFill>
              <a:effectLst/>
              <a:uLnTx/>
              <a:uFillTx/>
              <a:latin typeface="Calibri"/>
              <a:ea typeface="+mn-ea"/>
              <a:cs typeface="+mn-cs"/>
            </a:endParaRPr>
          </a:p>
        </p:txBody>
      </p:sp>
      <p:pic>
        <p:nvPicPr>
          <p:cNvPr id="39" name="Graphic 38" descr="Bank">
            <a:extLst>
              <a:ext uri="{FF2B5EF4-FFF2-40B4-BE49-F238E27FC236}">
                <a16:creationId xmlns:a16="http://schemas.microsoft.com/office/drawing/2014/main" id="{DECCA302-93B6-44B9-AE91-B1EEB7EDC96A}"/>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6398175" y="1766879"/>
            <a:ext cx="643042" cy="546998"/>
          </a:xfrm>
          <a:prstGeom prst="rect">
            <a:avLst/>
          </a:prstGeom>
        </p:spPr>
      </p:pic>
      <p:pic>
        <p:nvPicPr>
          <p:cNvPr id="40" name="Graphic 39" descr="Money">
            <a:extLst>
              <a:ext uri="{FF2B5EF4-FFF2-40B4-BE49-F238E27FC236}">
                <a16:creationId xmlns:a16="http://schemas.microsoft.com/office/drawing/2014/main" id="{FB8A1A95-42E0-4ACC-B9B3-ACE8E112BD97}"/>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7296464" y="3195966"/>
            <a:ext cx="624901" cy="624901"/>
          </a:xfrm>
          <a:prstGeom prst="rect">
            <a:avLst/>
          </a:prstGeom>
        </p:spPr>
      </p:pic>
      <p:pic>
        <p:nvPicPr>
          <p:cNvPr id="41" name="Graphic 40" descr="Group">
            <a:extLst>
              <a:ext uri="{FF2B5EF4-FFF2-40B4-BE49-F238E27FC236}">
                <a16:creationId xmlns:a16="http://schemas.microsoft.com/office/drawing/2014/main" id="{AEF48246-3D29-4DF1-BEC3-F8D1DE4B65B7}"/>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6460201" y="4599056"/>
            <a:ext cx="650218" cy="650218"/>
          </a:xfrm>
          <a:prstGeom prst="rect">
            <a:avLst/>
          </a:prstGeom>
        </p:spPr>
      </p:pic>
      <p:pic>
        <p:nvPicPr>
          <p:cNvPr id="42" name="Graphic 41" descr="Robot">
            <a:extLst>
              <a:ext uri="{FF2B5EF4-FFF2-40B4-BE49-F238E27FC236}">
                <a16:creationId xmlns:a16="http://schemas.microsoft.com/office/drawing/2014/main" id="{815AACA0-E872-4558-A0DC-DE01258F95FF}"/>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4778735" y="4578948"/>
            <a:ext cx="666278" cy="666278"/>
          </a:xfrm>
          <a:prstGeom prst="rect">
            <a:avLst/>
          </a:prstGeom>
        </p:spPr>
      </p:pic>
      <p:pic>
        <p:nvPicPr>
          <p:cNvPr id="43" name="Graphic 42" descr="Scales of justice">
            <a:extLst>
              <a:ext uri="{FF2B5EF4-FFF2-40B4-BE49-F238E27FC236}">
                <a16:creationId xmlns:a16="http://schemas.microsoft.com/office/drawing/2014/main" id="{DFB3E879-4632-465E-8CE1-B644837275B9}"/>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xmlns="" r:embed="rId13"/>
              </a:ext>
            </a:extLst>
          </a:blip>
          <a:stretch>
            <a:fillRect/>
          </a:stretch>
        </p:blipFill>
        <p:spPr>
          <a:xfrm>
            <a:off x="4901605" y="1747822"/>
            <a:ext cx="555434" cy="555434"/>
          </a:xfrm>
          <a:prstGeom prst="rect">
            <a:avLst/>
          </a:prstGeom>
        </p:spPr>
      </p:pic>
      <p:pic>
        <p:nvPicPr>
          <p:cNvPr id="44" name="Graphic 43" descr="Sustainability">
            <a:extLst>
              <a:ext uri="{FF2B5EF4-FFF2-40B4-BE49-F238E27FC236}">
                <a16:creationId xmlns:a16="http://schemas.microsoft.com/office/drawing/2014/main" id="{B8D0E0BA-90E3-4C61-B2E6-3F53311DA259}"/>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xmlns="" r:embed="rId15"/>
              </a:ext>
            </a:extLst>
          </a:blip>
          <a:stretch>
            <a:fillRect/>
          </a:stretch>
        </p:blipFill>
        <p:spPr>
          <a:xfrm>
            <a:off x="4006253" y="3233657"/>
            <a:ext cx="615763" cy="615763"/>
          </a:xfrm>
          <a:prstGeom prst="rect">
            <a:avLst/>
          </a:prstGeom>
        </p:spPr>
      </p:pic>
      <p:sp>
        <p:nvSpPr>
          <p:cNvPr id="45" name="TextBox 44">
            <a:extLst>
              <a:ext uri="{FF2B5EF4-FFF2-40B4-BE49-F238E27FC236}">
                <a16:creationId xmlns:a16="http://schemas.microsoft.com/office/drawing/2014/main" id="{31211B09-5380-463A-99CB-8F00D89A996F}"/>
              </a:ext>
            </a:extLst>
          </p:cNvPr>
          <p:cNvSpPr txBox="1"/>
          <p:nvPr/>
        </p:nvSpPr>
        <p:spPr>
          <a:xfrm>
            <a:off x="6407124" y="2315536"/>
            <a:ext cx="34768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P</a:t>
            </a:r>
            <a:endParaRPr kumimoji="0" lang="en-Z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6" name="TextBox 45">
            <a:extLst>
              <a:ext uri="{FF2B5EF4-FFF2-40B4-BE49-F238E27FC236}">
                <a16:creationId xmlns:a16="http://schemas.microsoft.com/office/drawing/2014/main" id="{90FFD3B5-6A2B-41FB-9D19-AF427B555D09}"/>
              </a:ext>
            </a:extLst>
          </p:cNvPr>
          <p:cNvSpPr txBox="1"/>
          <p:nvPr/>
        </p:nvSpPr>
        <p:spPr>
          <a:xfrm>
            <a:off x="6923577" y="3368143"/>
            <a:ext cx="34768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E</a:t>
            </a:r>
            <a:endParaRPr kumimoji="0" lang="en-Z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7" name="TextBox 46">
            <a:extLst>
              <a:ext uri="{FF2B5EF4-FFF2-40B4-BE49-F238E27FC236}">
                <a16:creationId xmlns:a16="http://schemas.microsoft.com/office/drawing/2014/main" id="{BD09EED3-23A6-403D-BCDD-78F7E2045376}"/>
              </a:ext>
            </a:extLst>
          </p:cNvPr>
          <p:cNvSpPr txBox="1"/>
          <p:nvPr/>
        </p:nvSpPr>
        <p:spPr>
          <a:xfrm>
            <a:off x="6413167" y="4254899"/>
            <a:ext cx="34768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S</a:t>
            </a:r>
            <a:endParaRPr kumimoji="0" lang="en-Z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8" name="TextBox 47">
            <a:extLst>
              <a:ext uri="{FF2B5EF4-FFF2-40B4-BE49-F238E27FC236}">
                <a16:creationId xmlns:a16="http://schemas.microsoft.com/office/drawing/2014/main" id="{49400AD6-B0C0-4F6F-AC9A-24D17796946B}"/>
              </a:ext>
            </a:extLst>
          </p:cNvPr>
          <p:cNvSpPr txBox="1"/>
          <p:nvPr/>
        </p:nvSpPr>
        <p:spPr>
          <a:xfrm>
            <a:off x="5174242" y="4264987"/>
            <a:ext cx="34768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T</a:t>
            </a:r>
            <a:endParaRPr kumimoji="0" lang="en-Z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9" name="TextBox 48">
            <a:extLst>
              <a:ext uri="{FF2B5EF4-FFF2-40B4-BE49-F238E27FC236}">
                <a16:creationId xmlns:a16="http://schemas.microsoft.com/office/drawing/2014/main" id="{7D91ED92-E928-42DA-B1BE-2FCA88DACE11}"/>
              </a:ext>
            </a:extLst>
          </p:cNvPr>
          <p:cNvSpPr txBox="1"/>
          <p:nvPr/>
        </p:nvSpPr>
        <p:spPr>
          <a:xfrm>
            <a:off x="4726705" y="3379996"/>
            <a:ext cx="34768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E</a:t>
            </a:r>
            <a:endParaRPr kumimoji="0" lang="en-Z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50" name="TextBox 49">
            <a:extLst>
              <a:ext uri="{FF2B5EF4-FFF2-40B4-BE49-F238E27FC236}">
                <a16:creationId xmlns:a16="http://schemas.microsoft.com/office/drawing/2014/main" id="{EDB2356C-94D3-4E84-9414-6CDAC933E561}"/>
              </a:ext>
            </a:extLst>
          </p:cNvPr>
          <p:cNvSpPr txBox="1"/>
          <p:nvPr/>
        </p:nvSpPr>
        <p:spPr>
          <a:xfrm>
            <a:off x="5158694" y="2329344"/>
            <a:ext cx="34768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a:ea typeface="+mn-ea"/>
                <a:cs typeface="+mn-cs"/>
              </a:rPr>
              <a:t>L</a:t>
            </a:r>
            <a:endParaRPr kumimoji="0" lang="en-Z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58" name="TextBox 57">
            <a:extLst>
              <a:ext uri="{FF2B5EF4-FFF2-40B4-BE49-F238E27FC236}">
                <a16:creationId xmlns:a16="http://schemas.microsoft.com/office/drawing/2014/main" id="{455E8C8C-4CEA-4A0E-A0BE-0325A18FD1C0}"/>
              </a:ext>
            </a:extLst>
          </p:cNvPr>
          <p:cNvSpPr txBox="1"/>
          <p:nvPr/>
        </p:nvSpPr>
        <p:spPr>
          <a:xfrm>
            <a:off x="488303" y="4615829"/>
            <a:ext cx="2945487" cy="684000"/>
          </a:xfrm>
          <a:prstGeom prst="rect">
            <a:avLst/>
          </a:prstGeom>
          <a:solidFill>
            <a:schemeClr val="bg1"/>
          </a:solidFill>
          <a:ln w="38100">
            <a:noFill/>
          </a:ln>
        </p:spPr>
        <p:txBody>
          <a:bodyPr wrap="square" rtlCol="0">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ysClr val="windowText" lastClr="000000"/>
                </a:solidFill>
                <a:effectLst/>
                <a:uLnTx/>
                <a:uFillTx/>
                <a:latin typeface="Calibri"/>
                <a:ea typeface="+mn-ea"/>
                <a:cs typeface="+mn-cs"/>
              </a:rPr>
              <a:t>The advent of the 4</a:t>
            </a:r>
            <a:r>
              <a:rPr kumimoji="0" lang="en-US" sz="1100" b="0" i="0" u="none" strike="noStrike" kern="1200" cap="none" spc="0" normalizeH="0" baseline="30000" noProof="0" dirty="0">
                <a:ln>
                  <a:noFill/>
                </a:ln>
                <a:solidFill>
                  <a:sysClr val="windowText" lastClr="000000"/>
                </a:solidFill>
                <a:effectLst/>
                <a:uLnTx/>
                <a:uFillTx/>
                <a:latin typeface="Calibri"/>
                <a:ea typeface="+mn-ea"/>
                <a:cs typeface="+mn-cs"/>
              </a:rPr>
              <a:t>th</a:t>
            </a:r>
            <a:r>
              <a:rPr kumimoji="0" lang="en-US" sz="1100" b="0" i="0" u="none" strike="noStrike" kern="1200" cap="none" spc="0" normalizeH="0" baseline="0" noProof="0" dirty="0">
                <a:ln>
                  <a:noFill/>
                </a:ln>
                <a:solidFill>
                  <a:sysClr val="windowText" lastClr="000000"/>
                </a:solidFill>
                <a:effectLst/>
                <a:uLnTx/>
                <a:uFillTx/>
                <a:latin typeface="Calibri"/>
                <a:ea typeface="+mn-ea"/>
                <a:cs typeface="+mn-cs"/>
              </a:rPr>
              <a:t> industrial revolution has brought new technologies and innovation into the market enabling lower income households ability to access affordable fina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ysClr val="windowText" lastClr="000000"/>
                </a:solidFill>
                <a:effectLst/>
                <a:uLnTx/>
                <a:uFillTx/>
                <a:latin typeface="Calibri"/>
                <a:ea typeface="+mn-ea"/>
                <a:cs typeface="+mn-cs"/>
              </a:rPr>
              <a:t>Innovation in housing materials have led to cheaper raw materials required to build better quality housing</a:t>
            </a:r>
          </a:p>
        </p:txBody>
      </p:sp>
      <p:sp>
        <p:nvSpPr>
          <p:cNvPr id="59" name="TextBox 58">
            <a:extLst>
              <a:ext uri="{FF2B5EF4-FFF2-40B4-BE49-F238E27FC236}">
                <a16:creationId xmlns:a16="http://schemas.microsoft.com/office/drawing/2014/main" id="{036EE534-6053-4B9B-84E4-6035D5D24409}"/>
              </a:ext>
            </a:extLst>
          </p:cNvPr>
          <p:cNvSpPr txBox="1"/>
          <p:nvPr/>
        </p:nvSpPr>
        <p:spPr>
          <a:xfrm>
            <a:off x="488303" y="4334579"/>
            <a:ext cx="2945487" cy="252000"/>
          </a:xfrm>
          <a:prstGeom prst="rect">
            <a:avLst/>
          </a:prstGeom>
          <a:solidFill>
            <a:srgbClr val="002060"/>
          </a:solidFill>
          <a:ln w="38100">
            <a:no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100" b="1" i="0" u="none" strike="noStrike" kern="1200" cap="none" spc="0" normalizeH="0" baseline="0" noProof="0" dirty="0">
                <a:ln>
                  <a:noFill/>
                </a:ln>
                <a:solidFill>
                  <a:prstClr val="white"/>
                </a:solidFill>
                <a:effectLst/>
                <a:uLnTx/>
                <a:uFillTx/>
                <a:latin typeface="Calibri"/>
                <a:ea typeface="맑은 고딕" panose="020B0503020000020004" pitchFamily="34" charset="-127"/>
                <a:cs typeface="Arial" pitchFamily="34" charset="0"/>
              </a:rPr>
              <a:t>Technological Factors</a:t>
            </a:r>
            <a:endParaRPr kumimoji="0" lang="ko-KR" altLang="en-US" sz="1100" b="1" i="0" u="none" strike="noStrike" kern="1200" cap="none" spc="0" normalizeH="0" baseline="0" noProof="0">
              <a:ln>
                <a:noFill/>
              </a:ln>
              <a:solidFill>
                <a:prstClr val="white"/>
              </a:solidFill>
              <a:effectLst/>
              <a:uLnTx/>
              <a:uFillTx/>
              <a:latin typeface="Calibri"/>
              <a:ea typeface="맑은 고딕" panose="020B0503020000020004" pitchFamily="34" charset="-127"/>
              <a:cs typeface="Arial" pitchFamily="34" charset="0"/>
            </a:endParaRPr>
          </a:p>
        </p:txBody>
      </p:sp>
      <p:sp>
        <p:nvSpPr>
          <p:cNvPr id="61" name="TextBox 60">
            <a:extLst>
              <a:ext uri="{FF2B5EF4-FFF2-40B4-BE49-F238E27FC236}">
                <a16:creationId xmlns:a16="http://schemas.microsoft.com/office/drawing/2014/main" id="{79EC6871-0C02-4890-AC5B-58FB4DC2B98E}"/>
              </a:ext>
            </a:extLst>
          </p:cNvPr>
          <p:cNvSpPr txBox="1"/>
          <p:nvPr/>
        </p:nvSpPr>
        <p:spPr>
          <a:xfrm>
            <a:off x="488303" y="3408469"/>
            <a:ext cx="2945487" cy="684000"/>
          </a:xfrm>
          <a:prstGeom prst="rect">
            <a:avLst/>
          </a:prstGeom>
          <a:solidFill>
            <a:schemeClr val="bg1"/>
          </a:solidFill>
          <a:ln w="38100">
            <a:noFill/>
          </a:ln>
        </p:spPr>
        <p:txBody>
          <a:bodyPr wrap="square" rtlCol="0">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ysClr val="windowText" lastClr="000000"/>
                </a:solidFill>
                <a:effectLst/>
                <a:uLnTx/>
                <a:uFillTx/>
                <a:latin typeface="Calibri"/>
                <a:ea typeface="+mn-ea"/>
                <a:cs typeface="+mn-cs"/>
              </a:rPr>
              <a:t>Increased awareness of enterprise ecological footprint has provided the market with new considerations to ensure that their needs are met in a sustainable manner.</a:t>
            </a:r>
          </a:p>
        </p:txBody>
      </p:sp>
      <p:sp>
        <p:nvSpPr>
          <p:cNvPr id="62" name="TextBox 61">
            <a:extLst>
              <a:ext uri="{FF2B5EF4-FFF2-40B4-BE49-F238E27FC236}">
                <a16:creationId xmlns:a16="http://schemas.microsoft.com/office/drawing/2014/main" id="{F4DA219E-ECE7-4F6D-B526-65FFD2299492}"/>
              </a:ext>
            </a:extLst>
          </p:cNvPr>
          <p:cNvSpPr txBox="1"/>
          <p:nvPr/>
        </p:nvSpPr>
        <p:spPr>
          <a:xfrm>
            <a:off x="488302" y="3225216"/>
            <a:ext cx="2945487" cy="252000"/>
          </a:xfrm>
          <a:prstGeom prst="rect">
            <a:avLst/>
          </a:prstGeom>
          <a:solidFill>
            <a:srgbClr val="FFD966"/>
          </a:solidFill>
          <a:ln w="38100">
            <a:no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100" b="1" i="0" u="none" strike="noStrike" kern="1200" cap="none" spc="0" normalizeH="0" baseline="0" noProof="0" dirty="0">
                <a:ln>
                  <a:noFill/>
                </a:ln>
                <a:solidFill>
                  <a:prstClr val="white"/>
                </a:solidFill>
                <a:effectLst/>
                <a:uLnTx/>
                <a:uFillTx/>
                <a:latin typeface="Calibri"/>
                <a:ea typeface="맑은 고딕" panose="020B0503020000020004" pitchFamily="34" charset="-127"/>
                <a:cs typeface="Arial" pitchFamily="34" charset="0"/>
              </a:rPr>
              <a:t>Environmental Factors</a:t>
            </a:r>
            <a:endParaRPr kumimoji="0" lang="ko-KR" altLang="en-US" sz="1100" b="1" i="0" u="none" strike="noStrike" kern="1200" cap="none" spc="0" normalizeH="0" baseline="0" noProof="0">
              <a:ln>
                <a:noFill/>
              </a:ln>
              <a:solidFill>
                <a:prstClr val="white"/>
              </a:solidFill>
              <a:effectLst/>
              <a:uLnTx/>
              <a:uFillTx/>
              <a:latin typeface="Calibri"/>
              <a:ea typeface="맑은 고딕" panose="020B0503020000020004" pitchFamily="34" charset="-127"/>
              <a:cs typeface="Arial" pitchFamily="34" charset="0"/>
            </a:endParaRPr>
          </a:p>
        </p:txBody>
      </p:sp>
      <p:sp>
        <p:nvSpPr>
          <p:cNvPr id="64" name="TextBox 63">
            <a:extLst>
              <a:ext uri="{FF2B5EF4-FFF2-40B4-BE49-F238E27FC236}">
                <a16:creationId xmlns:a16="http://schemas.microsoft.com/office/drawing/2014/main" id="{F72EA978-6881-4F19-9C02-A507AE683415}"/>
              </a:ext>
            </a:extLst>
          </p:cNvPr>
          <p:cNvSpPr txBox="1"/>
          <p:nvPr/>
        </p:nvSpPr>
        <p:spPr>
          <a:xfrm>
            <a:off x="488303" y="1525137"/>
            <a:ext cx="2945487" cy="684000"/>
          </a:xfrm>
          <a:prstGeom prst="rect">
            <a:avLst/>
          </a:prstGeom>
          <a:solidFill>
            <a:schemeClr val="bg1"/>
          </a:solidFill>
          <a:ln w="38100">
            <a:noFill/>
          </a:ln>
        </p:spPr>
        <p:txBody>
          <a:bodyPr wrap="square" rtlCol="0">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ysClr val="windowText" lastClr="000000"/>
                </a:solidFill>
                <a:effectLst/>
                <a:uLnTx/>
                <a:uFillTx/>
                <a:latin typeface="Calibri"/>
                <a:ea typeface="+mn-ea"/>
                <a:cs typeface="+mn-cs"/>
              </a:rPr>
              <a:t>Policy uncertainty </a:t>
            </a:r>
            <a:r>
              <a:rPr lang="en-US" sz="1100" dirty="0">
                <a:solidFill>
                  <a:sysClr val="windowText" lastClr="000000"/>
                </a:solidFill>
                <a:latin typeface="Calibri"/>
              </a:rPr>
              <a:t>: </a:t>
            </a:r>
            <a:r>
              <a:rPr kumimoji="0" lang="en-US" sz="1100" b="0" i="0" u="none" strike="noStrike" kern="1200" cap="none" spc="0" normalizeH="0" baseline="0" noProof="0" dirty="0">
                <a:ln>
                  <a:noFill/>
                </a:ln>
                <a:solidFill>
                  <a:sysClr val="windowText" lastClr="000000"/>
                </a:solidFill>
                <a:effectLst/>
                <a:uLnTx/>
                <a:uFillTx/>
                <a:latin typeface="Calibri"/>
                <a:ea typeface="+mn-ea"/>
                <a:cs typeface="+mn-cs"/>
              </a:rPr>
              <a:t>The prevalent issues related to land reform and expropriation looms in the distance and casts a shadow within the market as it seeks clar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ysClr val="windowText" lastClr="000000"/>
                </a:solidFill>
                <a:effectLst/>
                <a:uLnTx/>
                <a:uFillTx/>
                <a:latin typeface="Calibri"/>
                <a:ea typeface="+mn-ea"/>
                <a:cs typeface="+mn-cs"/>
              </a:rPr>
              <a:t>Legislation approval processes hamper efficienci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ysClr val="windowText" lastClr="000000"/>
                </a:solidFill>
                <a:latin typeface="Calibri"/>
              </a:rPr>
              <a:t>R</a:t>
            </a:r>
            <a:r>
              <a:rPr kumimoji="0" lang="en-US" sz="1100" b="0" i="0" u="none" strike="noStrike" kern="1200" cap="none" spc="0" normalizeH="0" baseline="0" noProof="0" dirty="0" err="1">
                <a:ln>
                  <a:noFill/>
                </a:ln>
                <a:solidFill>
                  <a:sysClr val="windowText" lastClr="000000"/>
                </a:solidFill>
                <a:effectLst/>
                <a:uLnTx/>
                <a:uFillTx/>
                <a:latin typeface="Calibri"/>
                <a:ea typeface="+mn-ea"/>
                <a:cs typeface="+mn-cs"/>
              </a:rPr>
              <a:t>ental</a:t>
            </a:r>
            <a:r>
              <a:rPr kumimoji="0" lang="en-US" sz="1100" b="0" i="0" u="none" strike="noStrike" kern="1200" cap="none" spc="0" normalizeH="0" baseline="0" noProof="0" dirty="0">
                <a:ln>
                  <a:noFill/>
                </a:ln>
                <a:solidFill>
                  <a:sysClr val="windowText" lastClr="000000"/>
                </a:solidFill>
                <a:effectLst/>
                <a:uLnTx/>
                <a:uFillTx/>
                <a:latin typeface="Calibri"/>
                <a:ea typeface="+mn-ea"/>
                <a:cs typeface="+mn-cs"/>
              </a:rPr>
              <a:t> agreements and payment conditions will be negatively impacted by COVID-19 as businesses and households push back on payment agreemen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ysClr val="windowText" lastClr="000000"/>
              </a:solidFill>
              <a:effectLst/>
              <a:uLnTx/>
              <a:uFillTx/>
              <a:latin typeface="Calibri"/>
              <a:ea typeface="+mn-ea"/>
              <a:cs typeface="+mn-cs"/>
            </a:endParaRPr>
          </a:p>
        </p:txBody>
      </p:sp>
      <p:sp>
        <p:nvSpPr>
          <p:cNvPr id="65" name="TextBox 64">
            <a:extLst>
              <a:ext uri="{FF2B5EF4-FFF2-40B4-BE49-F238E27FC236}">
                <a16:creationId xmlns:a16="http://schemas.microsoft.com/office/drawing/2014/main" id="{55065769-E410-42D5-B599-D129877228A7}"/>
              </a:ext>
            </a:extLst>
          </p:cNvPr>
          <p:cNvSpPr txBox="1"/>
          <p:nvPr/>
        </p:nvSpPr>
        <p:spPr>
          <a:xfrm>
            <a:off x="488303" y="1255736"/>
            <a:ext cx="2945487" cy="252000"/>
          </a:xfrm>
          <a:prstGeom prst="rect">
            <a:avLst/>
          </a:prstGeom>
          <a:solidFill>
            <a:srgbClr val="A6A6A6"/>
          </a:solidFill>
          <a:ln w="38100">
            <a:no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100" b="1" i="0" u="none" strike="noStrike" kern="1200" cap="none" spc="0" normalizeH="0" baseline="0" noProof="0" dirty="0">
                <a:ln>
                  <a:noFill/>
                </a:ln>
                <a:solidFill>
                  <a:prstClr val="white"/>
                </a:solidFill>
                <a:effectLst/>
                <a:uLnTx/>
                <a:uFillTx/>
                <a:latin typeface="Calibri"/>
                <a:ea typeface="맑은 고딕" panose="020B0503020000020004" pitchFamily="34" charset="-127"/>
                <a:cs typeface="Arial" pitchFamily="34" charset="0"/>
              </a:rPr>
              <a:t>Legal Factors</a:t>
            </a:r>
            <a:endParaRPr kumimoji="0" lang="ko-KR" altLang="en-US" sz="1100" b="1" i="0" u="none" strike="noStrike" kern="1200" cap="none" spc="0" normalizeH="0" baseline="0" noProof="0">
              <a:ln>
                <a:noFill/>
              </a:ln>
              <a:solidFill>
                <a:prstClr val="white"/>
              </a:solidFill>
              <a:effectLst/>
              <a:uLnTx/>
              <a:uFillTx/>
              <a:latin typeface="Calibri"/>
              <a:ea typeface="맑은 고딕" panose="020B0503020000020004" pitchFamily="34" charset="-127"/>
              <a:cs typeface="Arial" pitchFamily="34" charset="0"/>
            </a:endParaRPr>
          </a:p>
        </p:txBody>
      </p:sp>
      <p:sp>
        <p:nvSpPr>
          <p:cNvPr id="2" name="Rectangle 1">
            <a:extLst>
              <a:ext uri="{FF2B5EF4-FFF2-40B4-BE49-F238E27FC236}">
                <a16:creationId xmlns:a16="http://schemas.microsoft.com/office/drawing/2014/main" id="{6C26D67A-87A7-43BD-AD17-1D2E09B696CC}"/>
              </a:ext>
            </a:extLst>
          </p:cNvPr>
          <p:cNvSpPr/>
          <p:nvPr/>
        </p:nvSpPr>
        <p:spPr>
          <a:xfrm>
            <a:off x="3118765" y="1255735"/>
            <a:ext cx="315024" cy="252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100" b="0" i="0" u="none" strike="noStrike" kern="1200" cap="none" spc="0" normalizeH="0" baseline="0" noProof="0" dirty="0">
              <a:ln>
                <a:noFill/>
              </a:ln>
              <a:solidFill>
                <a:prstClr val="white"/>
              </a:solidFill>
              <a:effectLst/>
              <a:uLnTx/>
              <a:uFillTx/>
              <a:latin typeface="Calibri"/>
              <a:ea typeface="+mn-ea"/>
              <a:cs typeface="+mn-cs"/>
            </a:endParaRPr>
          </a:p>
        </p:txBody>
      </p:sp>
      <p:sp>
        <p:nvSpPr>
          <p:cNvPr id="74" name="Rectangle 73">
            <a:extLst>
              <a:ext uri="{FF2B5EF4-FFF2-40B4-BE49-F238E27FC236}">
                <a16:creationId xmlns:a16="http://schemas.microsoft.com/office/drawing/2014/main" id="{6422D5DE-2617-4969-8072-4049B2205DDA}"/>
              </a:ext>
            </a:extLst>
          </p:cNvPr>
          <p:cNvSpPr/>
          <p:nvPr/>
        </p:nvSpPr>
        <p:spPr>
          <a:xfrm>
            <a:off x="3138932" y="3220271"/>
            <a:ext cx="315024" cy="2520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100" b="0" i="0" u="none" strike="noStrike" kern="1200" cap="none" spc="0" normalizeH="0" baseline="0" noProof="0" dirty="0">
              <a:ln>
                <a:noFill/>
              </a:ln>
              <a:solidFill>
                <a:prstClr val="white"/>
              </a:solidFill>
              <a:effectLst/>
              <a:uLnTx/>
              <a:uFillTx/>
              <a:latin typeface="Calibri"/>
              <a:ea typeface="+mn-ea"/>
              <a:cs typeface="+mn-cs"/>
            </a:endParaRPr>
          </a:p>
        </p:txBody>
      </p:sp>
      <p:sp>
        <p:nvSpPr>
          <p:cNvPr id="75" name="Rectangle 74">
            <a:extLst>
              <a:ext uri="{FF2B5EF4-FFF2-40B4-BE49-F238E27FC236}">
                <a16:creationId xmlns:a16="http://schemas.microsoft.com/office/drawing/2014/main" id="{D62E30B0-A511-4D8F-B375-28DB8BE1D4B2}"/>
              </a:ext>
            </a:extLst>
          </p:cNvPr>
          <p:cNvSpPr/>
          <p:nvPr/>
        </p:nvSpPr>
        <p:spPr>
          <a:xfrm>
            <a:off x="3142632" y="4340502"/>
            <a:ext cx="315024" cy="252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100" b="0" i="0" u="none" strike="noStrike" kern="1200" cap="none" spc="0" normalizeH="0" baseline="0" noProof="0" dirty="0">
              <a:ln>
                <a:noFill/>
              </a:ln>
              <a:solidFill>
                <a:prstClr val="white"/>
              </a:solidFill>
              <a:effectLst/>
              <a:uLnTx/>
              <a:uFillTx/>
              <a:latin typeface="Calibri"/>
              <a:ea typeface="+mn-ea"/>
              <a:cs typeface="+mn-cs"/>
            </a:endParaRPr>
          </a:p>
        </p:txBody>
      </p:sp>
      <p:sp>
        <p:nvSpPr>
          <p:cNvPr id="33" name="TextBox 32">
            <a:extLst>
              <a:ext uri="{FF2B5EF4-FFF2-40B4-BE49-F238E27FC236}">
                <a16:creationId xmlns:a16="http://schemas.microsoft.com/office/drawing/2014/main" id="{EF6CD9B7-8B55-4A28-916A-F09DE876A797}"/>
              </a:ext>
            </a:extLst>
          </p:cNvPr>
          <p:cNvSpPr txBox="1"/>
          <p:nvPr/>
        </p:nvSpPr>
        <p:spPr>
          <a:xfrm>
            <a:off x="8744409" y="1525137"/>
            <a:ext cx="2945487" cy="684000"/>
          </a:xfrm>
          <a:prstGeom prst="rect">
            <a:avLst/>
          </a:prstGeom>
          <a:solidFill>
            <a:schemeClr val="bg1"/>
          </a:solidFill>
          <a:ln w="38100">
            <a:noFill/>
          </a:ln>
        </p:spPr>
        <p:txBody>
          <a:bodyPr wrap="square" rtlCol="0">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ysClr val="windowText" lastClr="000000"/>
                </a:solidFill>
                <a:effectLst/>
                <a:uLnTx/>
                <a:uFillTx/>
                <a:latin typeface="Calibri"/>
                <a:ea typeface="+mn-ea"/>
                <a:cs typeface="+mn-cs"/>
              </a:rPr>
              <a:t>The newly formed democracy inherited a flawed system which has isolated most of the population away from economic activit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ysClr val="windowText" lastClr="000000"/>
                </a:solidFill>
                <a:effectLst/>
                <a:uLnTx/>
                <a:uFillTx/>
                <a:latin typeface="Calibri"/>
                <a:ea typeface="+mn-ea"/>
                <a:cs typeface="+mn-cs"/>
              </a:rPr>
              <a:t>High levels of fraud and corruption have reduced investor confidence resulting in a decline in the property marke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ysClr val="windowText" lastClr="000000"/>
              </a:solidFill>
              <a:effectLst/>
              <a:uLnTx/>
              <a:uFillTx/>
              <a:latin typeface="Calibri"/>
              <a:ea typeface="+mn-ea"/>
              <a:cs typeface="+mn-cs"/>
            </a:endParaRPr>
          </a:p>
        </p:txBody>
      </p:sp>
      <p:sp>
        <p:nvSpPr>
          <p:cNvPr id="34" name="TextBox 33">
            <a:extLst>
              <a:ext uri="{FF2B5EF4-FFF2-40B4-BE49-F238E27FC236}">
                <a16:creationId xmlns:a16="http://schemas.microsoft.com/office/drawing/2014/main" id="{746E8607-26B9-4EF9-A6CE-94EB102A4A11}"/>
              </a:ext>
            </a:extLst>
          </p:cNvPr>
          <p:cNvSpPr txBox="1"/>
          <p:nvPr/>
        </p:nvSpPr>
        <p:spPr>
          <a:xfrm>
            <a:off x="8744409" y="1255736"/>
            <a:ext cx="2945487" cy="252000"/>
          </a:xfrm>
          <a:prstGeom prst="rect">
            <a:avLst/>
          </a:prstGeom>
          <a:solidFill>
            <a:srgbClr val="002060"/>
          </a:solidFill>
          <a:ln w="38100">
            <a:no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100" b="1" i="0" u="none" strike="noStrike" kern="1200" cap="none" spc="0" normalizeH="0" baseline="0" noProof="0" dirty="0">
                <a:ln>
                  <a:noFill/>
                </a:ln>
                <a:solidFill>
                  <a:prstClr val="white"/>
                </a:solidFill>
                <a:effectLst/>
                <a:uLnTx/>
                <a:uFillTx/>
                <a:latin typeface="Calibri"/>
                <a:ea typeface="맑은 고딕" panose="020B0503020000020004" pitchFamily="34" charset="-127"/>
                <a:cs typeface="Arial" pitchFamily="34" charset="0"/>
              </a:rPr>
              <a:t>Political Factors</a:t>
            </a:r>
            <a:endParaRPr kumimoji="0" lang="ko-KR" altLang="en-US" sz="1100" b="1" i="0" u="none" strike="noStrike" kern="1200" cap="none" spc="0" normalizeH="0" baseline="0" noProof="0">
              <a:ln>
                <a:noFill/>
              </a:ln>
              <a:solidFill>
                <a:prstClr val="white"/>
              </a:solidFill>
              <a:effectLst/>
              <a:uLnTx/>
              <a:uFillTx/>
              <a:latin typeface="Calibri"/>
              <a:ea typeface="맑은 고딕" panose="020B0503020000020004" pitchFamily="34" charset="-127"/>
              <a:cs typeface="Arial" pitchFamily="34" charset="0"/>
            </a:endParaRPr>
          </a:p>
        </p:txBody>
      </p:sp>
      <p:sp>
        <p:nvSpPr>
          <p:cNvPr id="52" name="TextBox 51">
            <a:extLst>
              <a:ext uri="{FF2B5EF4-FFF2-40B4-BE49-F238E27FC236}">
                <a16:creationId xmlns:a16="http://schemas.microsoft.com/office/drawing/2014/main" id="{DDF38F95-C1AE-4E80-91E8-FDB42CE6BC71}"/>
              </a:ext>
            </a:extLst>
          </p:cNvPr>
          <p:cNvSpPr txBox="1"/>
          <p:nvPr/>
        </p:nvSpPr>
        <p:spPr>
          <a:xfrm>
            <a:off x="8753740" y="2772360"/>
            <a:ext cx="2945487" cy="684000"/>
          </a:xfrm>
          <a:prstGeom prst="rect">
            <a:avLst/>
          </a:prstGeom>
          <a:solidFill>
            <a:schemeClr val="bg1"/>
          </a:solidFill>
          <a:ln w="38100">
            <a:noFill/>
          </a:ln>
        </p:spPr>
        <p:txBody>
          <a:bodyPr wrap="square" rtlCol="0">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solidFill>
                  <a:sysClr val="windowText" lastClr="000000"/>
                </a:solidFill>
                <a:latin typeface="Calibri"/>
              </a:rPr>
              <a:t>Economic effects of the crisis caused by the Covid-19 pandemic have been extensive and a recovery to pre-pandemic levels will take several yea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err="1">
                <a:solidFill>
                  <a:sysClr val="windowText" lastClr="000000"/>
                </a:solidFill>
                <a:latin typeface="Calibri"/>
              </a:rPr>
              <a:t>DGP</a:t>
            </a:r>
            <a:r>
              <a:rPr lang="en-US" sz="1100" dirty="0">
                <a:solidFill>
                  <a:sysClr val="windowText" lastClr="000000"/>
                </a:solidFill>
                <a:latin typeface="Calibri"/>
              </a:rPr>
              <a:t> expected to contract, interest rates expected to remain  the same, unemployment increased due to pandemic thereby reducing household disposable income and access to credit</a:t>
            </a:r>
            <a:endParaRPr kumimoji="0" lang="en-US" sz="1100" b="0" i="0" u="none" strike="noStrike" kern="1200" cap="none" spc="0" normalizeH="0" baseline="0" noProof="0" dirty="0">
              <a:ln>
                <a:noFill/>
              </a:ln>
              <a:solidFill>
                <a:sysClr val="windowText" lastClr="000000"/>
              </a:solidFill>
              <a:effectLst/>
              <a:uLnTx/>
              <a:uFillTx/>
              <a:latin typeface="Calibri"/>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ysClr val="windowText" lastClr="000000"/>
                </a:solidFill>
                <a:effectLst/>
                <a:uLnTx/>
                <a:uFillTx/>
                <a:latin typeface="Calibri"/>
                <a:ea typeface="+mn-ea"/>
                <a:cs typeface="+mn-cs"/>
              </a:rPr>
              <a:t>Financial sector continues to serve the middle-higher end of the marke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ysClr val="windowText" lastClr="000000"/>
              </a:solidFill>
              <a:effectLst/>
              <a:uLnTx/>
              <a:uFillTx/>
              <a:latin typeface="Calibri"/>
              <a:ea typeface="+mn-ea"/>
              <a:cs typeface="+mn-cs"/>
            </a:endParaRPr>
          </a:p>
        </p:txBody>
      </p:sp>
      <p:sp>
        <p:nvSpPr>
          <p:cNvPr id="53" name="TextBox 52">
            <a:extLst>
              <a:ext uri="{FF2B5EF4-FFF2-40B4-BE49-F238E27FC236}">
                <a16:creationId xmlns:a16="http://schemas.microsoft.com/office/drawing/2014/main" id="{079ACD6D-F04D-47D5-A6B8-1C6EE20DAA84}"/>
              </a:ext>
            </a:extLst>
          </p:cNvPr>
          <p:cNvSpPr txBox="1"/>
          <p:nvPr/>
        </p:nvSpPr>
        <p:spPr>
          <a:xfrm>
            <a:off x="8753740" y="2575721"/>
            <a:ext cx="2945487" cy="252000"/>
          </a:xfrm>
          <a:prstGeom prst="rect">
            <a:avLst/>
          </a:prstGeom>
          <a:solidFill>
            <a:srgbClr val="FFD966"/>
          </a:solidFill>
          <a:ln w="38100">
            <a:no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100" b="1" i="0" u="none" strike="noStrike" kern="1200" cap="none" spc="0" normalizeH="0" baseline="0" noProof="0" dirty="0">
                <a:ln>
                  <a:noFill/>
                </a:ln>
                <a:solidFill>
                  <a:prstClr val="white"/>
                </a:solidFill>
                <a:effectLst/>
                <a:uLnTx/>
                <a:uFillTx/>
                <a:latin typeface="Calibri"/>
                <a:ea typeface="맑은 고딕" panose="020B0503020000020004" pitchFamily="34" charset="-127"/>
                <a:cs typeface="Arial" pitchFamily="34" charset="0"/>
              </a:rPr>
              <a:t>Economical Factors</a:t>
            </a:r>
            <a:endParaRPr kumimoji="0" lang="ko-KR" altLang="en-US" sz="1100" b="1" i="0" u="none" strike="noStrike" kern="1200" cap="none" spc="0" normalizeH="0" baseline="0" noProof="0">
              <a:ln>
                <a:noFill/>
              </a:ln>
              <a:solidFill>
                <a:prstClr val="white"/>
              </a:solidFill>
              <a:effectLst/>
              <a:uLnTx/>
              <a:uFillTx/>
              <a:latin typeface="Calibri"/>
              <a:ea typeface="맑은 고딕" panose="020B0503020000020004" pitchFamily="34" charset="-127"/>
              <a:cs typeface="Arial" pitchFamily="34" charset="0"/>
            </a:endParaRPr>
          </a:p>
        </p:txBody>
      </p:sp>
      <p:sp>
        <p:nvSpPr>
          <p:cNvPr id="55" name="TextBox 54">
            <a:extLst>
              <a:ext uri="{FF2B5EF4-FFF2-40B4-BE49-F238E27FC236}">
                <a16:creationId xmlns:a16="http://schemas.microsoft.com/office/drawing/2014/main" id="{36AF48E8-C637-4C80-9C26-F4E785D4B34A}"/>
              </a:ext>
            </a:extLst>
          </p:cNvPr>
          <p:cNvSpPr txBox="1"/>
          <p:nvPr/>
        </p:nvSpPr>
        <p:spPr>
          <a:xfrm>
            <a:off x="8744409" y="4793107"/>
            <a:ext cx="2945487" cy="684000"/>
          </a:xfrm>
          <a:prstGeom prst="rect">
            <a:avLst/>
          </a:prstGeom>
          <a:solidFill>
            <a:schemeClr val="bg1"/>
          </a:solidFill>
          <a:ln w="38100">
            <a:noFill/>
          </a:ln>
        </p:spPr>
        <p:txBody>
          <a:bodyPr wrap="square" rtlCol="0">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ysClr val="windowText" lastClr="000000"/>
                </a:solidFill>
                <a:effectLst/>
                <a:uLnTx/>
                <a:uFillTx/>
                <a:latin typeface="Calibri"/>
                <a:ea typeface="+mn-ea"/>
                <a:cs typeface="+mn-cs"/>
              </a:rPr>
              <a:t>Rapid urbanization and population growth has increased migration to metropolitan areas as the market seeks to address spatial issues constructed by the previous regim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ysClr val="windowText" lastClr="000000"/>
                </a:solidFill>
                <a:effectLst/>
                <a:uLnTx/>
                <a:uFillTx/>
                <a:latin typeface="Calibri"/>
                <a:ea typeface="+mn-ea"/>
                <a:cs typeface="+mn-cs"/>
              </a:rPr>
              <a:t>The limited exposure, education and awareness of financial planning, savings and wealth generation limits the lower end of the market from participating in property markets</a:t>
            </a:r>
          </a:p>
        </p:txBody>
      </p:sp>
      <p:sp>
        <p:nvSpPr>
          <p:cNvPr id="56" name="TextBox 55">
            <a:extLst>
              <a:ext uri="{FF2B5EF4-FFF2-40B4-BE49-F238E27FC236}">
                <a16:creationId xmlns:a16="http://schemas.microsoft.com/office/drawing/2014/main" id="{5F1B6C87-C4BF-4C4B-9D05-50C68D2C1063}"/>
              </a:ext>
            </a:extLst>
          </p:cNvPr>
          <p:cNvSpPr txBox="1"/>
          <p:nvPr/>
        </p:nvSpPr>
        <p:spPr>
          <a:xfrm>
            <a:off x="8744409" y="4613287"/>
            <a:ext cx="2945487" cy="252000"/>
          </a:xfrm>
          <a:prstGeom prst="rect">
            <a:avLst/>
          </a:prstGeom>
          <a:solidFill>
            <a:srgbClr val="A6A6A6"/>
          </a:solidFill>
          <a:ln w="38100">
            <a:no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100" b="1" i="0" u="none" strike="noStrike" kern="1200" cap="none" spc="0" normalizeH="0" baseline="0" noProof="0" dirty="0">
                <a:ln>
                  <a:noFill/>
                </a:ln>
                <a:solidFill>
                  <a:prstClr val="white"/>
                </a:solidFill>
                <a:effectLst/>
                <a:uLnTx/>
                <a:uFillTx/>
                <a:latin typeface="Calibri"/>
                <a:ea typeface="맑은 고딕" panose="020B0503020000020004" pitchFamily="34" charset="-127"/>
                <a:cs typeface="Arial" pitchFamily="34" charset="0"/>
              </a:rPr>
              <a:t>Sociological Factors</a:t>
            </a:r>
            <a:endParaRPr kumimoji="0" lang="ko-KR" altLang="en-US" sz="1100" b="1" i="0" u="none" strike="noStrike" kern="1200" cap="none" spc="0" normalizeH="0" baseline="0" noProof="0" dirty="0">
              <a:ln>
                <a:noFill/>
              </a:ln>
              <a:solidFill>
                <a:prstClr val="white"/>
              </a:solidFill>
              <a:effectLst/>
              <a:uLnTx/>
              <a:uFillTx/>
              <a:latin typeface="Calibri"/>
              <a:ea typeface="맑은 고딕" panose="020B0503020000020004" pitchFamily="34" charset="-127"/>
              <a:cs typeface="Arial" pitchFamily="34" charset="0"/>
            </a:endParaRPr>
          </a:p>
        </p:txBody>
      </p:sp>
      <p:sp>
        <p:nvSpPr>
          <p:cNvPr id="76" name="Rectangle 75">
            <a:extLst>
              <a:ext uri="{FF2B5EF4-FFF2-40B4-BE49-F238E27FC236}">
                <a16:creationId xmlns:a16="http://schemas.microsoft.com/office/drawing/2014/main" id="{33294A8C-4BB7-4F9F-A07B-297034EAC180}"/>
              </a:ext>
            </a:extLst>
          </p:cNvPr>
          <p:cNvSpPr/>
          <p:nvPr/>
        </p:nvSpPr>
        <p:spPr>
          <a:xfrm>
            <a:off x="11376735" y="1255978"/>
            <a:ext cx="315024" cy="252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100" b="0" i="0" u="none" strike="noStrike" kern="1200" cap="none" spc="0" normalizeH="0" baseline="0" noProof="0" dirty="0">
              <a:ln>
                <a:noFill/>
              </a:ln>
              <a:solidFill>
                <a:prstClr val="white"/>
              </a:solidFill>
              <a:effectLst/>
              <a:uLnTx/>
              <a:uFillTx/>
              <a:latin typeface="Calibri"/>
              <a:ea typeface="+mn-ea"/>
              <a:cs typeface="+mn-cs"/>
            </a:endParaRPr>
          </a:p>
        </p:txBody>
      </p:sp>
      <p:sp>
        <p:nvSpPr>
          <p:cNvPr id="77" name="Rectangle 76">
            <a:extLst>
              <a:ext uri="{FF2B5EF4-FFF2-40B4-BE49-F238E27FC236}">
                <a16:creationId xmlns:a16="http://schemas.microsoft.com/office/drawing/2014/main" id="{C7522CC4-062E-4D1F-88E8-F2B238C39988}"/>
              </a:ext>
            </a:extLst>
          </p:cNvPr>
          <p:cNvSpPr/>
          <p:nvPr/>
        </p:nvSpPr>
        <p:spPr>
          <a:xfrm>
            <a:off x="11393400" y="2575721"/>
            <a:ext cx="315024" cy="252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100" b="0" i="0" u="none" strike="noStrike" kern="1200" cap="none" spc="0" normalizeH="0" baseline="0" noProof="0" dirty="0">
              <a:ln>
                <a:noFill/>
              </a:ln>
              <a:solidFill>
                <a:prstClr val="white"/>
              </a:solidFill>
              <a:effectLst/>
              <a:uLnTx/>
              <a:uFillTx/>
              <a:latin typeface="Calibri"/>
              <a:ea typeface="+mn-ea"/>
              <a:cs typeface="+mn-cs"/>
            </a:endParaRPr>
          </a:p>
        </p:txBody>
      </p:sp>
      <p:sp>
        <p:nvSpPr>
          <p:cNvPr id="78" name="Rectangle 77">
            <a:extLst>
              <a:ext uri="{FF2B5EF4-FFF2-40B4-BE49-F238E27FC236}">
                <a16:creationId xmlns:a16="http://schemas.microsoft.com/office/drawing/2014/main" id="{85DEC3FA-A3DC-47B5-88CC-EA6CB17E9164}"/>
              </a:ext>
            </a:extLst>
          </p:cNvPr>
          <p:cNvSpPr/>
          <p:nvPr/>
        </p:nvSpPr>
        <p:spPr>
          <a:xfrm>
            <a:off x="11374872" y="4615829"/>
            <a:ext cx="315024" cy="252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1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91" name="Group 90">
            <a:extLst>
              <a:ext uri="{FF2B5EF4-FFF2-40B4-BE49-F238E27FC236}">
                <a16:creationId xmlns:a16="http://schemas.microsoft.com/office/drawing/2014/main" id="{C8E82006-46ED-4B19-9526-7E1D5CBB13AE}"/>
              </a:ext>
            </a:extLst>
          </p:cNvPr>
          <p:cNvGrpSpPr/>
          <p:nvPr/>
        </p:nvGrpSpPr>
        <p:grpSpPr>
          <a:xfrm>
            <a:off x="585072" y="6105637"/>
            <a:ext cx="4561897" cy="202058"/>
            <a:chOff x="488302" y="6192074"/>
            <a:chExt cx="4561897" cy="202058"/>
          </a:xfrm>
        </p:grpSpPr>
        <p:grpSp>
          <p:nvGrpSpPr>
            <p:cNvPr id="84" name="Group 83">
              <a:extLst>
                <a:ext uri="{FF2B5EF4-FFF2-40B4-BE49-F238E27FC236}">
                  <a16:creationId xmlns:a16="http://schemas.microsoft.com/office/drawing/2014/main" id="{52B36A31-CA65-4C85-BB74-D91B7BB9CC53}"/>
                </a:ext>
              </a:extLst>
            </p:cNvPr>
            <p:cNvGrpSpPr/>
            <p:nvPr/>
          </p:nvGrpSpPr>
          <p:grpSpPr>
            <a:xfrm>
              <a:off x="488302" y="6192074"/>
              <a:ext cx="2527166" cy="202058"/>
              <a:chOff x="488302" y="6196502"/>
              <a:chExt cx="2527166" cy="202058"/>
            </a:xfrm>
          </p:grpSpPr>
          <p:sp>
            <p:nvSpPr>
              <p:cNvPr id="82" name="Rectangle 81">
                <a:extLst>
                  <a:ext uri="{FF2B5EF4-FFF2-40B4-BE49-F238E27FC236}">
                    <a16:creationId xmlns:a16="http://schemas.microsoft.com/office/drawing/2014/main" id="{EF6400B5-85DA-48D1-826C-26C68A1C8C2E}"/>
                  </a:ext>
                </a:extLst>
              </p:cNvPr>
              <p:cNvSpPr/>
              <p:nvPr/>
            </p:nvSpPr>
            <p:spPr>
              <a:xfrm>
                <a:off x="488302" y="6232867"/>
                <a:ext cx="220825" cy="16126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3" name="TextBox 82">
                <a:extLst>
                  <a:ext uri="{FF2B5EF4-FFF2-40B4-BE49-F238E27FC236}">
                    <a16:creationId xmlns:a16="http://schemas.microsoft.com/office/drawing/2014/main" id="{D8E88AE8-2C39-4693-A70D-6CBC1C7054F8}"/>
                  </a:ext>
                </a:extLst>
              </p:cNvPr>
              <p:cNvSpPr txBox="1"/>
              <p:nvPr/>
            </p:nvSpPr>
            <p:spPr>
              <a:xfrm>
                <a:off x="632116" y="6196502"/>
                <a:ext cx="2383352" cy="202058"/>
              </a:xfrm>
              <a:prstGeom prst="rect">
                <a:avLst/>
              </a:prstGeom>
              <a:noFill/>
              <a:ln w="38100">
                <a:no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ysClr val="windowText" lastClr="000000"/>
                    </a:solidFill>
                    <a:effectLst/>
                    <a:uLnTx/>
                    <a:uFillTx/>
                    <a:latin typeface="Calibri"/>
                    <a:ea typeface="+mn-ea"/>
                    <a:cs typeface="+mn-cs"/>
                  </a:rPr>
                  <a:t>Negative impact</a:t>
                </a:r>
              </a:p>
            </p:txBody>
          </p:sp>
        </p:grpSp>
        <p:grpSp>
          <p:nvGrpSpPr>
            <p:cNvPr id="85" name="Group 84">
              <a:extLst>
                <a:ext uri="{FF2B5EF4-FFF2-40B4-BE49-F238E27FC236}">
                  <a16:creationId xmlns:a16="http://schemas.microsoft.com/office/drawing/2014/main" id="{7EC24D98-6817-4BC3-995E-D3E7D0C8C599}"/>
                </a:ext>
              </a:extLst>
            </p:cNvPr>
            <p:cNvGrpSpPr/>
            <p:nvPr/>
          </p:nvGrpSpPr>
          <p:grpSpPr>
            <a:xfrm>
              <a:off x="1553262" y="6192074"/>
              <a:ext cx="2527166" cy="202058"/>
              <a:chOff x="488302" y="6196502"/>
              <a:chExt cx="2527166" cy="202058"/>
            </a:xfrm>
          </p:grpSpPr>
          <p:sp>
            <p:nvSpPr>
              <p:cNvPr id="86" name="Rectangle 85">
                <a:extLst>
                  <a:ext uri="{FF2B5EF4-FFF2-40B4-BE49-F238E27FC236}">
                    <a16:creationId xmlns:a16="http://schemas.microsoft.com/office/drawing/2014/main" id="{E6546B07-A491-48B9-AF32-30BAFAB19511}"/>
                  </a:ext>
                </a:extLst>
              </p:cNvPr>
              <p:cNvSpPr/>
              <p:nvPr/>
            </p:nvSpPr>
            <p:spPr>
              <a:xfrm>
                <a:off x="488302" y="6232867"/>
                <a:ext cx="220825" cy="16126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87" name="TextBox 86">
                <a:extLst>
                  <a:ext uri="{FF2B5EF4-FFF2-40B4-BE49-F238E27FC236}">
                    <a16:creationId xmlns:a16="http://schemas.microsoft.com/office/drawing/2014/main" id="{00A47BE8-090A-425D-AEAF-4B807BDE37F0}"/>
                  </a:ext>
                </a:extLst>
              </p:cNvPr>
              <p:cNvSpPr txBox="1"/>
              <p:nvPr/>
            </p:nvSpPr>
            <p:spPr>
              <a:xfrm>
                <a:off x="632116" y="6196502"/>
                <a:ext cx="2383352" cy="202058"/>
              </a:xfrm>
              <a:prstGeom prst="rect">
                <a:avLst/>
              </a:prstGeom>
              <a:noFill/>
              <a:ln w="38100">
                <a:no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ysClr val="windowText" lastClr="000000"/>
                    </a:solidFill>
                    <a:effectLst/>
                    <a:uLnTx/>
                    <a:uFillTx/>
                    <a:latin typeface="Calibri"/>
                    <a:ea typeface="+mn-ea"/>
                    <a:cs typeface="+mn-cs"/>
                  </a:rPr>
                  <a:t>Neutral impact</a:t>
                </a:r>
              </a:p>
            </p:txBody>
          </p:sp>
        </p:grpSp>
        <p:grpSp>
          <p:nvGrpSpPr>
            <p:cNvPr id="88" name="Group 87">
              <a:extLst>
                <a:ext uri="{FF2B5EF4-FFF2-40B4-BE49-F238E27FC236}">
                  <a16:creationId xmlns:a16="http://schemas.microsoft.com/office/drawing/2014/main" id="{9572DB87-D280-41EA-9000-F0585F6742F7}"/>
                </a:ext>
              </a:extLst>
            </p:cNvPr>
            <p:cNvGrpSpPr/>
            <p:nvPr/>
          </p:nvGrpSpPr>
          <p:grpSpPr>
            <a:xfrm>
              <a:off x="2523033" y="6192074"/>
              <a:ext cx="2527166" cy="202058"/>
              <a:chOff x="488302" y="6196502"/>
              <a:chExt cx="2527166" cy="202058"/>
            </a:xfrm>
          </p:grpSpPr>
          <p:sp>
            <p:nvSpPr>
              <p:cNvPr id="89" name="Rectangle 88">
                <a:extLst>
                  <a:ext uri="{FF2B5EF4-FFF2-40B4-BE49-F238E27FC236}">
                    <a16:creationId xmlns:a16="http://schemas.microsoft.com/office/drawing/2014/main" id="{7860CA8B-1CB4-47C9-9D40-0BAD01377773}"/>
                  </a:ext>
                </a:extLst>
              </p:cNvPr>
              <p:cNvSpPr/>
              <p:nvPr/>
            </p:nvSpPr>
            <p:spPr>
              <a:xfrm>
                <a:off x="488302" y="6232867"/>
                <a:ext cx="220825" cy="16126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90" name="TextBox 89">
                <a:extLst>
                  <a:ext uri="{FF2B5EF4-FFF2-40B4-BE49-F238E27FC236}">
                    <a16:creationId xmlns:a16="http://schemas.microsoft.com/office/drawing/2014/main" id="{5C57DAF8-0354-4AC2-AC29-EDE26838C006}"/>
                  </a:ext>
                </a:extLst>
              </p:cNvPr>
              <p:cNvSpPr txBox="1"/>
              <p:nvPr/>
            </p:nvSpPr>
            <p:spPr>
              <a:xfrm>
                <a:off x="632116" y="6196502"/>
                <a:ext cx="2383352" cy="202058"/>
              </a:xfrm>
              <a:prstGeom prst="rect">
                <a:avLst/>
              </a:prstGeom>
              <a:noFill/>
              <a:ln w="38100">
                <a:noFill/>
              </a:ln>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ysClr val="windowText" lastClr="000000"/>
                    </a:solidFill>
                    <a:effectLst/>
                    <a:uLnTx/>
                    <a:uFillTx/>
                    <a:latin typeface="Calibri"/>
                    <a:ea typeface="+mn-ea"/>
                    <a:cs typeface="+mn-cs"/>
                  </a:rPr>
                  <a:t>Positive impact</a:t>
                </a:r>
              </a:p>
            </p:txBody>
          </p:sp>
        </p:grpSp>
      </p:grpSp>
    </p:spTree>
    <p:extLst>
      <p:ext uri="{BB962C8B-B14F-4D97-AF65-F5344CB8AC3E}">
        <p14:creationId xmlns:p14="http://schemas.microsoft.com/office/powerpoint/2010/main" val="39179474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82E0476-CB5A-4F1C-B0D6-FCFB598EAE8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3"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2">
            <a:extLst>
              <a:ext uri="{FF2B5EF4-FFF2-40B4-BE49-F238E27FC236}">
                <a16:creationId xmlns:a16="http://schemas.microsoft.com/office/drawing/2014/main" id="{C4905D4A-C8A3-084A-9B94-A0D84B8410E3}"/>
              </a:ext>
            </a:extLst>
          </p:cNvPr>
          <p:cNvSpPr txBox="1">
            <a:spLocks/>
          </p:cNvSpPr>
          <p:nvPr/>
        </p:nvSpPr>
        <p:spPr>
          <a:xfrm>
            <a:off x="-1" y="5646"/>
            <a:ext cx="12192001" cy="805723"/>
          </a:xfrm>
          <a:prstGeom prst="rect">
            <a:avLst/>
          </a:prstGeom>
          <a:solidFill>
            <a:srgbClr val="00266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rtlCol="0" anchor="ctr">
            <a:noAutofit/>
            <a:scene3d>
              <a:camera prst="orthographicFront"/>
              <a:lightRig rig="soft" dir="t"/>
            </a:scene3d>
            <a:sp3d prstMaterial="softEdge">
              <a:bevelT w="25400" h="25400"/>
            </a:sp3d>
          </a:bodyPr>
          <a:lstStyle>
            <a:lvl1pPr algn="r" rtl="0" eaLnBrk="1" latinLnBrk="0" hangingPunct="1">
              <a:spcBef>
                <a:spcPct val="0"/>
              </a:spcBef>
              <a:buNone/>
              <a:defRPr kumimoji="0" sz="3200" b="1" kern="1200">
                <a:solidFill>
                  <a:srgbClr val="9A9B9C"/>
                </a:solidFill>
                <a:effectLst>
                  <a:outerShdw blurRad="31750" dist="25400" dir="5400000" algn="tl" rotWithShape="0">
                    <a:srgbClr val="000000">
                      <a:alpha val="25000"/>
                    </a:srgbClr>
                  </a:outerShdw>
                </a:effectLst>
                <a:latin typeface="+mn-lt"/>
                <a:ea typeface="+mj-ea"/>
                <a:cs typeface="+mj-cs"/>
              </a:defRPr>
            </a:lvl1pPr>
            <a:lvl2pPr>
              <a:defRPr/>
            </a:lvl2pPr>
            <a:lvl3pPr>
              <a:defRPr/>
            </a:lvl3pPr>
            <a:lvl4pPr>
              <a:defRPr/>
            </a:lvl4pPr>
            <a:lvl5pPr>
              <a:defRPr/>
            </a:lvl5pPr>
            <a:lvl6pPr>
              <a:defRPr/>
            </a:lvl6pPr>
            <a:lvl7pPr>
              <a:defRPr/>
            </a:lvl7pPr>
            <a:lvl8pPr>
              <a:defRPr/>
            </a:lvl8pPr>
            <a:lvl9pPr>
              <a:defRPr/>
            </a:lvl9pPr>
            <a:extLst/>
          </a:lstStyle>
          <a:p>
            <a:pPr marL="354013" algn="l"/>
            <a:r>
              <a:rPr lang="en-US" sz="2000" dirty="0">
                <a:solidFill>
                  <a:schemeClr val="bg1"/>
                </a:solidFill>
              </a:rPr>
              <a:t>THE INTERNAL SITUATIONAL ANALYSIS LOOKS AT THE CURRENT STRUCTURE, OPERATING MODEL, </a:t>
            </a:r>
          </a:p>
          <a:p>
            <a:pPr marL="354013" algn="l"/>
            <a:r>
              <a:rPr lang="en-US" sz="2000" dirty="0">
                <a:solidFill>
                  <a:schemeClr val="bg1"/>
                </a:solidFill>
              </a:rPr>
              <a:t>FINANCIAL PERFORMANCE AND OVERALL STRENGTHS, WEAKNESSES, OPPORTUNITIES AND THREATS </a:t>
            </a:r>
            <a:endParaRPr lang="en-ZA" sz="2000" dirty="0">
              <a:solidFill>
                <a:schemeClr val="bg1"/>
              </a:solidFill>
            </a:endParaRPr>
          </a:p>
        </p:txBody>
      </p:sp>
      <p:sp>
        <p:nvSpPr>
          <p:cNvPr id="30" name="Parallelogram 7">
            <a:extLst>
              <a:ext uri="{FF2B5EF4-FFF2-40B4-BE49-F238E27FC236}">
                <a16:creationId xmlns:a16="http://schemas.microsoft.com/office/drawing/2014/main" id="{A9727CF3-A70A-0140-A612-43928103B4C1}"/>
              </a:ext>
            </a:extLst>
          </p:cNvPr>
          <p:cNvSpPr/>
          <p:nvPr/>
        </p:nvSpPr>
        <p:spPr>
          <a:xfrm>
            <a:off x="-2" y="6519067"/>
            <a:ext cx="9871077" cy="335757"/>
          </a:xfrm>
          <a:custGeom>
            <a:avLst/>
            <a:gdLst>
              <a:gd name="connsiteX0" fmla="*/ 0 w 10188575"/>
              <a:gd name="connsiteY0" fmla="*/ 166915 h 166915"/>
              <a:gd name="connsiteX1" fmla="*/ 41729 w 10188575"/>
              <a:gd name="connsiteY1" fmla="*/ 0 h 166915"/>
              <a:gd name="connsiteX2" fmla="*/ 10188575 w 10188575"/>
              <a:gd name="connsiteY2" fmla="*/ 0 h 166915"/>
              <a:gd name="connsiteX3" fmla="*/ 10146846 w 10188575"/>
              <a:gd name="connsiteY3" fmla="*/ 166915 h 166915"/>
              <a:gd name="connsiteX4" fmla="*/ 0 w 10188575"/>
              <a:gd name="connsiteY4" fmla="*/ 166915 h 166915"/>
              <a:gd name="connsiteX0" fmla="*/ 17802 w 10146846"/>
              <a:gd name="connsiteY0" fmla="*/ 166915 h 166915"/>
              <a:gd name="connsiteX1" fmla="*/ 0 w 10146846"/>
              <a:gd name="connsiteY1" fmla="*/ 0 h 166915"/>
              <a:gd name="connsiteX2" fmla="*/ 10146846 w 10146846"/>
              <a:gd name="connsiteY2" fmla="*/ 0 h 166915"/>
              <a:gd name="connsiteX3" fmla="*/ 10105117 w 10146846"/>
              <a:gd name="connsiteY3" fmla="*/ 166915 h 166915"/>
              <a:gd name="connsiteX4" fmla="*/ 17802 w 10146846"/>
              <a:gd name="connsiteY4" fmla="*/ 166915 h 166915"/>
              <a:gd name="connsiteX0" fmla="*/ 3514 w 10132558"/>
              <a:gd name="connsiteY0" fmla="*/ 166915 h 166915"/>
              <a:gd name="connsiteX1" fmla="*/ 0 w 10132558"/>
              <a:gd name="connsiteY1" fmla="*/ 2381 h 166915"/>
              <a:gd name="connsiteX2" fmla="*/ 10132558 w 10132558"/>
              <a:gd name="connsiteY2" fmla="*/ 0 h 166915"/>
              <a:gd name="connsiteX3" fmla="*/ 10090829 w 10132558"/>
              <a:gd name="connsiteY3" fmla="*/ 166915 h 166915"/>
              <a:gd name="connsiteX4" fmla="*/ 3514 w 10132558"/>
              <a:gd name="connsiteY4" fmla="*/ 166915 h 166915"/>
              <a:gd name="connsiteX0" fmla="*/ 154 w 10129198"/>
              <a:gd name="connsiteY0" fmla="*/ 166915 h 166915"/>
              <a:gd name="connsiteX1" fmla="*/ 3784 w 10129198"/>
              <a:gd name="connsiteY1" fmla="*/ 0 h 166915"/>
              <a:gd name="connsiteX2" fmla="*/ 10129198 w 10129198"/>
              <a:gd name="connsiteY2" fmla="*/ 0 h 166915"/>
              <a:gd name="connsiteX3" fmla="*/ 10087469 w 10129198"/>
              <a:gd name="connsiteY3" fmla="*/ 166915 h 166915"/>
              <a:gd name="connsiteX4" fmla="*/ 154 w 10129198"/>
              <a:gd name="connsiteY4" fmla="*/ 166915 h 166915"/>
              <a:gd name="connsiteX0" fmla="*/ 239 w 10126902"/>
              <a:gd name="connsiteY0" fmla="*/ 169296 h 169296"/>
              <a:gd name="connsiteX1" fmla="*/ 1488 w 10126902"/>
              <a:gd name="connsiteY1" fmla="*/ 0 h 169296"/>
              <a:gd name="connsiteX2" fmla="*/ 10126902 w 10126902"/>
              <a:gd name="connsiteY2" fmla="*/ 0 h 169296"/>
              <a:gd name="connsiteX3" fmla="*/ 10085173 w 10126902"/>
              <a:gd name="connsiteY3" fmla="*/ 166915 h 169296"/>
              <a:gd name="connsiteX4" fmla="*/ 239 w 10126902"/>
              <a:gd name="connsiteY4" fmla="*/ 169296 h 169296"/>
              <a:gd name="connsiteX0" fmla="*/ 239 w 10425352"/>
              <a:gd name="connsiteY0" fmla="*/ 175887 h 175887"/>
              <a:gd name="connsiteX1" fmla="*/ 1488 w 10425352"/>
              <a:gd name="connsiteY1" fmla="*/ 6591 h 175887"/>
              <a:gd name="connsiteX2" fmla="*/ 10425352 w 10425352"/>
              <a:gd name="connsiteY2" fmla="*/ 0 h 175887"/>
              <a:gd name="connsiteX3" fmla="*/ 10085173 w 10425352"/>
              <a:gd name="connsiteY3" fmla="*/ 173506 h 175887"/>
              <a:gd name="connsiteX4" fmla="*/ 239 w 10425352"/>
              <a:gd name="connsiteY4" fmla="*/ 175887 h 175887"/>
              <a:gd name="connsiteX0" fmla="*/ 239 w 10635515"/>
              <a:gd name="connsiteY0" fmla="*/ 179182 h 179182"/>
              <a:gd name="connsiteX1" fmla="*/ 1488 w 10635515"/>
              <a:gd name="connsiteY1" fmla="*/ 9886 h 179182"/>
              <a:gd name="connsiteX2" fmla="*/ 10635515 w 10635515"/>
              <a:gd name="connsiteY2" fmla="*/ 0 h 179182"/>
              <a:gd name="connsiteX3" fmla="*/ 10085173 w 10635515"/>
              <a:gd name="connsiteY3" fmla="*/ 176801 h 179182"/>
              <a:gd name="connsiteX4" fmla="*/ 239 w 10635515"/>
              <a:gd name="connsiteY4" fmla="*/ 179182 h 179182"/>
              <a:gd name="connsiteX0" fmla="*/ 239 w 10635515"/>
              <a:gd name="connsiteY0" fmla="*/ 179182 h 179182"/>
              <a:gd name="connsiteX1" fmla="*/ 1488 w 10635515"/>
              <a:gd name="connsiteY1" fmla="*/ 9886 h 179182"/>
              <a:gd name="connsiteX2" fmla="*/ 10635515 w 10635515"/>
              <a:gd name="connsiteY2" fmla="*/ 0 h 179182"/>
              <a:gd name="connsiteX3" fmla="*/ 10224620 w 10635515"/>
              <a:gd name="connsiteY3" fmla="*/ 178449 h 179182"/>
              <a:gd name="connsiteX4" fmla="*/ 239 w 10635515"/>
              <a:gd name="connsiteY4" fmla="*/ 179182 h 179182"/>
              <a:gd name="connsiteX0" fmla="*/ 239 w 10635515"/>
              <a:gd name="connsiteY0" fmla="*/ 174239 h 174239"/>
              <a:gd name="connsiteX1" fmla="*/ 1488 w 10635515"/>
              <a:gd name="connsiteY1" fmla="*/ 4943 h 174239"/>
              <a:gd name="connsiteX2" fmla="*/ 10635515 w 10635515"/>
              <a:gd name="connsiteY2" fmla="*/ 0 h 174239"/>
              <a:gd name="connsiteX3" fmla="*/ 10224620 w 10635515"/>
              <a:gd name="connsiteY3" fmla="*/ 173506 h 174239"/>
              <a:gd name="connsiteX4" fmla="*/ 239 w 10635515"/>
              <a:gd name="connsiteY4" fmla="*/ 174239 h 174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35515" h="174239">
                <a:moveTo>
                  <a:pt x="239" y="174239"/>
                </a:moveTo>
                <a:cubicBezTo>
                  <a:pt x="-932" y="119394"/>
                  <a:pt x="2659" y="59788"/>
                  <a:pt x="1488" y="4943"/>
                </a:cubicBezTo>
                <a:lnTo>
                  <a:pt x="10635515" y="0"/>
                </a:lnTo>
                <a:lnTo>
                  <a:pt x="10224620" y="173506"/>
                </a:lnTo>
                <a:lnTo>
                  <a:pt x="239" y="174239"/>
                </a:lnTo>
                <a:close/>
              </a:path>
            </a:pathLst>
          </a:custGeom>
          <a:pattFill prst="pct70">
            <a:fgClr>
              <a:schemeClr val="bg1">
                <a:lumMod val="75000"/>
              </a:schemeClr>
            </a:fgClr>
            <a:bgClr>
              <a:schemeClr val="bg1"/>
            </a:bgClr>
          </a:patt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dirty="0"/>
          </a:p>
        </p:txBody>
      </p:sp>
      <p:sp>
        <p:nvSpPr>
          <p:cNvPr id="31" name="Parallelogram 10">
            <a:extLst>
              <a:ext uri="{FF2B5EF4-FFF2-40B4-BE49-F238E27FC236}">
                <a16:creationId xmlns:a16="http://schemas.microsoft.com/office/drawing/2014/main" id="{6AF3B085-32B9-4F47-8CDA-8001170D7AC2}"/>
              </a:ext>
            </a:extLst>
          </p:cNvPr>
          <p:cNvSpPr/>
          <p:nvPr/>
        </p:nvSpPr>
        <p:spPr>
          <a:xfrm>
            <a:off x="10360480" y="6519067"/>
            <a:ext cx="1831520" cy="330199"/>
          </a:xfrm>
          <a:custGeom>
            <a:avLst/>
            <a:gdLst>
              <a:gd name="connsiteX0" fmla="*/ 0 w 1983938"/>
              <a:gd name="connsiteY0" fmla="*/ 166914 h 166914"/>
              <a:gd name="connsiteX1" fmla="*/ 41729 w 1983938"/>
              <a:gd name="connsiteY1" fmla="*/ 0 h 166914"/>
              <a:gd name="connsiteX2" fmla="*/ 1983938 w 1983938"/>
              <a:gd name="connsiteY2" fmla="*/ 0 h 166914"/>
              <a:gd name="connsiteX3" fmla="*/ 1942210 w 1983938"/>
              <a:gd name="connsiteY3" fmla="*/ 166914 h 166914"/>
              <a:gd name="connsiteX4" fmla="*/ 0 w 1983938"/>
              <a:gd name="connsiteY4" fmla="*/ 166914 h 166914"/>
              <a:gd name="connsiteX0" fmla="*/ 0 w 1942210"/>
              <a:gd name="connsiteY0" fmla="*/ 166914 h 166914"/>
              <a:gd name="connsiteX1" fmla="*/ 41729 w 1942210"/>
              <a:gd name="connsiteY1" fmla="*/ 0 h 166914"/>
              <a:gd name="connsiteX2" fmla="*/ 1910120 w 1942210"/>
              <a:gd name="connsiteY2" fmla="*/ 0 h 166914"/>
              <a:gd name="connsiteX3" fmla="*/ 1942210 w 1942210"/>
              <a:gd name="connsiteY3" fmla="*/ 166914 h 166914"/>
              <a:gd name="connsiteX4" fmla="*/ 0 w 1942210"/>
              <a:gd name="connsiteY4" fmla="*/ 166914 h 166914"/>
              <a:gd name="connsiteX0" fmla="*/ 0 w 1913635"/>
              <a:gd name="connsiteY0" fmla="*/ 166914 h 166914"/>
              <a:gd name="connsiteX1" fmla="*/ 41729 w 1913635"/>
              <a:gd name="connsiteY1" fmla="*/ 0 h 166914"/>
              <a:gd name="connsiteX2" fmla="*/ 1910120 w 1913635"/>
              <a:gd name="connsiteY2" fmla="*/ 0 h 166914"/>
              <a:gd name="connsiteX3" fmla="*/ 1913635 w 1913635"/>
              <a:gd name="connsiteY3" fmla="*/ 166914 h 166914"/>
              <a:gd name="connsiteX4" fmla="*/ 0 w 1913635"/>
              <a:gd name="connsiteY4" fmla="*/ 166914 h 166914"/>
              <a:gd name="connsiteX0" fmla="*/ 0 w 1913635"/>
              <a:gd name="connsiteY0" fmla="*/ 170187 h 170187"/>
              <a:gd name="connsiteX1" fmla="*/ 352879 w 1913635"/>
              <a:gd name="connsiteY1" fmla="*/ 0 h 170187"/>
              <a:gd name="connsiteX2" fmla="*/ 1910120 w 1913635"/>
              <a:gd name="connsiteY2" fmla="*/ 3273 h 170187"/>
              <a:gd name="connsiteX3" fmla="*/ 1913635 w 1913635"/>
              <a:gd name="connsiteY3" fmla="*/ 170187 h 170187"/>
              <a:gd name="connsiteX4" fmla="*/ 0 w 1913635"/>
              <a:gd name="connsiteY4" fmla="*/ 170187 h 1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635" h="170187">
                <a:moveTo>
                  <a:pt x="0" y="170187"/>
                </a:moveTo>
                <a:lnTo>
                  <a:pt x="352879" y="0"/>
                </a:lnTo>
                <a:lnTo>
                  <a:pt x="1910120" y="3273"/>
                </a:lnTo>
                <a:cubicBezTo>
                  <a:pt x="1911292" y="58911"/>
                  <a:pt x="1912463" y="114549"/>
                  <a:pt x="1913635" y="170187"/>
                </a:cubicBezTo>
                <a:lnTo>
                  <a:pt x="0" y="170187"/>
                </a:lnTo>
                <a:close/>
              </a:path>
            </a:pathLst>
          </a:custGeom>
          <a:pattFill prst="pct70">
            <a:fgClr>
              <a:schemeClr val="accent4"/>
            </a:fgClr>
            <a:bgClr>
              <a:schemeClr val="bg1"/>
            </a:bgClr>
          </a:patt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sp>
        <p:nvSpPr>
          <p:cNvPr id="32" name="Parallelogram 12">
            <a:extLst>
              <a:ext uri="{FF2B5EF4-FFF2-40B4-BE49-F238E27FC236}">
                <a16:creationId xmlns:a16="http://schemas.microsoft.com/office/drawing/2014/main" id="{530360E4-9BA6-1A43-8AF5-4D4308EC6747}"/>
              </a:ext>
            </a:extLst>
          </p:cNvPr>
          <p:cNvSpPr/>
          <p:nvPr/>
        </p:nvSpPr>
        <p:spPr>
          <a:xfrm>
            <a:off x="9713671" y="6518191"/>
            <a:ext cx="841376" cy="330201"/>
          </a:xfrm>
          <a:custGeom>
            <a:avLst/>
            <a:gdLst>
              <a:gd name="connsiteX0" fmla="*/ 0 w 812801"/>
              <a:gd name="connsiteY0" fmla="*/ 333376 h 333376"/>
              <a:gd name="connsiteX1" fmla="*/ 83344 w 812801"/>
              <a:gd name="connsiteY1" fmla="*/ 0 h 333376"/>
              <a:gd name="connsiteX2" fmla="*/ 812801 w 812801"/>
              <a:gd name="connsiteY2" fmla="*/ 0 h 333376"/>
              <a:gd name="connsiteX3" fmla="*/ 729457 w 812801"/>
              <a:gd name="connsiteY3" fmla="*/ 333376 h 333376"/>
              <a:gd name="connsiteX4" fmla="*/ 0 w 812801"/>
              <a:gd name="connsiteY4" fmla="*/ 333376 h 333376"/>
              <a:gd name="connsiteX0" fmla="*/ 0 w 1111251"/>
              <a:gd name="connsiteY0" fmla="*/ 330201 h 333376"/>
              <a:gd name="connsiteX1" fmla="*/ 381794 w 1111251"/>
              <a:gd name="connsiteY1" fmla="*/ 0 h 333376"/>
              <a:gd name="connsiteX2" fmla="*/ 1111251 w 1111251"/>
              <a:gd name="connsiteY2" fmla="*/ 0 h 333376"/>
              <a:gd name="connsiteX3" fmla="*/ 1027907 w 1111251"/>
              <a:gd name="connsiteY3" fmla="*/ 333376 h 333376"/>
              <a:gd name="connsiteX4" fmla="*/ 0 w 1111251"/>
              <a:gd name="connsiteY4" fmla="*/ 330201 h 333376"/>
              <a:gd name="connsiteX0" fmla="*/ 0 w 1111251"/>
              <a:gd name="connsiteY0" fmla="*/ 330201 h 330201"/>
              <a:gd name="connsiteX1" fmla="*/ 381794 w 1111251"/>
              <a:gd name="connsiteY1" fmla="*/ 0 h 330201"/>
              <a:gd name="connsiteX2" fmla="*/ 1111251 w 1111251"/>
              <a:gd name="connsiteY2" fmla="*/ 0 h 330201"/>
              <a:gd name="connsiteX3" fmla="*/ 805657 w 1111251"/>
              <a:gd name="connsiteY3" fmla="*/ 320676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815976"/>
              <a:gd name="connsiteY0" fmla="*/ 330201 h 330201"/>
              <a:gd name="connsiteX1" fmla="*/ 381794 w 815976"/>
              <a:gd name="connsiteY1" fmla="*/ 0 h 330201"/>
              <a:gd name="connsiteX2" fmla="*/ 815976 w 815976"/>
              <a:gd name="connsiteY2" fmla="*/ 0 h 330201"/>
              <a:gd name="connsiteX3" fmla="*/ 450057 w 815976"/>
              <a:gd name="connsiteY3" fmla="*/ 330201 h 330201"/>
              <a:gd name="connsiteX4" fmla="*/ 0 w 815976"/>
              <a:gd name="connsiteY4" fmla="*/ 330201 h 330201"/>
              <a:gd name="connsiteX0" fmla="*/ 0 w 841376"/>
              <a:gd name="connsiteY0" fmla="*/ 330201 h 330201"/>
              <a:gd name="connsiteX1" fmla="*/ 381794 w 841376"/>
              <a:gd name="connsiteY1" fmla="*/ 0 h 330201"/>
              <a:gd name="connsiteX2" fmla="*/ 841376 w 841376"/>
              <a:gd name="connsiteY2" fmla="*/ 0 h 330201"/>
              <a:gd name="connsiteX3" fmla="*/ 450057 w 841376"/>
              <a:gd name="connsiteY3" fmla="*/ 330201 h 330201"/>
              <a:gd name="connsiteX4" fmla="*/ 0 w 841376"/>
              <a:gd name="connsiteY4" fmla="*/ 330201 h 33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376" h="330201">
                <a:moveTo>
                  <a:pt x="0" y="330201"/>
                </a:moveTo>
                <a:lnTo>
                  <a:pt x="381794" y="0"/>
                </a:lnTo>
                <a:lnTo>
                  <a:pt x="841376" y="0"/>
                </a:lnTo>
                <a:lnTo>
                  <a:pt x="450057" y="330201"/>
                </a:lnTo>
                <a:lnTo>
                  <a:pt x="0" y="330201"/>
                </a:lnTo>
                <a:close/>
              </a:path>
            </a:pathLst>
          </a:custGeom>
          <a:pattFill prst="pct70">
            <a:fgClr>
              <a:schemeClr val="accent5">
                <a:lumMod val="50000"/>
              </a:schemeClr>
            </a:fgClr>
            <a:bgClr>
              <a:schemeClr val="bg1"/>
            </a:bgClr>
          </a:patt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p>
        </p:txBody>
      </p:sp>
      <p:sp>
        <p:nvSpPr>
          <p:cNvPr id="33" name="TextBox 32">
            <a:extLst>
              <a:ext uri="{FF2B5EF4-FFF2-40B4-BE49-F238E27FC236}">
                <a16:creationId xmlns:a16="http://schemas.microsoft.com/office/drawing/2014/main" id="{7E34A799-282F-AE44-902C-E4B2F4F7B542}"/>
              </a:ext>
            </a:extLst>
          </p:cNvPr>
          <p:cNvSpPr txBox="1"/>
          <p:nvPr/>
        </p:nvSpPr>
        <p:spPr>
          <a:xfrm>
            <a:off x="-2" y="6452224"/>
            <a:ext cx="12161855" cy="373859"/>
          </a:xfrm>
          <a:prstGeom prst="rect">
            <a:avLst/>
          </a:prstGeom>
          <a:noFill/>
        </p:spPr>
        <p:txBody>
          <a:bodyPr wrap="square" rtlCol="0" anchor="ctr">
            <a:noAutofit/>
          </a:bodyPr>
          <a:lstStyle/>
          <a:p>
            <a:pPr indent="361950"/>
            <a:endParaRPr lang="en-ZA" sz="1000" b="1" dirty="0"/>
          </a:p>
        </p:txBody>
      </p:sp>
      <p:sp>
        <p:nvSpPr>
          <p:cNvPr id="34" name="Slide Number Placeholder 4">
            <a:extLst>
              <a:ext uri="{FF2B5EF4-FFF2-40B4-BE49-F238E27FC236}">
                <a16:creationId xmlns:a16="http://schemas.microsoft.com/office/drawing/2014/main" id="{9D6487A7-2318-2148-844F-FA8AD3DC4800}"/>
              </a:ext>
            </a:extLst>
          </p:cNvPr>
          <p:cNvSpPr txBox="1">
            <a:spLocks/>
          </p:cNvSpPr>
          <p:nvPr/>
        </p:nvSpPr>
        <p:spPr>
          <a:xfrm>
            <a:off x="9448800" y="6484141"/>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7102F09-8F7D-4EC1-9AE5-82CA77F49212}" type="slidenum">
              <a:rPr lang="en-ZA" b="1" smtClean="0">
                <a:solidFill>
                  <a:schemeClr val="tx1"/>
                </a:solidFill>
              </a:rPr>
              <a:pPr/>
              <a:t>14</a:t>
            </a:fld>
            <a:endParaRPr lang="en-ZA" b="1" dirty="0">
              <a:solidFill>
                <a:schemeClr val="tx1"/>
              </a:solidFill>
            </a:endParaRPr>
          </a:p>
        </p:txBody>
      </p:sp>
      <p:graphicFrame>
        <p:nvGraphicFramePr>
          <p:cNvPr id="10" name="Diagram 9">
            <a:extLst>
              <a:ext uri="{FF2B5EF4-FFF2-40B4-BE49-F238E27FC236}">
                <a16:creationId xmlns:a16="http://schemas.microsoft.com/office/drawing/2014/main" id="{B9FE72C4-FFEB-4A26-87FF-38BAD1E58A54}"/>
              </a:ext>
            </a:extLst>
          </p:cNvPr>
          <p:cNvGraphicFramePr/>
          <p:nvPr>
            <p:extLst>
              <p:ext uri="{D42A27DB-BD31-4B8C-83A1-F6EECF244321}">
                <p14:modId xmlns:p14="http://schemas.microsoft.com/office/powerpoint/2010/main" val="3779477300"/>
              </p:ext>
            </p:extLst>
          </p:nvPr>
        </p:nvGraphicFramePr>
        <p:xfrm>
          <a:off x="168165" y="846296"/>
          <a:ext cx="11824137" cy="5629111"/>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810727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A282B52-CDAB-4AE7-971E-125A0F0EED6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7" name="think-cell Slide" r:id="rId5" imgW="425" imgH="424" progId="TCLayout.ActiveDocument.1">
                  <p:embed/>
                </p:oleObj>
              </mc:Choice>
              <mc:Fallback>
                <p:oleObj name="think-cell Slide" r:id="rId5" imgW="425"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F45F542-157F-4C1D-910D-B0AD9101F8D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ZA" sz="1600">
              <a:latin typeface="Calibri" panose="020F0502020204030204" pitchFamily="34" charset="0"/>
              <a:sym typeface="Calibri" panose="020F0502020204030204" pitchFamily="34" charset="0"/>
            </a:endParaRPr>
          </a:p>
        </p:txBody>
      </p:sp>
      <p:sp>
        <p:nvSpPr>
          <p:cNvPr id="18" name="Rectangle 17">
            <a:extLst>
              <a:ext uri="{FF2B5EF4-FFF2-40B4-BE49-F238E27FC236}">
                <a16:creationId xmlns:a16="http://schemas.microsoft.com/office/drawing/2014/main" id="{AD5B4FE6-B71B-499E-AFFE-303FB2402E67}"/>
              </a:ext>
            </a:extLst>
          </p:cNvPr>
          <p:cNvSpPr/>
          <p:nvPr/>
        </p:nvSpPr>
        <p:spPr>
          <a:xfrm>
            <a:off x="-3" y="770885"/>
            <a:ext cx="12192002" cy="571325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ZA" sz="4000" b="1" dirty="0"/>
          </a:p>
        </p:txBody>
      </p:sp>
      <p:sp>
        <p:nvSpPr>
          <p:cNvPr id="7" name="Title 2"/>
          <p:cNvSpPr txBox="1">
            <a:spLocks/>
          </p:cNvSpPr>
          <p:nvPr/>
        </p:nvSpPr>
        <p:spPr>
          <a:xfrm>
            <a:off x="-1" y="5646"/>
            <a:ext cx="12192001" cy="805723"/>
          </a:xfrm>
          <a:prstGeom prst="rect">
            <a:avLst/>
          </a:prstGeom>
          <a:solidFill>
            <a:srgbClr val="00266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rtlCol="0" anchor="ctr">
            <a:noAutofit/>
            <a:scene3d>
              <a:camera prst="orthographicFront"/>
              <a:lightRig rig="soft" dir="t"/>
            </a:scene3d>
            <a:sp3d prstMaterial="softEdge">
              <a:bevelT w="25400" h="25400"/>
            </a:sp3d>
          </a:bodyPr>
          <a:lstStyle>
            <a:lvl1pPr algn="r" rtl="0" eaLnBrk="1" latinLnBrk="0" hangingPunct="1">
              <a:spcBef>
                <a:spcPct val="0"/>
              </a:spcBef>
              <a:buNone/>
              <a:defRPr kumimoji="0" sz="3200" b="1" kern="1200">
                <a:solidFill>
                  <a:srgbClr val="9A9B9C"/>
                </a:solidFill>
                <a:effectLst>
                  <a:outerShdw blurRad="31750" dist="25400" dir="5400000" algn="tl" rotWithShape="0">
                    <a:srgbClr val="000000">
                      <a:alpha val="25000"/>
                    </a:srgbClr>
                  </a:outerShdw>
                </a:effectLst>
                <a:latin typeface="+mn-lt"/>
                <a:ea typeface="+mj-ea"/>
                <a:cs typeface="+mj-cs"/>
              </a:defRPr>
            </a:lvl1pPr>
            <a:lvl2pPr>
              <a:defRPr/>
            </a:lvl2pPr>
            <a:lvl3pPr>
              <a:defRPr/>
            </a:lvl3pPr>
            <a:lvl4pPr>
              <a:defRPr/>
            </a:lvl4pPr>
            <a:lvl5pPr>
              <a:defRPr/>
            </a:lvl5pPr>
            <a:lvl6pPr>
              <a:defRPr/>
            </a:lvl6pPr>
            <a:lvl7pPr>
              <a:defRPr/>
            </a:lvl7pPr>
            <a:lvl8pPr>
              <a:defRPr/>
            </a:lvl8pPr>
            <a:lvl9pPr>
              <a:defRPr/>
            </a:lvl9pPr>
            <a:extLst/>
          </a:lstStyle>
          <a:p>
            <a:pPr marL="354013" algn="l"/>
            <a:endParaRPr lang="en-ZA" sz="2400" kern="0" dirty="0">
              <a:solidFill>
                <a:prstClr val="white"/>
              </a:solidFill>
              <a:effectLst/>
            </a:endParaRPr>
          </a:p>
          <a:p>
            <a:pPr marL="354013" algn="l"/>
            <a:r>
              <a:rPr lang="en-ZA" sz="2400" kern="0" dirty="0">
                <a:solidFill>
                  <a:prstClr val="white"/>
                </a:solidFill>
                <a:effectLst/>
              </a:rPr>
              <a:t>PERFORMANCE CONTRIBUTION AT PROGRAMME LEVEL </a:t>
            </a:r>
          </a:p>
          <a:p>
            <a:pPr marL="354013" indent="7938" algn="l"/>
            <a:endParaRPr lang="en-GB" sz="2400" kern="0" dirty="0">
              <a:solidFill>
                <a:prstClr val="white"/>
              </a:solidFill>
            </a:endParaRPr>
          </a:p>
        </p:txBody>
      </p:sp>
      <p:sp>
        <p:nvSpPr>
          <p:cNvPr id="8" name="Parallelogram 7"/>
          <p:cNvSpPr/>
          <p:nvPr/>
        </p:nvSpPr>
        <p:spPr>
          <a:xfrm>
            <a:off x="-2" y="6519067"/>
            <a:ext cx="9871077" cy="335757"/>
          </a:xfrm>
          <a:custGeom>
            <a:avLst/>
            <a:gdLst>
              <a:gd name="connsiteX0" fmla="*/ 0 w 10188575"/>
              <a:gd name="connsiteY0" fmla="*/ 166915 h 166915"/>
              <a:gd name="connsiteX1" fmla="*/ 41729 w 10188575"/>
              <a:gd name="connsiteY1" fmla="*/ 0 h 166915"/>
              <a:gd name="connsiteX2" fmla="*/ 10188575 w 10188575"/>
              <a:gd name="connsiteY2" fmla="*/ 0 h 166915"/>
              <a:gd name="connsiteX3" fmla="*/ 10146846 w 10188575"/>
              <a:gd name="connsiteY3" fmla="*/ 166915 h 166915"/>
              <a:gd name="connsiteX4" fmla="*/ 0 w 10188575"/>
              <a:gd name="connsiteY4" fmla="*/ 166915 h 166915"/>
              <a:gd name="connsiteX0" fmla="*/ 17802 w 10146846"/>
              <a:gd name="connsiteY0" fmla="*/ 166915 h 166915"/>
              <a:gd name="connsiteX1" fmla="*/ 0 w 10146846"/>
              <a:gd name="connsiteY1" fmla="*/ 0 h 166915"/>
              <a:gd name="connsiteX2" fmla="*/ 10146846 w 10146846"/>
              <a:gd name="connsiteY2" fmla="*/ 0 h 166915"/>
              <a:gd name="connsiteX3" fmla="*/ 10105117 w 10146846"/>
              <a:gd name="connsiteY3" fmla="*/ 166915 h 166915"/>
              <a:gd name="connsiteX4" fmla="*/ 17802 w 10146846"/>
              <a:gd name="connsiteY4" fmla="*/ 166915 h 166915"/>
              <a:gd name="connsiteX0" fmla="*/ 3514 w 10132558"/>
              <a:gd name="connsiteY0" fmla="*/ 166915 h 166915"/>
              <a:gd name="connsiteX1" fmla="*/ 0 w 10132558"/>
              <a:gd name="connsiteY1" fmla="*/ 2381 h 166915"/>
              <a:gd name="connsiteX2" fmla="*/ 10132558 w 10132558"/>
              <a:gd name="connsiteY2" fmla="*/ 0 h 166915"/>
              <a:gd name="connsiteX3" fmla="*/ 10090829 w 10132558"/>
              <a:gd name="connsiteY3" fmla="*/ 166915 h 166915"/>
              <a:gd name="connsiteX4" fmla="*/ 3514 w 10132558"/>
              <a:gd name="connsiteY4" fmla="*/ 166915 h 166915"/>
              <a:gd name="connsiteX0" fmla="*/ 154 w 10129198"/>
              <a:gd name="connsiteY0" fmla="*/ 166915 h 166915"/>
              <a:gd name="connsiteX1" fmla="*/ 3784 w 10129198"/>
              <a:gd name="connsiteY1" fmla="*/ 0 h 166915"/>
              <a:gd name="connsiteX2" fmla="*/ 10129198 w 10129198"/>
              <a:gd name="connsiteY2" fmla="*/ 0 h 166915"/>
              <a:gd name="connsiteX3" fmla="*/ 10087469 w 10129198"/>
              <a:gd name="connsiteY3" fmla="*/ 166915 h 166915"/>
              <a:gd name="connsiteX4" fmla="*/ 154 w 10129198"/>
              <a:gd name="connsiteY4" fmla="*/ 166915 h 166915"/>
              <a:gd name="connsiteX0" fmla="*/ 239 w 10126902"/>
              <a:gd name="connsiteY0" fmla="*/ 169296 h 169296"/>
              <a:gd name="connsiteX1" fmla="*/ 1488 w 10126902"/>
              <a:gd name="connsiteY1" fmla="*/ 0 h 169296"/>
              <a:gd name="connsiteX2" fmla="*/ 10126902 w 10126902"/>
              <a:gd name="connsiteY2" fmla="*/ 0 h 169296"/>
              <a:gd name="connsiteX3" fmla="*/ 10085173 w 10126902"/>
              <a:gd name="connsiteY3" fmla="*/ 166915 h 169296"/>
              <a:gd name="connsiteX4" fmla="*/ 239 w 10126902"/>
              <a:gd name="connsiteY4" fmla="*/ 169296 h 169296"/>
              <a:gd name="connsiteX0" fmla="*/ 239 w 10425352"/>
              <a:gd name="connsiteY0" fmla="*/ 175887 h 175887"/>
              <a:gd name="connsiteX1" fmla="*/ 1488 w 10425352"/>
              <a:gd name="connsiteY1" fmla="*/ 6591 h 175887"/>
              <a:gd name="connsiteX2" fmla="*/ 10425352 w 10425352"/>
              <a:gd name="connsiteY2" fmla="*/ 0 h 175887"/>
              <a:gd name="connsiteX3" fmla="*/ 10085173 w 10425352"/>
              <a:gd name="connsiteY3" fmla="*/ 173506 h 175887"/>
              <a:gd name="connsiteX4" fmla="*/ 239 w 10425352"/>
              <a:gd name="connsiteY4" fmla="*/ 175887 h 175887"/>
              <a:gd name="connsiteX0" fmla="*/ 239 w 10635515"/>
              <a:gd name="connsiteY0" fmla="*/ 179182 h 179182"/>
              <a:gd name="connsiteX1" fmla="*/ 1488 w 10635515"/>
              <a:gd name="connsiteY1" fmla="*/ 9886 h 179182"/>
              <a:gd name="connsiteX2" fmla="*/ 10635515 w 10635515"/>
              <a:gd name="connsiteY2" fmla="*/ 0 h 179182"/>
              <a:gd name="connsiteX3" fmla="*/ 10085173 w 10635515"/>
              <a:gd name="connsiteY3" fmla="*/ 176801 h 179182"/>
              <a:gd name="connsiteX4" fmla="*/ 239 w 10635515"/>
              <a:gd name="connsiteY4" fmla="*/ 179182 h 179182"/>
              <a:gd name="connsiteX0" fmla="*/ 239 w 10635515"/>
              <a:gd name="connsiteY0" fmla="*/ 179182 h 179182"/>
              <a:gd name="connsiteX1" fmla="*/ 1488 w 10635515"/>
              <a:gd name="connsiteY1" fmla="*/ 9886 h 179182"/>
              <a:gd name="connsiteX2" fmla="*/ 10635515 w 10635515"/>
              <a:gd name="connsiteY2" fmla="*/ 0 h 179182"/>
              <a:gd name="connsiteX3" fmla="*/ 10224620 w 10635515"/>
              <a:gd name="connsiteY3" fmla="*/ 178449 h 179182"/>
              <a:gd name="connsiteX4" fmla="*/ 239 w 10635515"/>
              <a:gd name="connsiteY4" fmla="*/ 179182 h 179182"/>
              <a:gd name="connsiteX0" fmla="*/ 239 w 10635515"/>
              <a:gd name="connsiteY0" fmla="*/ 174239 h 174239"/>
              <a:gd name="connsiteX1" fmla="*/ 1488 w 10635515"/>
              <a:gd name="connsiteY1" fmla="*/ 4943 h 174239"/>
              <a:gd name="connsiteX2" fmla="*/ 10635515 w 10635515"/>
              <a:gd name="connsiteY2" fmla="*/ 0 h 174239"/>
              <a:gd name="connsiteX3" fmla="*/ 10224620 w 10635515"/>
              <a:gd name="connsiteY3" fmla="*/ 173506 h 174239"/>
              <a:gd name="connsiteX4" fmla="*/ 239 w 10635515"/>
              <a:gd name="connsiteY4" fmla="*/ 174239 h 174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35515" h="174239">
                <a:moveTo>
                  <a:pt x="239" y="174239"/>
                </a:moveTo>
                <a:cubicBezTo>
                  <a:pt x="-932" y="119394"/>
                  <a:pt x="2659" y="59788"/>
                  <a:pt x="1488" y="4943"/>
                </a:cubicBezTo>
                <a:lnTo>
                  <a:pt x="10635515" y="0"/>
                </a:lnTo>
                <a:lnTo>
                  <a:pt x="10224620" y="173506"/>
                </a:lnTo>
                <a:lnTo>
                  <a:pt x="239" y="174239"/>
                </a:lnTo>
                <a:close/>
              </a:path>
            </a:pathLst>
          </a:custGeom>
          <a:pattFill prst="pct70">
            <a:fgClr>
              <a:schemeClr val="bg1">
                <a:lumMod val="75000"/>
              </a:schemeClr>
            </a:fgClr>
            <a:bgClr>
              <a:schemeClr val="bg1"/>
            </a:bgClr>
          </a:patt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11" name="Parallelogram 10"/>
          <p:cNvSpPr/>
          <p:nvPr/>
        </p:nvSpPr>
        <p:spPr>
          <a:xfrm>
            <a:off x="10360480" y="6519067"/>
            <a:ext cx="1831520" cy="330199"/>
          </a:xfrm>
          <a:custGeom>
            <a:avLst/>
            <a:gdLst>
              <a:gd name="connsiteX0" fmla="*/ 0 w 1983938"/>
              <a:gd name="connsiteY0" fmla="*/ 166914 h 166914"/>
              <a:gd name="connsiteX1" fmla="*/ 41729 w 1983938"/>
              <a:gd name="connsiteY1" fmla="*/ 0 h 166914"/>
              <a:gd name="connsiteX2" fmla="*/ 1983938 w 1983938"/>
              <a:gd name="connsiteY2" fmla="*/ 0 h 166914"/>
              <a:gd name="connsiteX3" fmla="*/ 1942210 w 1983938"/>
              <a:gd name="connsiteY3" fmla="*/ 166914 h 166914"/>
              <a:gd name="connsiteX4" fmla="*/ 0 w 1983938"/>
              <a:gd name="connsiteY4" fmla="*/ 166914 h 166914"/>
              <a:gd name="connsiteX0" fmla="*/ 0 w 1942210"/>
              <a:gd name="connsiteY0" fmla="*/ 166914 h 166914"/>
              <a:gd name="connsiteX1" fmla="*/ 41729 w 1942210"/>
              <a:gd name="connsiteY1" fmla="*/ 0 h 166914"/>
              <a:gd name="connsiteX2" fmla="*/ 1910120 w 1942210"/>
              <a:gd name="connsiteY2" fmla="*/ 0 h 166914"/>
              <a:gd name="connsiteX3" fmla="*/ 1942210 w 1942210"/>
              <a:gd name="connsiteY3" fmla="*/ 166914 h 166914"/>
              <a:gd name="connsiteX4" fmla="*/ 0 w 1942210"/>
              <a:gd name="connsiteY4" fmla="*/ 166914 h 166914"/>
              <a:gd name="connsiteX0" fmla="*/ 0 w 1913635"/>
              <a:gd name="connsiteY0" fmla="*/ 166914 h 166914"/>
              <a:gd name="connsiteX1" fmla="*/ 41729 w 1913635"/>
              <a:gd name="connsiteY1" fmla="*/ 0 h 166914"/>
              <a:gd name="connsiteX2" fmla="*/ 1910120 w 1913635"/>
              <a:gd name="connsiteY2" fmla="*/ 0 h 166914"/>
              <a:gd name="connsiteX3" fmla="*/ 1913635 w 1913635"/>
              <a:gd name="connsiteY3" fmla="*/ 166914 h 166914"/>
              <a:gd name="connsiteX4" fmla="*/ 0 w 1913635"/>
              <a:gd name="connsiteY4" fmla="*/ 166914 h 166914"/>
              <a:gd name="connsiteX0" fmla="*/ 0 w 1913635"/>
              <a:gd name="connsiteY0" fmla="*/ 170187 h 170187"/>
              <a:gd name="connsiteX1" fmla="*/ 352879 w 1913635"/>
              <a:gd name="connsiteY1" fmla="*/ 0 h 170187"/>
              <a:gd name="connsiteX2" fmla="*/ 1910120 w 1913635"/>
              <a:gd name="connsiteY2" fmla="*/ 3273 h 170187"/>
              <a:gd name="connsiteX3" fmla="*/ 1913635 w 1913635"/>
              <a:gd name="connsiteY3" fmla="*/ 170187 h 170187"/>
              <a:gd name="connsiteX4" fmla="*/ 0 w 1913635"/>
              <a:gd name="connsiteY4" fmla="*/ 170187 h 1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635" h="170187">
                <a:moveTo>
                  <a:pt x="0" y="170187"/>
                </a:moveTo>
                <a:lnTo>
                  <a:pt x="352879" y="0"/>
                </a:lnTo>
                <a:lnTo>
                  <a:pt x="1910120" y="3273"/>
                </a:lnTo>
                <a:cubicBezTo>
                  <a:pt x="1911292" y="58911"/>
                  <a:pt x="1912463" y="114549"/>
                  <a:pt x="1913635" y="170187"/>
                </a:cubicBezTo>
                <a:lnTo>
                  <a:pt x="0" y="170187"/>
                </a:lnTo>
                <a:close/>
              </a:path>
            </a:pathLst>
          </a:custGeom>
          <a:pattFill prst="pct70">
            <a:fgClr>
              <a:schemeClr val="accent4"/>
            </a:fgClr>
            <a:bgClr>
              <a:schemeClr val="bg1"/>
            </a:bgClr>
          </a:patt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3" name="Parallelogram 12"/>
          <p:cNvSpPr/>
          <p:nvPr/>
        </p:nvSpPr>
        <p:spPr>
          <a:xfrm>
            <a:off x="9680574" y="6524623"/>
            <a:ext cx="841376" cy="330201"/>
          </a:xfrm>
          <a:custGeom>
            <a:avLst/>
            <a:gdLst>
              <a:gd name="connsiteX0" fmla="*/ 0 w 812801"/>
              <a:gd name="connsiteY0" fmla="*/ 333376 h 333376"/>
              <a:gd name="connsiteX1" fmla="*/ 83344 w 812801"/>
              <a:gd name="connsiteY1" fmla="*/ 0 h 333376"/>
              <a:gd name="connsiteX2" fmla="*/ 812801 w 812801"/>
              <a:gd name="connsiteY2" fmla="*/ 0 h 333376"/>
              <a:gd name="connsiteX3" fmla="*/ 729457 w 812801"/>
              <a:gd name="connsiteY3" fmla="*/ 333376 h 333376"/>
              <a:gd name="connsiteX4" fmla="*/ 0 w 812801"/>
              <a:gd name="connsiteY4" fmla="*/ 333376 h 333376"/>
              <a:gd name="connsiteX0" fmla="*/ 0 w 1111251"/>
              <a:gd name="connsiteY0" fmla="*/ 330201 h 333376"/>
              <a:gd name="connsiteX1" fmla="*/ 381794 w 1111251"/>
              <a:gd name="connsiteY1" fmla="*/ 0 h 333376"/>
              <a:gd name="connsiteX2" fmla="*/ 1111251 w 1111251"/>
              <a:gd name="connsiteY2" fmla="*/ 0 h 333376"/>
              <a:gd name="connsiteX3" fmla="*/ 1027907 w 1111251"/>
              <a:gd name="connsiteY3" fmla="*/ 333376 h 333376"/>
              <a:gd name="connsiteX4" fmla="*/ 0 w 1111251"/>
              <a:gd name="connsiteY4" fmla="*/ 330201 h 333376"/>
              <a:gd name="connsiteX0" fmla="*/ 0 w 1111251"/>
              <a:gd name="connsiteY0" fmla="*/ 330201 h 330201"/>
              <a:gd name="connsiteX1" fmla="*/ 381794 w 1111251"/>
              <a:gd name="connsiteY1" fmla="*/ 0 h 330201"/>
              <a:gd name="connsiteX2" fmla="*/ 1111251 w 1111251"/>
              <a:gd name="connsiteY2" fmla="*/ 0 h 330201"/>
              <a:gd name="connsiteX3" fmla="*/ 805657 w 1111251"/>
              <a:gd name="connsiteY3" fmla="*/ 320676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815976"/>
              <a:gd name="connsiteY0" fmla="*/ 330201 h 330201"/>
              <a:gd name="connsiteX1" fmla="*/ 381794 w 815976"/>
              <a:gd name="connsiteY1" fmla="*/ 0 h 330201"/>
              <a:gd name="connsiteX2" fmla="*/ 815976 w 815976"/>
              <a:gd name="connsiteY2" fmla="*/ 0 h 330201"/>
              <a:gd name="connsiteX3" fmla="*/ 450057 w 815976"/>
              <a:gd name="connsiteY3" fmla="*/ 330201 h 330201"/>
              <a:gd name="connsiteX4" fmla="*/ 0 w 815976"/>
              <a:gd name="connsiteY4" fmla="*/ 330201 h 330201"/>
              <a:gd name="connsiteX0" fmla="*/ 0 w 841376"/>
              <a:gd name="connsiteY0" fmla="*/ 330201 h 330201"/>
              <a:gd name="connsiteX1" fmla="*/ 381794 w 841376"/>
              <a:gd name="connsiteY1" fmla="*/ 0 h 330201"/>
              <a:gd name="connsiteX2" fmla="*/ 841376 w 841376"/>
              <a:gd name="connsiteY2" fmla="*/ 0 h 330201"/>
              <a:gd name="connsiteX3" fmla="*/ 450057 w 841376"/>
              <a:gd name="connsiteY3" fmla="*/ 330201 h 330201"/>
              <a:gd name="connsiteX4" fmla="*/ 0 w 841376"/>
              <a:gd name="connsiteY4" fmla="*/ 330201 h 33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376" h="330201">
                <a:moveTo>
                  <a:pt x="0" y="330201"/>
                </a:moveTo>
                <a:lnTo>
                  <a:pt x="381794" y="0"/>
                </a:lnTo>
                <a:lnTo>
                  <a:pt x="841376" y="0"/>
                </a:lnTo>
                <a:lnTo>
                  <a:pt x="450057" y="330201"/>
                </a:lnTo>
                <a:lnTo>
                  <a:pt x="0" y="330201"/>
                </a:lnTo>
                <a:close/>
              </a:path>
            </a:pathLst>
          </a:custGeom>
          <a:pattFill prst="pct70">
            <a:fgClr>
              <a:schemeClr val="accent5">
                <a:lumMod val="50000"/>
              </a:schemeClr>
            </a:fgClr>
            <a:bgClr>
              <a:schemeClr val="bg1"/>
            </a:bgClr>
          </a:patt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306EBDAB-6567-4BB5-A72D-B8C120B081C9}"/>
              </a:ext>
            </a:extLst>
          </p:cNvPr>
          <p:cNvSpPr txBox="1"/>
          <p:nvPr/>
        </p:nvSpPr>
        <p:spPr>
          <a:xfrm>
            <a:off x="30144" y="6484140"/>
            <a:ext cx="12161855" cy="373859"/>
          </a:xfrm>
          <a:prstGeom prst="rect">
            <a:avLst/>
          </a:prstGeom>
          <a:noFill/>
        </p:spPr>
        <p:txBody>
          <a:bodyPr wrap="square" rtlCol="0" anchor="ctr">
            <a:noAutofit/>
          </a:bodyPr>
          <a:lstStyle/>
          <a:p>
            <a:pPr indent="361950"/>
            <a:endParaRPr lang="en-ZA" sz="1000" b="1" dirty="0"/>
          </a:p>
        </p:txBody>
      </p:sp>
      <p:sp>
        <p:nvSpPr>
          <p:cNvPr id="5" name="Slide Number Placeholder 4">
            <a:extLst>
              <a:ext uri="{FF2B5EF4-FFF2-40B4-BE49-F238E27FC236}">
                <a16:creationId xmlns:a16="http://schemas.microsoft.com/office/drawing/2014/main" id="{A987B35D-F68B-4006-AC19-5A526609671C}"/>
              </a:ext>
            </a:extLst>
          </p:cNvPr>
          <p:cNvSpPr>
            <a:spLocks noGrp="1"/>
          </p:cNvSpPr>
          <p:nvPr>
            <p:ph type="sldNum" sz="quarter" idx="12"/>
          </p:nvPr>
        </p:nvSpPr>
        <p:spPr>
          <a:xfrm>
            <a:off x="9448800" y="6484141"/>
            <a:ext cx="2743200" cy="365125"/>
          </a:xfrm>
        </p:spPr>
        <p:txBody>
          <a:bodyPr anchor="ctr"/>
          <a:lstStyle/>
          <a:p>
            <a:fld id="{87102F09-8F7D-4EC1-9AE5-82CA77F49212}" type="slidenum">
              <a:rPr lang="en-ZA" b="1" smtClean="0">
                <a:solidFill>
                  <a:schemeClr val="tx1"/>
                </a:solidFill>
              </a:rPr>
              <a:t>15</a:t>
            </a:fld>
            <a:endParaRPr lang="en-ZA" b="1">
              <a:solidFill>
                <a:schemeClr val="tx1"/>
              </a:solidFill>
            </a:endParaRPr>
          </a:p>
        </p:txBody>
      </p:sp>
      <p:sp>
        <p:nvSpPr>
          <p:cNvPr id="90" name="TextBox 104">
            <a:extLst>
              <a:ext uri="{FF2B5EF4-FFF2-40B4-BE49-F238E27FC236}">
                <a16:creationId xmlns:a16="http://schemas.microsoft.com/office/drawing/2014/main" id="{D5A278F4-494E-415E-A3B1-D7D24FEB3AFD}"/>
              </a:ext>
            </a:extLst>
          </p:cNvPr>
          <p:cNvSpPr txBox="1"/>
          <p:nvPr/>
        </p:nvSpPr>
        <p:spPr>
          <a:xfrm>
            <a:off x="5696862" y="1329865"/>
            <a:ext cx="5084457" cy="553998"/>
          </a:xfrm>
          <a:prstGeom prst="rect">
            <a:avLst/>
          </a:prstGeom>
          <a:noFill/>
          <a:ln w="6350">
            <a:noFill/>
            <a:prstDash val="dash"/>
          </a:ln>
        </p:spPr>
        <p:txBody>
          <a:bodyPr wrap="squar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endParaRPr lang="en-ZA" sz="1600" dirty="0">
              <a:solidFill>
                <a:schemeClr val="bg1"/>
              </a:solidFill>
            </a:endParaRPr>
          </a:p>
        </p:txBody>
      </p:sp>
      <p:sp>
        <p:nvSpPr>
          <p:cNvPr id="2" name="TextBox 1"/>
          <p:cNvSpPr txBox="1"/>
          <p:nvPr/>
        </p:nvSpPr>
        <p:spPr>
          <a:xfrm rot="10800000" flipH="1" flipV="1">
            <a:off x="430021" y="874746"/>
            <a:ext cx="11362099" cy="6463308"/>
          </a:xfrm>
          <a:prstGeom prst="rect">
            <a:avLst/>
          </a:prstGeom>
          <a:noFill/>
        </p:spPr>
        <p:txBody>
          <a:bodyPr wrap="square" rtlCol="0">
            <a:spAutoFit/>
          </a:bodyPr>
          <a:lstStyle/>
          <a:p>
            <a:pPr marL="285750" indent="-285750">
              <a:lnSpc>
                <a:spcPct val="150000"/>
              </a:lnSpc>
              <a:buFont typeface="Wingdings" panose="05000000000000000000" pitchFamily="2" charset="2"/>
              <a:buChar char="q"/>
            </a:pPr>
            <a:r>
              <a:rPr lang="en-ZA" sz="2400" dirty="0">
                <a:solidFill>
                  <a:schemeClr val="bg1"/>
                </a:solidFill>
              </a:rPr>
              <a:t>Programme 1:</a:t>
            </a:r>
            <a:r>
              <a:rPr lang="en-US" sz="2400" kern="0" dirty="0">
                <a:solidFill>
                  <a:schemeClr val="bg1"/>
                </a:solidFill>
              </a:rPr>
              <a:t> Administration – Functional &amp; Efficient Governance </a:t>
            </a:r>
          </a:p>
          <a:p>
            <a:pPr marL="285750" indent="-285750">
              <a:lnSpc>
                <a:spcPct val="150000"/>
              </a:lnSpc>
              <a:buFont typeface="Wingdings" panose="05000000000000000000" pitchFamily="2" charset="2"/>
              <a:buChar char="q"/>
            </a:pPr>
            <a:endParaRPr lang="en-ZA" sz="2400" dirty="0">
              <a:solidFill>
                <a:schemeClr val="bg1"/>
              </a:solidFill>
            </a:endParaRPr>
          </a:p>
          <a:p>
            <a:pPr marL="285750" indent="-285750">
              <a:lnSpc>
                <a:spcPct val="150000"/>
              </a:lnSpc>
              <a:buFont typeface="Wingdings" panose="05000000000000000000" pitchFamily="2" charset="2"/>
              <a:buChar char="q"/>
            </a:pPr>
            <a:r>
              <a:rPr lang="en-ZA" sz="2400" dirty="0">
                <a:solidFill>
                  <a:schemeClr val="bg1"/>
                </a:solidFill>
              </a:rPr>
              <a:t>Programme 2: </a:t>
            </a:r>
            <a:r>
              <a:rPr lang="en-US" sz="2400" kern="0" dirty="0">
                <a:solidFill>
                  <a:prstClr val="white"/>
                </a:solidFill>
              </a:rPr>
              <a:t>Integrated Human Settlements Planning and Development Programme </a:t>
            </a:r>
          </a:p>
          <a:p>
            <a:pPr>
              <a:lnSpc>
                <a:spcPct val="150000"/>
              </a:lnSpc>
            </a:pPr>
            <a:endParaRPr lang="en-ZA" sz="2400" dirty="0">
              <a:solidFill>
                <a:schemeClr val="bg1"/>
              </a:solidFill>
            </a:endParaRPr>
          </a:p>
          <a:p>
            <a:pPr marL="285750" indent="-285750">
              <a:lnSpc>
                <a:spcPct val="150000"/>
              </a:lnSpc>
              <a:buFont typeface="Wingdings" panose="05000000000000000000" pitchFamily="2" charset="2"/>
              <a:buChar char="q"/>
            </a:pPr>
            <a:r>
              <a:rPr lang="en-ZA" sz="2400" dirty="0">
                <a:solidFill>
                  <a:schemeClr val="bg1"/>
                </a:solidFill>
              </a:rPr>
              <a:t>Programme 4: </a:t>
            </a:r>
            <a:r>
              <a:rPr lang="en-US" sz="2400" kern="0" dirty="0">
                <a:solidFill>
                  <a:prstClr val="white"/>
                </a:solidFill>
              </a:rPr>
              <a:t>Rental and Social Housing Programme </a:t>
            </a:r>
            <a:endParaRPr lang="en-ZA" sz="2400" dirty="0">
              <a:solidFill>
                <a:schemeClr val="bg1"/>
              </a:solidFill>
            </a:endParaRPr>
          </a:p>
          <a:p>
            <a:pPr>
              <a:lnSpc>
                <a:spcPct val="150000"/>
              </a:lnSpc>
            </a:pPr>
            <a:endParaRPr lang="en-ZA" sz="2400" dirty="0">
              <a:solidFill>
                <a:schemeClr val="bg1"/>
              </a:solidFill>
            </a:endParaRPr>
          </a:p>
          <a:p>
            <a:pPr marL="285750" indent="-285750">
              <a:lnSpc>
                <a:spcPct val="150000"/>
              </a:lnSpc>
              <a:buFont typeface="Wingdings" panose="05000000000000000000" pitchFamily="2" charset="2"/>
              <a:buChar char="q"/>
            </a:pPr>
            <a:r>
              <a:rPr lang="en-ZA" sz="2400" dirty="0">
                <a:solidFill>
                  <a:schemeClr val="bg1"/>
                </a:solidFill>
              </a:rPr>
              <a:t>Programme 5: </a:t>
            </a:r>
            <a:r>
              <a:rPr lang="en-US" sz="2400" kern="0" dirty="0">
                <a:solidFill>
                  <a:prstClr val="white"/>
                </a:solidFill>
              </a:rPr>
              <a:t>Affordable Housing Programme </a:t>
            </a:r>
          </a:p>
          <a:p>
            <a:pPr>
              <a:lnSpc>
                <a:spcPct val="150000"/>
              </a:lnSpc>
            </a:pPr>
            <a:endParaRPr lang="en-US" sz="2400" kern="0" dirty="0">
              <a:solidFill>
                <a:prstClr val="white"/>
              </a:solidFill>
            </a:endParaRPr>
          </a:p>
          <a:p>
            <a:pPr marL="285750" indent="-285750">
              <a:lnSpc>
                <a:spcPct val="150000"/>
              </a:lnSpc>
              <a:buFont typeface="Wingdings" panose="05000000000000000000" pitchFamily="2" charset="2"/>
              <a:buChar char="q"/>
            </a:pPr>
            <a:r>
              <a:rPr lang="en-ZA" sz="2400" dirty="0">
                <a:solidFill>
                  <a:schemeClr val="bg1"/>
                </a:solidFill>
              </a:rPr>
              <a:t>Programme</a:t>
            </a:r>
            <a:r>
              <a:rPr lang="en-US" sz="2400" kern="0" dirty="0">
                <a:solidFill>
                  <a:prstClr val="white"/>
                </a:solidFill>
              </a:rPr>
              <a:t> 6:  </a:t>
            </a:r>
            <a:r>
              <a:rPr lang="en-US" sz="2400" dirty="0">
                <a:solidFill>
                  <a:schemeClr val="bg1"/>
                </a:solidFill>
              </a:rPr>
              <a:t>Sector Transformation</a:t>
            </a:r>
            <a:endParaRPr lang="en-US" sz="2400" kern="0" dirty="0">
              <a:solidFill>
                <a:prstClr val="white"/>
              </a:solidFill>
            </a:endParaRPr>
          </a:p>
          <a:p>
            <a:pPr marL="285750" indent="-285750">
              <a:lnSpc>
                <a:spcPct val="150000"/>
              </a:lnSpc>
              <a:buFont typeface="Wingdings" panose="05000000000000000000" pitchFamily="2" charset="2"/>
              <a:buChar char="q"/>
            </a:pPr>
            <a:endParaRPr lang="en-US" sz="2400" kern="0" dirty="0">
              <a:solidFill>
                <a:prstClr val="white"/>
              </a:solidFill>
            </a:endParaRPr>
          </a:p>
          <a:p>
            <a:pPr marL="285750" indent="-285750">
              <a:lnSpc>
                <a:spcPct val="150000"/>
              </a:lnSpc>
              <a:buFont typeface="Wingdings" panose="05000000000000000000" pitchFamily="2" charset="2"/>
              <a:buChar char="q"/>
            </a:pPr>
            <a:endParaRPr lang="en-ZA" sz="2400" dirty="0">
              <a:solidFill>
                <a:schemeClr val="bg1"/>
              </a:solidFill>
            </a:endParaRPr>
          </a:p>
          <a:p>
            <a:pPr marL="285750" indent="-285750">
              <a:buFont typeface="Wingdings" panose="05000000000000000000" pitchFamily="2" charset="2"/>
              <a:buChar char="q"/>
            </a:pPr>
            <a:endParaRPr lang="en-ZA" dirty="0"/>
          </a:p>
        </p:txBody>
      </p:sp>
    </p:spTree>
    <p:extLst>
      <p:ext uri="{BB962C8B-B14F-4D97-AF65-F5344CB8AC3E}">
        <p14:creationId xmlns:p14="http://schemas.microsoft.com/office/powerpoint/2010/main" val="26932256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1" y="5646"/>
            <a:ext cx="12192001" cy="805723"/>
          </a:xfrm>
          <a:prstGeom prst="rect">
            <a:avLst/>
          </a:prstGeom>
          <a:solidFill>
            <a:srgbClr val="00266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rtlCol="0" anchor="ctr">
            <a:noAutofit/>
            <a:scene3d>
              <a:camera prst="orthographicFront"/>
              <a:lightRig rig="soft" dir="t"/>
            </a:scene3d>
            <a:sp3d prstMaterial="softEdge">
              <a:bevelT w="25400" h="25400"/>
            </a:sp3d>
          </a:bodyPr>
          <a:lstStyle>
            <a:lvl1pPr algn="r" rtl="0" eaLnBrk="1" latinLnBrk="0" hangingPunct="1">
              <a:spcBef>
                <a:spcPct val="0"/>
              </a:spcBef>
              <a:buNone/>
              <a:defRPr kumimoji="0" sz="3200" b="1" kern="1200">
                <a:solidFill>
                  <a:srgbClr val="9A9B9C"/>
                </a:solidFill>
                <a:effectLst>
                  <a:outerShdw blurRad="31750" dist="25400" dir="5400000" algn="tl" rotWithShape="0">
                    <a:srgbClr val="000000">
                      <a:alpha val="25000"/>
                    </a:srgbClr>
                  </a:outerShdw>
                </a:effectLst>
                <a:latin typeface="+mn-lt"/>
                <a:ea typeface="+mj-ea"/>
                <a:cs typeface="+mj-cs"/>
              </a:defRPr>
            </a:lvl1pPr>
            <a:lvl2pPr>
              <a:defRPr/>
            </a:lvl2pPr>
            <a:lvl3pPr>
              <a:defRPr/>
            </a:lvl3pPr>
            <a:lvl4pPr>
              <a:defRPr/>
            </a:lvl4pPr>
            <a:lvl5pPr>
              <a:defRPr/>
            </a:lvl5pPr>
            <a:lvl6pPr>
              <a:defRPr/>
            </a:lvl6pPr>
            <a:lvl7pPr>
              <a:defRPr/>
            </a:lvl7pPr>
            <a:lvl8pPr>
              <a:defRPr/>
            </a:lvl8pPr>
            <a:lvl9pPr>
              <a:defRPr/>
            </a:lvl9pPr>
            <a:extLst/>
          </a:lstStyle>
          <a:p>
            <a:pPr marL="354013" algn="l"/>
            <a:r>
              <a:rPr lang="en-US" sz="2400" kern="0" dirty="0">
                <a:solidFill>
                  <a:prstClr val="white"/>
                </a:solidFill>
                <a:effectLst/>
              </a:rPr>
              <a:t>PROGRAMME 1 – ADMINISTRATION </a:t>
            </a:r>
          </a:p>
        </p:txBody>
      </p:sp>
      <p:sp>
        <p:nvSpPr>
          <p:cNvPr id="8" name="Parallelogram 7"/>
          <p:cNvSpPr/>
          <p:nvPr/>
        </p:nvSpPr>
        <p:spPr>
          <a:xfrm>
            <a:off x="-2" y="6519067"/>
            <a:ext cx="9871077" cy="335757"/>
          </a:xfrm>
          <a:custGeom>
            <a:avLst/>
            <a:gdLst>
              <a:gd name="connsiteX0" fmla="*/ 0 w 10188575"/>
              <a:gd name="connsiteY0" fmla="*/ 166915 h 166915"/>
              <a:gd name="connsiteX1" fmla="*/ 41729 w 10188575"/>
              <a:gd name="connsiteY1" fmla="*/ 0 h 166915"/>
              <a:gd name="connsiteX2" fmla="*/ 10188575 w 10188575"/>
              <a:gd name="connsiteY2" fmla="*/ 0 h 166915"/>
              <a:gd name="connsiteX3" fmla="*/ 10146846 w 10188575"/>
              <a:gd name="connsiteY3" fmla="*/ 166915 h 166915"/>
              <a:gd name="connsiteX4" fmla="*/ 0 w 10188575"/>
              <a:gd name="connsiteY4" fmla="*/ 166915 h 166915"/>
              <a:gd name="connsiteX0" fmla="*/ 17802 w 10146846"/>
              <a:gd name="connsiteY0" fmla="*/ 166915 h 166915"/>
              <a:gd name="connsiteX1" fmla="*/ 0 w 10146846"/>
              <a:gd name="connsiteY1" fmla="*/ 0 h 166915"/>
              <a:gd name="connsiteX2" fmla="*/ 10146846 w 10146846"/>
              <a:gd name="connsiteY2" fmla="*/ 0 h 166915"/>
              <a:gd name="connsiteX3" fmla="*/ 10105117 w 10146846"/>
              <a:gd name="connsiteY3" fmla="*/ 166915 h 166915"/>
              <a:gd name="connsiteX4" fmla="*/ 17802 w 10146846"/>
              <a:gd name="connsiteY4" fmla="*/ 166915 h 166915"/>
              <a:gd name="connsiteX0" fmla="*/ 3514 w 10132558"/>
              <a:gd name="connsiteY0" fmla="*/ 166915 h 166915"/>
              <a:gd name="connsiteX1" fmla="*/ 0 w 10132558"/>
              <a:gd name="connsiteY1" fmla="*/ 2381 h 166915"/>
              <a:gd name="connsiteX2" fmla="*/ 10132558 w 10132558"/>
              <a:gd name="connsiteY2" fmla="*/ 0 h 166915"/>
              <a:gd name="connsiteX3" fmla="*/ 10090829 w 10132558"/>
              <a:gd name="connsiteY3" fmla="*/ 166915 h 166915"/>
              <a:gd name="connsiteX4" fmla="*/ 3514 w 10132558"/>
              <a:gd name="connsiteY4" fmla="*/ 166915 h 166915"/>
              <a:gd name="connsiteX0" fmla="*/ 154 w 10129198"/>
              <a:gd name="connsiteY0" fmla="*/ 166915 h 166915"/>
              <a:gd name="connsiteX1" fmla="*/ 3784 w 10129198"/>
              <a:gd name="connsiteY1" fmla="*/ 0 h 166915"/>
              <a:gd name="connsiteX2" fmla="*/ 10129198 w 10129198"/>
              <a:gd name="connsiteY2" fmla="*/ 0 h 166915"/>
              <a:gd name="connsiteX3" fmla="*/ 10087469 w 10129198"/>
              <a:gd name="connsiteY3" fmla="*/ 166915 h 166915"/>
              <a:gd name="connsiteX4" fmla="*/ 154 w 10129198"/>
              <a:gd name="connsiteY4" fmla="*/ 166915 h 166915"/>
              <a:gd name="connsiteX0" fmla="*/ 239 w 10126902"/>
              <a:gd name="connsiteY0" fmla="*/ 169296 h 169296"/>
              <a:gd name="connsiteX1" fmla="*/ 1488 w 10126902"/>
              <a:gd name="connsiteY1" fmla="*/ 0 h 169296"/>
              <a:gd name="connsiteX2" fmla="*/ 10126902 w 10126902"/>
              <a:gd name="connsiteY2" fmla="*/ 0 h 169296"/>
              <a:gd name="connsiteX3" fmla="*/ 10085173 w 10126902"/>
              <a:gd name="connsiteY3" fmla="*/ 166915 h 169296"/>
              <a:gd name="connsiteX4" fmla="*/ 239 w 10126902"/>
              <a:gd name="connsiteY4" fmla="*/ 169296 h 169296"/>
              <a:gd name="connsiteX0" fmla="*/ 239 w 10425352"/>
              <a:gd name="connsiteY0" fmla="*/ 175887 h 175887"/>
              <a:gd name="connsiteX1" fmla="*/ 1488 w 10425352"/>
              <a:gd name="connsiteY1" fmla="*/ 6591 h 175887"/>
              <a:gd name="connsiteX2" fmla="*/ 10425352 w 10425352"/>
              <a:gd name="connsiteY2" fmla="*/ 0 h 175887"/>
              <a:gd name="connsiteX3" fmla="*/ 10085173 w 10425352"/>
              <a:gd name="connsiteY3" fmla="*/ 173506 h 175887"/>
              <a:gd name="connsiteX4" fmla="*/ 239 w 10425352"/>
              <a:gd name="connsiteY4" fmla="*/ 175887 h 175887"/>
              <a:gd name="connsiteX0" fmla="*/ 239 w 10635515"/>
              <a:gd name="connsiteY0" fmla="*/ 179182 h 179182"/>
              <a:gd name="connsiteX1" fmla="*/ 1488 w 10635515"/>
              <a:gd name="connsiteY1" fmla="*/ 9886 h 179182"/>
              <a:gd name="connsiteX2" fmla="*/ 10635515 w 10635515"/>
              <a:gd name="connsiteY2" fmla="*/ 0 h 179182"/>
              <a:gd name="connsiteX3" fmla="*/ 10085173 w 10635515"/>
              <a:gd name="connsiteY3" fmla="*/ 176801 h 179182"/>
              <a:gd name="connsiteX4" fmla="*/ 239 w 10635515"/>
              <a:gd name="connsiteY4" fmla="*/ 179182 h 179182"/>
              <a:gd name="connsiteX0" fmla="*/ 239 w 10635515"/>
              <a:gd name="connsiteY0" fmla="*/ 179182 h 179182"/>
              <a:gd name="connsiteX1" fmla="*/ 1488 w 10635515"/>
              <a:gd name="connsiteY1" fmla="*/ 9886 h 179182"/>
              <a:gd name="connsiteX2" fmla="*/ 10635515 w 10635515"/>
              <a:gd name="connsiteY2" fmla="*/ 0 h 179182"/>
              <a:gd name="connsiteX3" fmla="*/ 10224620 w 10635515"/>
              <a:gd name="connsiteY3" fmla="*/ 178449 h 179182"/>
              <a:gd name="connsiteX4" fmla="*/ 239 w 10635515"/>
              <a:gd name="connsiteY4" fmla="*/ 179182 h 179182"/>
              <a:gd name="connsiteX0" fmla="*/ 239 w 10635515"/>
              <a:gd name="connsiteY0" fmla="*/ 174239 h 174239"/>
              <a:gd name="connsiteX1" fmla="*/ 1488 w 10635515"/>
              <a:gd name="connsiteY1" fmla="*/ 4943 h 174239"/>
              <a:gd name="connsiteX2" fmla="*/ 10635515 w 10635515"/>
              <a:gd name="connsiteY2" fmla="*/ 0 h 174239"/>
              <a:gd name="connsiteX3" fmla="*/ 10224620 w 10635515"/>
              <a:gd name="connsiteY3" fmla="*/ 173506 h 174239"/>
              <a:gd name="connsiteX4" fmla="*/ 239 w 10635515"/>
              <a:gd name="connsiteY4" fmla="*/ 174239 h 174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35515" h="174239">
                <a:moveTo>
                  <a:pt x="239" y="174239"/>
                </a:moveTo>
                <a:cubicBezTo>
                  <a:pt x="-932" y="119394"/>
                  <a:pt x="2659" y="59788"/>
                  <a:pt x="1488" y="4943"/>
                </a:cubicBezTo>
                <a:lnTo>
                  <a:pt x="10635515" y="0"/>
                </a:lnTo>
                <a:lnTo>
                  <a:pt x="10224620" y="173506"/>
                </a:lnTo>
                <a:lnTo>
                  <a:pt x="239" y="174239"/>
                </a:lnTo>
                <a:close/>
              </a:path>
            </a:pathLst>
          </a:custGeom>
          <a:pattFill prst="pct70">
            <a:fgClr>
              <a:schemeClr val="bg1">
                <a:lumMod val="75000"/>
              </a:schemeClr>
            </a:fgClr>
            <a:bgClr>
              <a:schemeClr val="bg1"/>
            </a:bgClr>
          </a:patt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dirty="0">
              <a:solidFill>
                <a:prstClr val="black"/>
              </a:solidFill>
            </a:endParaRPr>
          </a:p>
        </p:txBody>
      </p:sp>
      <p:sp>
        <p:nvSpPr>
          <p:cNvPr id="11" name="Parallelogram 10"/>
          <p:cNvSpPr/>
          <p:nvPr/>
        </p:nvSpPr>
        <p:spPr>
          <a:xfrm>
            <a:off x="10360480" y="6519067"/>
            <a:ext cx="1831520" cy="330199"/>
          </a:xfrm>
          <a:custGeom>
            <a:avLst/>
            <a:gdLst>
              <a:gd name="connsiteX0" fmla="*/ 0 w 1983938"/>
              <a:gd name="connsiteY0" fmla="*/ 166914 h 166914"/>
              <a:gd name="connsiteX1" fmla="*/ 41729 w 1983938"/>
              <a:gd name="connsiteY1" fmla="*/ 0 h 166914"/>
              <a:gd name="connsiteX2" fmla="*/ 1983938 w 1983938"/>
              <a:gd name="connsiteY2" fmla="*/ 0 h 166914"/>
              <a:gd name="connsiteX3" fmla="*/ 1942210 w 1983938"/>
              <a:gd name="connsiteY3" fmla="*/ 166914 h 166914"/>
              <a:gd name="connsiteX4" fmla="*/ 0 w 1983938"/>
              <a:gd name="connsiteY4" fmla="*/ 166914 h 166914"/>
              <a:gd name="connsiteX0" fmla="*/ 0 w 1942210"/>
              <a:gd name="connsiteY0" fmla="*/ 166914 h 166914"/>
              <a:gd name="connsiteX1" fmla="*/ 41729 w 1942210"/>
              <a:gd name="connsiteY1" fmla="*/ 0 h 166914"/>
              <a:gd name="connsiteX2" fmla="*/ 1910120 w 1942210"/>
              <a:gd name="connsiteY2" fmla="*/ 0 h 166914"/>
              <a:gd name="connsiteX3" fmla="*/ 1942210 w 1942210"/>
              <a:gd name="connsiteY3" fmla="*/ 166914 h 166914"/>
              <a:gd name="connsiteX4" fmla="*/ 0 w 1942210"/>
              <a:gd name="connsiteY4" fmla="*/ 166914 h 166914"/>
              <a:gd name="connsiteX0" fmla="*/ 0 w 1913635"/>
              <a:gd name="connsiteY0" fmla="*/ 166914 h 166914"/>
              <a:gd name="connsiteX1" fmla="*/ 41729 w 1913635"/>
              <a:gd name="connsiteY1" fmla="*/ 0 h 166914"/>
              <a:gd name="connsiteX2" fmla="*/ 1910120 w 1913635"/>
              <a:gd name="connsiteY2" fmla="*/ 0 h 166914"/>
              <a:gd name="connsiteX3" fmla="*/ 1913635 w 1913635"/>
              <a:gd name="connsiteY3" fmla="*/ 166914 h 166914"/>
              <a:gd name="connsiteX4" fmla="*/ 0 w 1913635"/>
              <a:gd name="connsiteY4" fmla="*/ 166914 h 166914"/>
              <a:gd name="connsiteX0" fmla="*/ 0 w 1913635"/>
              <a:gd name="connsiteY0" fmla="*/ 170187 h 170187"/>
              <a:gd name="connsiteX1" fmla="*/ 352879 w 1913635"/>
              <a:gd name="connsiteY1" fmla="*/ 0 h 170187"/>
              <a:gd name="connsiteX2" fmla="*/ 1910120 w 1913635"/>
              <a:gd name="connsiteY2" fmla="*/ 3273 h 170187"/>
              <a:gd name="connsiteX3" fmla="*/ 1913635 w 1913635"/>
              <a:gd name="connsiteY3" fmla="*/ 170187 h 170187"/>
              <a:gd name="connsiteX4" fmla="*/ 0 w 1913635"/>
              <a:gd name="connsiteY4" fmla="*/ 170187 h 1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635" h="170187">
                <a:moveTo>
                  <a:pt x="0" y="170187"/>
                </a:moveTo>
                <a:lnTo>
                  <a:pt x="352879" y="0"/>
                </a:lnTo>
                <a:lnTo>
                  <a:pt x="1910120" y="3273"/>
                </a:lnTo>
                <a:cubicBezTo>
                  <a:pt x="1911292" y="58911"/>
                  <a:pt x="1912463" y="114549"/>
                  <a:pt x="1913635" y="170187"/>
                </a:cubicBezTo>
                <a:lnTo>
                  <a:pt x="0" y="170187"/>
                </a:lnTo>
                <a:close/>
              </a:path>
            </a:pathLst>
          </a:custGeom>
          <a:pattFill prst="pct70">
            <a:fgClr>
              <a:schemeClr val="accent4"/>
            </a:fgClr>
            <a:bgClr>
              <a:schemeClr val="bg1"/>
            </a:bgClr>
          </a:patt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sp>
        <p:nvSpPr>
          <p:cNvPr id="13" name="Parallelogram 12"/>
          <p:cNvSpPr/>
          <p:nvPr/>
        </p:nvSpPr>
        <p:spPr>
          <a:xfrm>
            <a:off x="9680574" y="6524623"/>
            <a:ext cx="841376" cy="330201"/>
          </a:xfrm>
          <a:custGeom>
            <a:avLst/>
            <a:gdLst>
              <a:gd name="connsiteX0" fmla="*/ 0 w 812801"/>
              <a:gd name="connsiteY0" fmla="*/ 333376 h 333376"/>
              <a:gd name="connsiteX1" fmla="*/ 83344 w 812801"/>
              <a:gd name="connsiteY1" fmla="*/ 0 h 333376"/>
              <a:gd name="connsiteX2" fmla="*/ 812801 w 812801"/>
              <a:gd name="connsiteY2" fmla="*/ 0 h 333376"/>
              <a:gd name="connsiteX3" fmla="*/ 729457 w 812801"/>
              <a:gd name="connsiteY3" fmla="*/ 333376 h 333376"/>
              <a:gd name="connsiteX4" fmla="*/ 0 w 812801"/>
              <a:gd name="connsiteY4" fmla="*/ 333376 h 333376"/>
              <a:gd name="connsiteX0" fmla="*/ 0 w 1111251"/>
              <a:gd name="connsiteY0" fmla="*/ 330201 h 333376"/>
              <a:gd name="connsiteX1" fmla="*/ 381794 w 1111251"/>
              <a:gd name="connsiteY1" fmla="*/ 0 h 333376"/>
              <a:gd name="connsiteX2" fmla="*/ 1111251 w 1111251"/>
              <a:gd name="connsiteY2" fmla="*/ 0 h 333376"/>
              <a:gd name="connsiteX3" fmla="*/ 1027907 w 1111251"/>
              <a:gd name="connsiteY3" fmla="*/ 333376 h 333376"/>
              <a:gd name="connsiteX4" fmla="*/ 0 w 1111251"/>
              <a:gd name="connsiteY4" fmla="*/ 330201 h 333376"/>
              <a:gd name="connsiteX0" fmla="*/ 0 w 1111251"/>
              <a:gd name="connsiteY0" fmla="*/ 330201 h 330201"/>
              <a:gd name="connsiteX1" fmla="*/ 381794 w 1111251"/>
              <a:gd name="connsiteY1" fmla="*/ 0 h 330201"/>
              <a:gd name="connsiteX2" fmla="*/ 1111251 w 1111251"/>
              <a:gd name="connsiteY2" fmla="*/ 0 h 330201"/>
              <a:gd name="connsiteX3" fmla="*/ 805657 w 1111251"/>
              <a:gd name="connsiteY3" fmla="*/ 320676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815976"/>
              <a:gd name="connsiteY0" fmla="*/ 330201 h 330201"/>
              <a:gd name="connsiteX1" fmla="*/ 381794 w 815976"/>
              <a:gd name="connsiteY1" fmla="*/ 0 h 330201"/>
              <a:gd name="connsiteX2" fmla="*/ 815976 w 815976"/>
              <a:gd name="connsiteY2" fmla="*/ 0 h 330201"/>
              <a:gd name="connsiteX3" fmla="*/ 450057 w 815976"/>
              <a:gd name="connsiteY3" fmla="*/ 330201 h 330201"/>
              <a:gd name="connsiteX4" fmla="*/ 0 w 815976"/>
              <a:gd name="connsiteY4" fmla="*/ 330201 h 330201"/>
              <a:gd name="connsiteX0" fmla="*/ 0 w 841376"/>
              <a:gd name="connsiteY0" fmla="*/ 330201 h 330201"/>
              <a:gd name="connsiteX1" fmla="*/ 381794 w 841376"/>
              <a:gd name="connsiteY1" fmla="*/ 0 h 330201"/>
              <a:gd name="connsiteX2" fmla="*/ 841376 w 841376"/>
              <a:gd name="connsiteY2" fmla="*/ 0 h 330201"/>
              <a:gd name="connsiteX3" fmla="*/ 450057 w 841376"/>
              <a:gd name="connsiteY3" fmla="*/ 330201 h 330201"/>
              <a:gd name="connsiteX4" fmla="*/ 0 w 841376"/>
              <a:gd name="connsiteY4" fmla="*/ 330201 h 33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376" h="330201">
                <a:moveTo>
                  <a:pt x="0" y="330201"/>
                </a:moveTo>
                <a:lnTo>
                  <a:pt x="381794" y="0"/>
                </a:lnTo>
                <a:lnTo>
                  <a:pt x="841376" y="0"/>
                </a:lnTo>
                <a:lnTo>
                  <a:pt x="450057" y="330201"/>
                </a:lnTo>
                <a:lnTo>
                  <a:pt x="0" y="330201"/>
                </a:lnTo>
                <a:close/>
              </a:path>
            </a:pathLst>
          </a:custGeom>
          <a:pattFill prst="pct70">
            <a:fgClr>
              <a:schemeClr val="accent5">
                <a:lumMod val="50000"/>
              </a:schemeClr>
            </a:fgClr>
            <a:bgClr>
              <a:schemeClr val="bg1"/>
            </a:bgClr>
          </a:patt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prstClr val="white"/>
              </a:solidFill>
            </a:endParaRPr>
          </a:p>
        </p:txBody>
      </p:sp>
      <p:sp>
        <p:nvSpPr>
          <p:cNvPr id="3" name="TextBox 2">
            <a:extLst>
              <a:ext uri="{FF2B5EF4-FFF2-40B4-BE49-F238E27FC236}">
                <a16:creationId xmlns:a16="http://schemas.microsoft.com/office/drawing/2014/main" id="{306EBDAB-6567-4BB5-A72D-B8C120B081C9}"/>
              </a:ext>
            </a:extLst>
          </p:cNvPr>
          <p:cNvSpPr txBox="1"/>
          <p:nvPr/>
        </p:nvSpPr>
        <p:spPr>
          <a:xfrm>
            <a:off x="30144" y="6484140"/>
            <a:ext cx="12161855" cy="373859"/>
          </a:xfrm>
          <a:prstGeom prst="rect">
            <a:avLst/>
          </a:prstGeom>
          <a:noFill/>
        </p:spPr>
        <p:txBody>
          <a:bodyPr wrap="square" rtlCol="0" anchor="ctr">
            <a:noAutofit/>
          </a:bodyPr>
          <a:lstStyle/>
          <a:p>
            <a:pPr indent="361950"/>
            <a:endParaRPr lang="en-ZA" sz="1000" b="1" dirty="0">
              <a:solidFill>
                <a:prstClr val="black"/>
              </a:solidFill>
            </a:endParaRPr>
          </a:p>
        </p:txBody>
      </p:sp>
      <p:sp>
        <p:nvSpPr>
          <p:cNvPr id="5" name="Slide Number Placeholder 4">
            <a:extLst>
              <a:ext uri="{FF2B5EF4-FFF2-40B4-BE49-F238E27FC236}">
                <a16:creationId xmlns:a16="http://schemas.microsoft.com/office/drawing/2014/main" id="{A987B35D-F68B-4006-AC19-5A526609671C}"/>
              </a:ext>
            </a:extLst>
          </p:cNvPr>
          <p:cNvSpPr>
            <a:spLocks noGrp="1"/>
          </p:cNvSpPr>
          <p:nvPr>
            <p:ph type="sldNum" sz="quarter" idx="12"/>
          </p:nvPr>
        </p:nvSpPr>
        <p:spPr>
          <a:xfrm>
            <a:off x="9448800" y="6484141"/>
            <a:ext cx="2743200" cy="365125"/>
          </a:xfrm>
        </p:spPr>
        <p:txBody>
          <a:bodyPr anchor="ctr"/>
          <a:lstStyle/>
          <a:p>
            <a:fld id="{87102F09-8F7D-4EC1-9AE5-82CA77F49212}" type="slidenum">
              <a:rPr lang="en-ZA" b="1" smtClean="0">
                <a:solidFill>
                  <a:prstClr val="black"/>
                </a:solidFill>
              </a:rPr>
              <a:pPr/>
              <a:t>16</a:t>
            </a:fld>
            <a:endParaRPr lang="en-ZA" b="1" dirty="0">
              <a:solidFill>
                <a:prstClr val="black"/>
              </a:solidFill>
            </a:endParaRPr>
          </a:p>
        </p:txBody>
      </p:sp>
      <p:pic>
        <p:nvPicPr>
          <p:cNvPr id="2" name="Picture 1">
            <a:extLst>
              <a:ext uri="{FF2B5EF4-FFF2-40B4-BE49-F238E27FC236}">
                <a16:creationId xmlns:a16="http://schemas.microsoft.com/office/drawing/2014/main" id="{504B3A9B-314D-41A1-9BF3-6BECDC9D48D1}"/>
              </a:ext>
            </a:extLst>
          </p:cNvPr>
          <p:cNvPicPr>
            <a:picLocks noChangeAspect="1"/>
          </p:cNvPicPr>
          <p:nvPr/>
        </p:nvPicPr>
        <p:blipFill>
          <a:blip r:embed="rId2"/>
          <a:stretch>
            <a:fillRect/>
          </a:stretch>
        </p:blipFill>
        <p:spPr>
          <a:xfrm>
            <a:off x="-3" y="820101"/>
            <a:ext cx="9029702" cy="5704522"/>
          </a:xfrm>
          <a:prstGeom prst="rect">
            <a:avLst/>
          </a:prstGeom>
        </p:spPr>
      </p:pic>
    </p:spTree>
    <p:extLst>
      <p:ext uri="{BB962C8B-B14F-4D97-AF65-F5344CB8AC3E}">
        <p14:creationId xmlns:p14="http://schemas.microsoft.com/office/powerpoint/2010/main" val="6678125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1" y="5646"/>
            <a:ext cx="12192001" cy="805723"/>
          </a:xfrm>
          <a:prstGeom prst="rect">
            <a:avLst/>
          </a:prstGeom>
          <a:solidFill>
            <a:srgbClr val="00266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rtlCol="0" anchor="ctr">
            <a:noAutofit/>
            <a:scene3d>
              <a:camera prst="orthographicFront"/>
              <a:lightRig rig="soft" dir="t"/>
            </a:scene3d>
            <a:sp3d prstMaterial="softEdge">
              <a:bevelT w="25400" h="25400"/>
            </a:sp3d>
          </a:bodyPr>
          <a:lstStyle>
            <a:lvl1pPr algn="r" rtl="0" eaLnBrk="1" latinLnBrk="0" hangingPunct="1">
              <a:spcBef>
                <a:spcPct val="0"/>
              </a:spcBef>
              <a:buNone/>
              <a:defRPr kumimoji="0" sz="3200" b="1" kern="1200">
                <a:solidFill>
                  <a:srgbClr val="9A9B9C"/>
                </a:solidFill>
                <a:effectLst>
                  <a:outerShdw blurRad="31750" dist="25400" dir="5400000" algn="tl" rotWithShape="0">
                    <a:srgbClr val="000000">
                      <a:alpha val="25000"/>
                    </a:srgbClr>
                  </a:outerShdw>
                </a:effectLst>
                <a:latin typeface="+mn-lt"/>
                <a:ea typeface="+mj-ea"/>
                <a:cs typeface="+mj-cs"/>
              </a:defRPr>
            </a:lvl1pPr>
            <a:lvl2pPr>
              <a:defRPr/>
            </a:lvl2pPr>
            <a:lvl3pPr>
              <a:defRPr/>
            </a:lvl3pPr>
            <a:lvl4pPr>
              <a:defRPr/>
            </a:lvl4pPr>
            <a:lvl5pPr>
              <a:defRPr/>
            </a:lvl5pPr>
            <a:lvl6pPr>
              <a:defRPr/>
            </a:lvl6pPr>
            <a:lvl7pPr>
              <a:defRPr/>
            </a:lvl7pPr>
            <a:lvl8pPr>
              <a:defRPr/>
            </a:lvl8pPr>
            <a:lvl9pPr>
              <a:defRPr/>
            </a:lvl9pPr>
            <a:extLst/>
          </a:lstStyle>
          <a:p>
            <a:pPr marL="354013" algn="l"/>
            <a:r>
              <a:rPr lang="en-US" sz="2400" kern="0" dirty="0">
                <a:solidFill>
                  <a:prstClr val="white"/>
                </a:solidFill>
                <a:effectLst/>
              </a:rPr>
              <a:t>PROGRAMME </a:t>
            </a:r>
            <a:r>
              <a:rPr lang="en-US" sz="2400" kern="0" dirty="0" err="1">
                <a:solidFill>
                  <a:prstClr val="white"/>
                </a:solidFill>
                <a:effectLst/>
              </a:rPr>
              <a:t>2a</a:t>
            </a:r>
            <a:r>
              <a:rPr lang="en-US" sz="2400" kern="0" dirty="0">
                <a:solidFill>
                  <a:prstClr val="white"/>
                </a:solidFill>
                <a:effectLst/>
              </a:rPr>
              <a:t> – INTEGRATED HS PLANNING AND DEVELOPMENT PROGRAMME </a:t>
            </a:r>
          </a:p>
        </p:txBody>
      </p:sp>
      <p:sp>
        <p:nvSpPr>
          <p:cNvPr id="8" name="Parallelogram 7"/>
          <p:cNvSpPr/>
          <p:nvPr/>
        </p:nvSpPr>
        <p:spPr>
          <a:xfrm>
            <a:off x="-2" y="6519067"/>
            <a:ext cx="9871077" cy="335757"/>
          </a:xfrm>
          <a:custGeom>
            <a:avLst/>
            <a:gdLst>
              <a:gd name="connsiteX0" fmla="*/ 0 w 10188575"/>
              <a:gd name="connsiteY0" fmla="*/ 166915 h 166915"/>
              <a:gd name="connsiteX1" fmla="*/ 41729 w 10188575"/>
              <a:gd name="connsiteY1" fmla="*/ 0 h 166915"/>
              <a:gd name="connsiteX2" fmla="*/ 10188575 w 10188575"/>
              <a:gd name="connsiteY2" fmla="*/ 0 h 166915"/>
              <a:gd name="connsiteX3" fmla="*/ 10146846 w 10188575"/>
              <a:gd name="connsiteY3" fmla="*/ 166915 h 166915"/>
              <a:gd name="connsiteX4" fmla="*/ 0 w 10188575"/>
              <a:gd name="connsiteY4" fmla="*/ 166915 h 166915"/>
              <a:gd name="connsiteX0" fmla="*/ 17802 w 10146846"/>
              <a:gd name="connsiteY0" fmla="*/ 166915 h 166915"/>
              <a:gd name="connsiteX1" fmla="*/ 0 w 10146846"/>
              <a:gd name="connsiteY1" fmla="*/ 0 h 166915"/>
              <a:gd name="connsiteX2" fmla="*/ 10146846 w 10146846"/>
              <a:gd name="connsiteY2" fmla="*/ 0 h 166915"/>
              <a:gd name="connsiteX3" fmla="*/ 10105117 w 10146846"/>
              <a:gd name="connsiteY3" fmla="*/ 166915 h 166915"/>
              <a:gd name="connsiteX4" fmla="*/ 17802 w 10146846"/>
              <a:gd name="connsiteY4" fmla="*/ 166915 h 166915"/>
              <a:gd name="connsiteX0" fmla="*/ 3514 w 10132558"/>
              <a:gd name="connsiteY0" fmla="*/ 166915 h 166915"/>
              <a:gd name="connsiteX1" fmla="*/ 0 w 10132558"/>
              <a:gd name="connsiteY1" fmla="*/ 2381 h 166915"/>
              <a:gd name="connsiteX2" fmla="*/ 10132558 w 10132558"/>
              <a:gd name="connsiteY2" fmla="*/ 0 h 166915"/>
              <a:gd name="connsiteX3" fmla="*/ 10090829 w 10132558"/>
              <a:gd name="connsiteY3" fmla="*/ 166915 h 166915"/>
              <a:gd name="connsiteX4" fmla="*/ 3514 w 10132558"/>
              <a:gd name="connsiteY4" fmla="*/ 166915 h 166915"/>
              <a:gd name="connsiteX0" fmla="*/ 154 w 10129198"/>
              <a:gd name="connsiteY0" fmla="*/ 166915 h 166915"/>
              <a:gd name="connsiteX1" fmla="*/ 3784 w 10129198"/>
              <a:gd name="connsiteY1" fmla="*/ 0 h 166915"/>
              <a:gd name="connsiteX2" fmla="*/ 10129198 w 10129198"/>
              <a:gd name="connsiteY2" fmla="*/ 0 h 166915"/>
              <a:gd name="connsiteX3" fmla="*/ 10087469 w 10129198"/>
              <a:gd name="connsiteY3" fmla="*/ 166915 h 166915"/>
              <a:gd name="connsiteX4" fmla="*/ 154 w 10129198"/>
              <a:gd name="connsiteY4" fmla="*/ 166915 h 166915"/>
              <a:gd name="connsiteX0" fmla="*/ 239 w 10126902"/>
              <a:gd name="connsiteY0" fmla="*/ 169296 h 169296"/>
              <a:gd name="connsiteX1" fmla="*/ 1488 w 10126902"/>
              <a:gd name="connsiteY1" fmla="*/ 0 h 169296"/>
              <a:gd name="connsiteX2" fmla="*/ 10126902 w 10126902"/>
              <a:gd name="connsiteY2" fmla="*/ 0 h 169296"/>
              <a:gd name="connsiteX3" fmla="*/ 10085173 w 10126902"/>
              <a:gd name="connsiteY3" fmla="*/ 166915 h 169296"/>
              <a:gd name="connsiteX4" fmla="*/ 239 w 10126902"/>
              <a:gd name="connsiteY4" fmla="*/ 169296 h 169296"/>
              <a:gd name="connsiteX0" fmla="*/ 239 w 10425352"/>
              <a:gd name="connsiteY0" fmla="*/ 175887 h 175887"/>
              <a:gd name="connsiteX1" fmla="*/ 1488 w 10425352"/>
              <a:gd name="connsiteY1" fmla="*/ 6591 h 175887"/>
              <a:gd name="connsiteX2" fmla="*/ 10425352 w 10425352"/>
              <a:gd name="connsiteY2" fmla="*/ 0 h 175887"/>
              <a:gd name="connsiteX3" fmla="*/ 10085173 w 10425352"/>
              <a:gd name="connsiteY3" fmla="*/ 173506 h 175887"/>
              <a:gd name="connsiteX4" fmla="*/ 239 w 10425352"/>
              <a:gd name="connsiteY4" fmla="*/ 175887 h 175887"/>
              <a:gd name="connsiteX0" fmla="*/ 239 w 10635515"/>
              <a:gd name="connsiteY0" fmla="*/ 179182 h 179182"/>
              <a:gd name="connsiteX1" fmla="*/ 1488 w 10635515"/>
              <a:gd name="connsiteY1" fmla="*/ 9886 h 179182"/>
              <a:gd name="connsiteX2" fmla="*/ 10635515 w 10635515"/>
              <a:gd name="connsiteY2" fmla="*/ 0 h 179182"/>
              <a:gd name="connsiteX3" fmla="*/ 10085173 w 10635515"/>
              <a:gd name="connsiteY3" fmla="*/ 176801 h 179182"/>
              <a:gd name="connsiteX4" fmla="*/ 239 w 10635515"/>
              <a:gd name="connsiteY4" fmla="*/ 179182 h 179182"/>
              <a:gd name="connsiteX0" fmla="*/ 239 w 10635515"/>
              <a:gd name="connsiteY0" fmla="*/ 179182 h 179182"/>
              <a:gd name="connsiteX1" fmla="*/ 1488 w 10635515"/>
              <a:gd name="connsiteY1" fmla="*/ 9886 h 179182"/>
              <a:gd name="connsiteX2" fmla="*/ 10635515 w 10635515"/>
              <a:gd name="connsiteY2" fmla="*/ 0 h 179182"/>
              <a:gd name="connsiteX3" fmla="*/ 10224620 w 10635515"/>
              <a:gd name="connsiteY3" fmla="*/ 178449 h 179182"/>
              <a:gd name="connsiteX4" fmla="*/ 239 w 10635515"/>
              <a:gd name="connsiteY4" fmla="*/ 179182 h 179182"/>
              <a:gd name="connsiteX0" fmla="*/ 239 w 10635515"/>
              <a:gd name="connsiteY0" fmla="*/ 174239 h 174239"/>
              <a:gd name="connsiteX1" fmla="*/ 1488 w 10635515"/>
              <a:gd name="connsiteY1" fmla="*/ 4943 h 174239"/>
              <a:gd name="connsiteX2" fmla="*/ 10635515 w 10635515"/>
              <a:gd name="connsiteY2" fmla="*/ 0 h 174239"/>
              <a:gd name="connsiteX3" fmla="*/ 10224620 w 10635515"/>
              <a:gd name="connsiteY3" fmla="*/ 173506 h 174239"/>
              <a:gd name="connsiteX4" fmla="*/ 239 w 10635515"/>
              <a:gd name="connsiteY4" fmla="*/ 174239 h 174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35515" h="174239">
                <a:moveTo>
                  <a:pt x="239" y="174239"/>
                </a:moveTo>
                <a:cubicBezTo>
                  <a:pt x="-932" y="119394"/>
                  <a:pt x="2659" y="59788"/>
                  <a:pt x="1488" y="4943"/>
                </a:cubicBezTo>
                <a:lnTo>
                  <a:pt x="10635515" y="0"/>
                </a:lnTo>
                <a:lnTo>
                  <a:pt x="10224620" y="173506"/>
                </a:lnTo>
                <a:lnTo>
                  <a:pt x="239" y="174239"/>
                </a:lnTo>
                <a:close/>
              </a:path>
            </a:pathLst>
          </a:custGeom>
          <a:pattFill prst="pct70">
            <a:fgClr>
              <a:schemeClr val="bg1">
                <a:lumMod val="75000"/>
              </a:schemeClr>
            </a:fgClr>
            <a:bgClr>
              <a:schemeClr val="bg1"/>
            </a:bgClr>
          </a:patt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dirty="0">
              <a:solidFill>
                <a:prstClr val="black"/>
              </a:solidFill>
            </a:endParaRPr>
          </a:p>
        </p:txBody>
      </p:sp>
      <p:sp>
        <p:nvSpPr>
          <p:cNvPr id="11" name="Parallelogram 10"/>
          <p:cNvSpPr/>
          <p:nvPr/>
        </p:nvSpPr>
        <p:spPr>
          <a:xfrm>
            <a:off x="10360480" y="6519067"/>
            <a:ext cx="1831520" cy="330199"/>
          </a:xfrm>
          <a:custGeom>
            <a:avLst/>
            <a:gdLst>
              <a:gd name="connsiteX0" fmla="*/ 0 w 1983938"/>
              <a:gd name="connsiteY0" fmla="*/ 166914 h 166914"/>
              <a:gd name="connsiteX1" fmla="*/ 41729 w 1983938"/>
              <a:gd name="connsiteY1" fmla="*/ 0 h 166914"/>
              <a:gd name="connsiteX2" fmla="*/ 1983938 w 1983938"/>
              <a:gd name="connsiteY2" fmla="*/ 0 h 166914"/>
              <a:gd name="connsiteX3" fmla="*/ 1942210 w 1983938"/>
              <a:gd name="connsiteY3" fmla="*/ 166914 h 166914"/>
              <a:gd name="connsiteX4" fmla="*/ 0 w 1983938"/>
              <a:gd name="connsiteY4" fmla="*/ 166914 h 166914"/>
              <a:gd name="connsiteX0" fmla="*/ 0 w 1942210"/>
              <a:gd name="connsiteY0" fmla="*/ 166914 h 166914"/>
              <a:gd name="connsiteX1" fmla="*/ 41729 w 1942210"/>
              <a:gd name="connsiteY1" fmla="*/ 0 h 166914"/>
              <a:gd name="connsiteX2" fmla="*/ 1910120 w 1942210"/>
              <a:gd name="connsiteY2" fmla="*/ 0 h 166914"/>
              <a:gd name="connsiteX3" fmla="*/ 1942210 w 1942210"/>
              <a:gd name="connsiteY3" fmla="*/ 166914 h 166914"/>
              <a:gd name="connsiteX4" fmla="*/ 0 w 1942210"/>
              <a:gd name="connsiteY4" fmla="*/ 166914 h 166914"/>
              <a:gd name="connsiteX0" fmla="*/ 0 w 1913635"/>
              <a:gd name="connsiteY0" fmla="*/ 166914 h 166914"/>
              <a:gd name="connsiteX1" fmla="*/ 41729 w 1913635"/>
              <a:gd name="connsiteY1" fmla="*/ 0 h 166914"/>
              <a:gd name="connsiteX2" fmla="*/ 1910120 w 1913635"/>
              <a:gd name="connsiteY2" fmla="*/ 0 h 166914"/>
              <a:gd name="connsiteX3" fmla="*/ 1913635 w 1913635"/>
              <a:gd name="connsiteY3" fmla="*/ 166914 h 166914"/>
              <a:gd name="connsiteX4" fmla="*/ 0 w 1913635"/>
              <a:gd name="connsiteY4" fmla="*/ 166914 h 166914"/>
              <a:gd name="connsiteX0" fmla="*/ 0 w 1913635"/>
              <a:gd name="connsiteY0" fmla="*/ 170187 h 170187"/>
              <a:gd name="connsiteX1" fmla="*/ 352879 w 1913635"/>
              <a:gd name="connsiteY1" fmla="*/ 0 h 170187"/>
              <a:gd name="connsiteX2" fmla="*/ 1910120 w 1913635"/>
              <a:gd name="connsiteY2" fmla="*/ 3273 h 170187"/>
              <a:gd name="connsiteX3" fmla="*/ 1913635 w 1913635"/>
              <a:gd name="connsiteY3" fmla="*/ 170187 h 170187"/>
              <a:gd name="connsiteX4" fmla="*/ 0 w 1913635"/>
              <a:gd name="connsiteY4" fmla="*/ 170187 h 1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635" h="170187">
                <a:moveTo>
                  <a:pt x="0" y="170187"/>
                </a:moveTo>
                <a:lnTo>
                  <a:pt x="352879" y="0"/>
                </a:lnTo>
                <a:lnTo>
                  <a:pt x="1910120" y="3273"/>
                </a:lnTo>
                <a:cubicBezTo>
                  <a:pt x="1911292" y="58911"/>
                  <a:pt x="1912463" y="114549"/>
                  <a:pt x="1913635" y="170187"/>
                </a:cubicBezTo>
                <a:lnTo>
                  <a:pt x="0" y="170187"/>
                </a:lnTo>
                <a:close/>
              </a:path>
            </a:pathLst>
          </a:custGeom>
          <a:pattFill prst="pct70">
            <a:fgClr>
              <a:schemeClr val="accent4"/>
            </a:fgClr>
            <a:bgClr>
              <a:schemeClr val="bg1"/>
            </a:bgClr>
          </a:patt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sp>
        <p:nvSpPr>
          <p:cNvPr id="13" name="Parallelogram 12"/>
          <p:cNvSpPr/>
          <p:nvPr/>
        </p:nvSpPr>
        <p:spPr>
          <a:xfrm>
            <a:off x="9680574" y="6524623"/>
            <a:ext cx="841376" cy="330201"/>
          </a:xfrm>
          <a:custGeom>
            <a:avLst/>
            <a:gdLst>
              <a:gd name="connsiteX0" fmla="*/ 0 w 812801"/>
              <a:gd name="connsiteY0" fmla="*/ 333376 h 333376"/>
              <a:gd name="connsiteX1" fmla="*/ 83344 w 812801"/>
              <a:gd name="connsiteY1" fmla="*/ 0 h 333376"/>
              <a:gd name="connsiteX2" fmla="*/ 812801 w 812801"/>
              <a:gd name="connsiteY2" fmla="*/ 0 h 333376"/>
              <a:gd name="connsiteX3" fmla="*/ 729457 w 812801"/>
              <a:gd name="connsiteY3" fmla="*/ 333376 h 333376"/>
              <a:gd name="connsiteX4" fmla="*/ 0 w 812801"/>
              <a:gd name="connsiteY4" fmla="*/ 333376 h 333376"/>
              <a:gd name="connsiteX0" fmla="*/ 0 w 1111251"/>
              <a:gd name="connsiteY0" fmla="*/ 330201 h 333376"/>
              <a:gd name="connsiteX1" fmla="*/ 381794 w 1111251"/>
              <a:gd name="connsiteY1" fmla="*/ 0 h 333376"/>
              <a:gd name="connsiteX2" fmla="*/ 1111251 w 1111251"/>
              <a:gd name="connsiteY2" fmla="*/ 0 h 333376"/>
              <a:gd name="connsiteX3" fmla="*/ 1027907 w 1111251"/>
              <a:gd name="connsiteY3" fmla="*/ 333376 h 333376"/>
              <a:gd name="connsiteX4" fmla="*/ 0 w 1111251"/>
              <a:gd name="connsiteY4" fmla="*/ 330201 h 333376"/>
              <a:gd name="connsiteX0" fmla="*/ 0 w 1111251"/>
              <a:gd name="connsiteY0" fmla="*/ 330201 h 330201"/>
              <a:gd name="connsiteX1" fmla="*/ 381794 w 1111251"/>
              <a:gd name="connsiteY1" fmla="*/ 0 h 330201"/>
              <a:gd name="connsiteX2" fmla="*/ 1111251 w 1111251"/>
              <a:gd name="connsiteY2" fmla="*/ 0 h 330201"/>
              <a:gd name="connsiteX3" fmla="*/ 805657 w 1111251"/>
              <a:gd name="connsiteY3" fmla="*/ 320676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815976"/>
              <a:gd name="connsiteY0" fmla="*/ 330201 h 330201"/>
              <a:gd name="connsiteX1" fmla="*/ 381794 w 815976"/>
              <a:gd name="connsiteY1" fmla="*/ 0 h 330201"/>
              <a:gd name="connsiteX2" fmla="*/ 815976 w 815976"/>
              <a:gd name="connsiteY2" fmla="*/ 0 h 330201"/>
              <a:gd name="connsiteX3" fmla="*/ 450057 w 815976"/>
              <a:gd name="connsiteY3" fmla="*/ 330201 h 330201"/>
              <a:gd name="connsiteX4" fmla="*/ 0 w 815976"/>
              <a:gd name="connsiteY4" fmla="*/ 330201 h 330201"/>
              <a:gd name="connsiteX0" fmla="*/ 0 w 841376"/>
              <a:gd name="connsiteY0" fmla="*/ 330201 h 330201"/>
              <a:gd name="connsiteX1" fmla="*/ 381794 w 841376"/>
              <a:gd name="connsiteY1" fmla="*/ 0 h 330201"/>
              <a:gd name="connsiteX2" fmla="*/ 841376 w 841376"/>
              <a:gd name="connsiteY2" fmla="*/ 0 h 330201"/>
              <a:gd name="connsiteX3" fmla="*/ 450057 w 841376"/>
              <a:gd name="connsiteY3" fmla="*/ 330201 h 330201"/>
              <a:gd name="connsiteX4" fmla="*/ 0 w 841376"/>
              <a:gd name="connsiteY4" fmla="*/ 330201 h 33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376" h="330201">
                <a:moveTo>
                  <a:pt x="0" y="330201"/>
                </a:moveTo>
                <a:lnTo>
                  <a:pt x="381794" y="0"/>
                </a:lnTo>
                <a:lnTo>
                  <a:pt x="841376" y="0"/>
                </a:lnTo>
                <a:lnTo>
                  <a:pt x="450057" y="330201"/>
                </a:lnTo>
                <a:lnTo>
                  <a:pt x="0" y="330201"/>
                </a:lnTo>
                <a:close/>
              </a:path>
            </a:pathLst>
          </a:custGeom>
          <a:pattFill prst="pct70">
            <a:fgClr>
              <a:schemeClr val="accent5">
                <a:lumMod val="50000"/>
              </a:schemeClr>
            </a:fgClr>
            <a:bgClr>
              <a:schemeClr val="bg1"/>
            </a:bgClr>
          </a:patt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prstClr val="white"/>
              </a:solidFill>
            </a:endParaRPr>
          </a:p>
        </p:txBody>
      </p:sp>
      <p:sp>
        <p:nvSpPr>
          <p:cNvPr id="3" name="TextBox 2">
            <a:extLst>
              <a:ext uri="{FF2B5EF4-FFF2-40B4-BE49-F238E27FC236}">
                <a16:creationId xmlns:a16="http://schemas.microsoft.com/office/drawing/2014/main" id="{306EBDAB-6567-4BB5-A72D-B8C120B081C9}"/>
              </a:ext>
            </a:extLst>
          </p:cNvPr>
          <p:cNvSpPr txBox="1"/>
          <p:nvPr/>
        </p:nvSpPr>
        <p:spPr>
          <a:xfrm>
            <a:off x="30144" y="6484140"/>
            <a:ext cx="12161855" cy="373859"/>
          </a:xfrm>
          <a:prstGeom prst="rect">
            <a:avLst/>
          </a:prstGeom>
          <a:noFill/>
        </p:spPr>
        <p:txBody>
          <a:bodyPr wrap="square" rtlCol="0" anchor="ctr">
            <a:noAutofit/>
          </a:bodyPr>
          <a:lstStyle/>
          <a:p>
            <a:pPr indent="361950"/>
            <a:endParaRPr lang="en-ZA" sz="1000" b="1" dirty="0">
              <a:solidFill>
                <a:prstClr val="black"/>
              </a:solidFill>
            </a:endParaRPr>
          </a:p>
        </p:txBody>
      </p:sp>
      <p:sp>
        <p:nvSpPr>
          <p:cNvPr id="5" name="Slide Number Placeholder 4">
            <a:extLst>
              <a:ext uri="{FF2B5EF4-FFF2-40B4-BE49-F238E27FC236}">
                <a16:creationId xmlns:a16="http://schemas.microsoft.com/office/drawing/2014/main" id="{A987B35D-F68B-4006-AC19-5A526609671C}"/>
              </a:ext>
            </a:extLst>
          </p:cNvPr>
          <p:cNvSpPr>
            <a:spLocks noGrp="1"/>
          </p:cNvSpPr>
          <p:nvPr>
            <p:ph type="sldNum" sz="quarter" idx="12"/>
          </p:nvPr>
        </p:nvSpPr>
        <p:spPr>
          <a:xfrm>
            <a:off x="9448800" y="6484141"/>
            <a:ext cx="2743200" cy="365125"/>
          </a:xfrm>
        </p:spPr>
        <p:txBody>
          <a:bodyPr anchor="ctr"/>
          <a:lstStyle/>
          <a:p>
            <a:fld id="{87102F09-8F7D-4EC1-9AE5-82CA77F49212}" type="slidenum">
              <a:rPr lang="en-ZA" b="1" smtClean="0">
                <a:solidFill>
                  <a:prstClr val="black"/>
                </a:solidFill>
              </a:rPr>
              <a:pPr/>
              <a:t>17</a:t>
            </a:fld>
            <a:endParaRPr lang="en-ZA" b="1" dirty="0">
              <a:solidFill>
                <a:prstClr val="black"/>
              </a:solidFill>
            </a:endParaRPr>
          </a:p>
        </p:txBody>
      </p:sp>
      <p:pic>
        <p:nvPicPr>
          <p:cNvPr id="4" name="Picture 3">
            <a:extLst>
              <a:ext uri="{FF2B5EF4-FFF2-40B4-BE49-F238E27FC236}">
                <a16:creationId xmlns:a16="http://schemas.microsoft.com/office/drawing/2014/main" id="{EEE8129C-11E1-4D3D-B070-BF13BE5CA50A}"/>
              </a:ext>
            </a:extLst>
          </p:cNvPr>
          <p:cNvPicPr>
            <a:picLocks noChangeAspect="1"/>
          </p:cNvPicPr>
          <p:nvPr/>
        </p:nvPicPr>
        <p:blipFill>
          <a:blip r:embed="rId2"/>
          <a:stretch>
            <a:fillRect/>
          </a:stretch>
        </p:blipFill>
        <p:spPr>
          <a:xfrm>
            <a:off x="0" y="811369"/>
            <a:ext cx="10890250" cy="4133850"/>
          </a:xfrm>
          <a:prstGeom prst="rect">
            <a:avLst/>
          </a:prstGeom>
        </p:spPr>
      </p:pic>
    </p:spTree>
    <p:extLst>
      <p:ext uri="{BB962C8B-B14F-4D97-AF65-F5344CB8AC3E}">
        <p14:creationId xmlns:p14="http://schemas.microsoft.com/office/powerpoint/2010/main" val="9822458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1" y="5646"/>
            <a:ext cx="12192001" cy="805723"/>
          </a:xfrm>
          <a:prstGeom prst="rect">
            <a:avLst/>
          </a:prstGeom>
          <a:solidFill>
            <a:srgbClr val="00266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rtlCol="0" anchor="ctr">
            <a:noAutofit/>
            <a:scene3d>
              <a:camera prst="orthographicFront"/>
              <a:lightRig rig="soft" dir="t"/>
            </a:scene3d>
            <a:sp3d prstMaterial="softEdge">
              <a:bevelT w="25400" h="25400"/>
            </a:sp3d>
          </a:bodyPr>
          <a:lstStyle>
            <a:lvl1pPr algn="r" rtl="0" eaLnBrk="1" latinLnBrk="0" hangingPunct="1">
              <a:spcBef>
                <a:spcPct val="0"/>
              </a:spcBef>
              <a:buNone/>
              <a:defRPr kumimoji="0" sz="3200" b="1" kern="1200">
                <a:solidFill>
                  <a:srgbClr val="9A9B9C"/>
                </a:solidFill>
                <a:effectLst>
                  <a:outerShdw blurRad="31750" dist="25400" dir="5400000" algn="tl" rotWithShape="0">
                    <a:srgbClr val="000000">
                      <a:alpha val="25000"/>
                    </a:srgbClr>
                  </a:outerShdw>
                </a:effectLst>
                <a:latin typeface="+mn-lt"/>
                <a:ea typeface="+mj-ea"/>
                <a:cs typeface="+mj-cs"/>
              </a:defRPr>
            </a:lvl1pPr>
            <a:lvl2pPr>
              <a:defRPr/>
            </a:lvl2pPr>
            <a:lvl3pPr>
              <a:defRPr/>
            </a:lvl3pPr>
            <a:lvl4pPr>
              <a:defRPr/>
            </a:lvl4pPr>
            <a:lvl5pPr>
              <a:defRPr/>
            </a:lvl5pPr>
            <a:lvl6pPr>
              <a:defRPr/>
            </a:lvl6pPr>
            <a:lvl7pPr>
              <a:defRPr/>
            </a:lvl7pPr>
            <a:lvl8pPr>
              <a:defRPr/>
            </a:lvl8pPr>
            <a:lvl9pPr>
              <a:defRPr/>
            </a:lvl9pPr>
            <a:extLst/>
          </a:lstStyle>
          <a:p>
            <a:pPr marL="354013" algn="l"/>
            <a:r>
              <a:rPr lang="en-US" sz="2400" kern="0" dirty="0">
                <a:solidFill>
                  <a:prstClr val="white"/>
                </a:solidFill>
                <a:effectLst/>
              </a:rPr>
              <a:t>PROGRAMME </a:t>
            </a:r>
            <a:r>
              <a:rPr lang="en-US" sz="2400" kern="0" dirty="0" err="1">
                <a:solidFill>
                  <a:prstClr val="white"/>
                </a:solidFill>
                <a:effectLst/>
              </a:rPr>
              <a:t>2b</a:t>
            </a:r>
            <a:r>
              <a:rPr lang="en-US" sz="2400" kern="0" dirty="0">
                <a:solidFill>
                  <a:prstClr val="white"/>
                </a:solidFill>
                <a:effectLst/>
              </a:rPr>
              <a:t> – INTEGRATED HS PLANNING AND DEVELOPMENT PROGRAMME </a:t>
            </a:r>
          </a:p>
        </p:txBody>
      </p:sp>
      <p:sp>
        <p:nvSpPr>
          <p:cNvPr id="8" name="Parallelogram 7"/>
          <p:cNvSpPr/>
          <p:nvPr/>
        </p:nvSpPr>
        <p:spPr>
          <a:xfrm>
            <a:off x="-2" y="6519067"/>
            <a:ext cx="9871077" cy="335757"/>
          </a:xfrm>
          <a:custGeom>
            <a:avLst/>
            <a:gdLst>
              <a:gd name="connsiteX0" fmla="*/ 0 w 10188575"/>
              <a:gd name="connsiteY0" fmla="*/ 166915 h 166915"/>
              <a:gd name="connsiteX1" fmla="*/ 41729 w 10188575"/>
              <a:gd name="connsiteY1" fmla="*/ 0 h 166915"/>
              <a:gd name="connsiteX2" fmla="*/ 10188575 w 10188575"/>
              <a:gd name="connsiteY2" fmla="*/ 0 h 166915"/>
              <a:gd name="connsiteX3" fmla="*/ 10146846 w 10188575"/>
              <a:gd name="connsiteY3" fmla="*/ 166915 h 166915"/>
              <a:gd name="connsiteX4" fmla="*/ 0 w 10188575"/>
              <a:gd name="connsiteY4" fmla="*/ 166915 h 166915"/>
              <a:gd name="connsiteX0" fmla="*/ 17802 w 10146846"/>
              <a:gd name="connsiteY0" fmla="*/ 166915 h 166915"/>
              <a:gd name="connsiteX1" fmla="*/ 0 w 10146846"/>
              <a:gd name="connsiteY1" fmla="*/ 0 h 166915"/>
              <a:gd name="connsiteX2" fmla="*/ 10146846 w 10146846"/>
              <a:gd name="connsiteY2" fmla="*/ 0 h 166915"/>
              <a:gd name="connsiteX3" fmla="*/ 10105117 w 10146846"/>
              <a:gd name="connsiteY3" fmla="*/ 166915 h 166915"/>
              <a:gd name="connsiteX4" fmla="*/ 17802 w 10146846"/>
              <a:gd name="connsiteY4" fmla="*/ 166915 h 166915"/>
              <a:gd name="connsiteX0" fmla="*/ 3514 w 10132558"/>
              <a:gd name="connsiteY0" fmla="*/ 166915 h 166915"/>
              <a:gd name="connsiteX1" fmla="*/ 0 w 10132558"/>
              <a:gd name="connsiteY1" fmla="*/ 2381 h 166915"/>
              <a:gd name="connsiteX2" fmla="*/ 10132558 w 10132558"/>
              <a:gd name="connsiteY2" fmla="*/ 0 h 166915"/>
              <a:gd name="connsiteX3" fmla="*/ 10090829 w 10132558"/>
              <a:gd name="connsiteY3" fmla="*/ 166915 h 166915"/>
              <a:gd name="connsiteX4" fmla="*/ 3514 w 10132558"/>
              <a:gd name="connsiteY4" fmla="*/ 166915 h 166915"/>
              <a:gd name="connsiteX0" fmla="*/ 154 w 10129198"/>
              <a:gd name="connsiteY0" fmla="*/ 166915 h 166915"/>
              <a:gd name="connsiteX1" fmla="*/ 3784 w 10129198"/>
              <a:gd name="connsiteY1" fmla="*/ 0 h 166915"/>
              <a:gd name="connsiteX2" fmla="*/ 10129198 w 10129198"/>
              <a:gd name="connsiteY2" fmla="*/ 0 h 166915"/>
              <a:gd name="connsiteX3" fmla="*/ 10087469 w 10129198"/>
              <a:gd name="connsiteY3" fmla="*/ 166915 h 166915"/>
              <a:gd name="connsiteX4" fmla="*/ 154 w 10129198"/>
              <a:gd name="connsiteY4" fmla="*/ 166915 h 166915"/>
              <a:gd name="connsiteX0" fmla="*/ 239 w 10126902"/>
              <a:gd name="connsiteY0" fmla="*/ 169296 h 169296"/>
              <a:gd name="connsiteX1" fmla="*/ 1488 w 10126902"/>
              <a:gd name="connsiteY1" fmla="*/ 0 h 169296"/>
              <a:gd name="connsiteX2" fmla="*/ 10126902 w 10126902"/>
              <a:gd name="connsiteY2" fmla="*/ 0 h 169296"/>
              <a:gd name="connsiteX3" fmla="*/ 10085173 w 10126902"/>
              <a:gd name="connsiteY3" fmla="*/ 166915 h 169296"/>
              <a:gd name="connsiteX4" fmla="*/ 239 w 10126902"/>
              <a:gd name="connsiteY4" fmla="*/ 169296 h 169296"/>
              <a:gd name="connsiteX0" fmla="*/ 239 w 10425352"/>
              <a:gd name="connsiteY0" fmla="*/ 175887 h 175887"/>
              <a:gd name="connsiteX1" fmla="*/ 1488 w 10425352"/>
              <a:gd name="connsiteY1" fmla="*/ 6591 h 175887"/>
              <a:gd name="connsiteX2" fmla="*/ 10425352 w 10425352"/>
              <a:gd name="connsiteY2" fmla="*/ 0 h 175887"/>
              <a:gd name="connsiteX3" fmla="*/ 10085173 w 10425352"/>
              <a:gd name="connsiteY3" fmla="*/ 173506 h 175887"/>
              <a:gd name="connsiteX4" fmla="*/ 239 w 10425352"/>
              <a:gd name="connsiteY4" fmla="*/ 175887 h 175887"/>
              <a:gd name="connsiteX0" fmla="*/ 239 w 10635515"/>
              <a:gd name="connsiteY0" fmla="*/ 179182 h 179182"/>
              <a:gd name="connsiteX1" fmla="*/ 1488 w 10635515"/>
              <a:gd name="connsiteY1" fmla="*/ 9886 h 179182"/>
              <a:gd name="connsiteX2" fmla="*/ 10635515 w 10635515"/>
              <a:gd name="connsiteY2" fmla="*/ 0 h 179182"/>
              <a:gd name="connsiteX3" fmla="*/ 10085173 w 10635515"/>
              <a:gd name="connsiteY3" fmla="*/ 176801 h 179182"/>
              <a:gd name="connsiteX4" fmla="*/ 239 w 10635515"/>
              <a:gd name="connsiteY4" fmla="*/ 179182 h 179182"/>
              <a:gd name="connsiteX0" fmla="*/ 239 w 10635515"/>
              <a:gd name="connsiteY0" fmla="*/ 179182 h 179182"/>
              <a:gd name="connsiteX1" fmla="*/ 1488 w 10635515"/>
              <a:gd name="connsiteY1" fmla="*/ 9886 h 179182"/>
              <a:gd name="connsiteX2" fmla="*/ 10635515 w 10635515"/>
              <a:gd name="connsiteY2" fmla="*/ 0 h 179182"/>
              <a:gd name="connsiteX3" fmla="*/ 10224620 w 10635515"/>
              <a:gd name="connsiteY3" fmla="*/ 178449 h 179182"/>
              <a:gd name="connsiteX4" fmla="*/ 239 w 10635515"/>
              <a:gd name="connsiteY4" fmla="*/ 179182 h 179182"/>
              <a:gd name="connsiteX0" fmla="*/ 239 w 10635515"/>
              <a:gd name="connsiteY0" fmla="*/ 174239 h 174239"/>
              <a:gd name="connsiteX1" fmla="*/ 1488 w 10635515"/>
              <a:gd name="connsiteY1" fmla="*/ 4943 h 174239"/>
              <a:gd name="connsiteX2" fmla="*/ 10635515 w 10635515"/>
              <a:gd name="connsiteY2" fmla="*/ 0 h 174239"/>
              <a:gd name="connsiteX3" fmla="*/ 10224620 w 10635515"/>
              <a:gd name="connsiteY3" fmla="*/ 173506 h 174239"/>
              <a:gd name="connsiteX4" fmla="*/ 239 w 10635515"/>
              <a:gd name="connsiteY4" fmla="*/ 174239 h 174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35515" h="174239">
                <a:moveTo>
                  <a:pt x="239" y="174239"/>
                </a:moveTo>
                <a:cubicBezTo>
                  <a:pt x="-932" y="119394"/>
                  <a:pt x="2659" y="59788"/>
                  <a:pt x="1488" y="4943"/>
                </a:cubicBezTo>
                <a:lnTo>
                  <a:pt x="10635515" y="0"/>
                </a:lnTo>
                <a:lnTo>
                  <a:pt x="10224620" y="173506"/>
                </a:lnTo>
                <a:lnTo>
                  <a:pt x="239" y="174239"/>
                </a:lnTo>
                <a:close/>
              </a:path>
            </a:pathLst>
          </a:custGeom>
          <a:pattFill prst="pct70">
            <a:fgClr>
              <a:schemeClr val="bg1">
                <a:lumMod val="75000"/>
              </a:schemeClr>
            </a:fgClr>
            <a:bgClr>
              <a:schemeClr val="bg1"/>
            </a:bgClr>
          </a:patt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dirty="0">
              <a:solidFill>
                <a:prstClr val="black"/>
              </a:solidFill>
            </a:endParaRPr>
          </a:p>
        </p:txBody>
      </p:sp>
      <p:sp>
        <p:nvSpPr>
          <p:cNvPr id="11" name="Parallelogram 10"/>
          <p:cNvSpPr/>
          <p:nvPr/>
        </p:nvSpPr>
        <p:spPr>
          <a:xfrm>
            <a:off x="10360480" y="6519067"/>
            <a:ext cx="1831520" cy="330199"/>
          </a:xfrm>
          <a:custGeom>
            <a:avLst/>
            <a:gdLst>
              <a:gd name="connsiteX0" fmla="*/ 0 w 1983938"/>
              <a:gd name="connsiteY0" fmla="*/ 166914 h 166914"/>
              <a:gd name="connsiteX1" fmla="*/ 41729 w 1983938"/>
              <a:gd name="connsiteY1" fmla="*/ 0 h 166914"/>
              <a:gd name="connsiteX2" fmla="*/ 1983938 w 1983938"/>
              <a:gd name="connsiteY2" fmla="*/ 0 h 166914"/>
              <a:gd name="connsiteX3" fmla="*/ 1942210 w 1983938"/>
              <a:gd name="connsiteY3" fmla="*/ 166914 h 166914"/>
              <a:gd name="connsiteX4" fmla="*/ 0 w 1983938"/>
              <a:gd name="connsiteY4" fmla="*/ 166914 h 166914"/>
              <a:gd name="connsiteX0" fmla="*/ 0 w 1942210"/>
              <a:gd name="connsiteY0" fmla="*/ 166914 h 166914"/>
              <a:gd name="connsiteX1" fmla="*/ 41729 w 1942210"/>
              <a:gd name="connsiteY1" fmla="*/ 0 h 166914"/>
              <a:gd name="connsiteX2" fmla="*/ 1910120 w 1942210"/>
              <a:gd name="connsiteY2" fmla="*/ 0 h 166914"/>
              <a:gd name="connsiteX3" fmla="*/ 1942210 w 1942210"/>
              <a:gd name="connsiteY3" fmla="*/ 166914 h 166914"/>
              <a:gd name="connsiteX4" fmla="*/ 0 w 1942210"/>
              <a:gd name="connsiteY4" fmla="*/ 166914 h 166914"/>
              <a:gd name="connsiteX0" fmla="*/ 0 w 1913635"/>
              <a:gd name="connsiteY0" fmla="*/ 166914 h 166914"/>
              <a:gd name="connsiteX1" fmla="*/ 41729 w 1913635"/>
              <a:gd name="connsiteY1" fmla="*/ 0 h 166914"/>
              <a:gd name="connsiteX2" fmla="*/ 1910120 w 1913635"/>
              <a:gd name="connsiteY2" fmla="*/ 0 h 166914"/>
              <a:gd name="connsiteX3" fmla="*/ 1913635 w 1913635"/>
              <a:gd name="connsiteY3" fmla="*/ 166914 h 166914"/>
              <a:gd name="connsiteX4" fmla="*/ 0 w 1913635"/>
              <a:gd name="connsiteY4" fmla="*/ 166914 h 166914"/>
              <a:gd name="connsiteX0" fmla="*/ 0 w 1913635"/>
              <a:gd name="connsiteY0" fmla="*/ 170187 h 170187"/>
              <a:gd name="connsiteX1" fmla="*/ 352879 w 1913635"/>
              <a:gd name="connsiteY1" fmla="*/ 0 h 170187"/>
              <a:gd name="connsiteX2" fmla="*/ 1910120 w 1913635"/>
              <a:gd name="connsiteY2" fmla="*/ 3273 h 170187"/>
              <a:gd name="connsiteX3" fmla="*/ 1913635 w 1913635"/>
              <a:gd name="connsiteY3" fmla="*/ 170187 h 170187"/>
              <a:gd name="connsiteX4" fmla="*/ 0 w 1913635"/>
              <a:gd name="connsiteY4" fmla="*/ 170187 h 1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635" h="170187">
                <a:moveTo>
                  <a:pt x="0" y="170187"/>
                </a:moveTo>
                <a:lnTo>
                  <a:pt x="352879" y="0"/>
                </a:lnTo>
                <a:lnTo>
                  <a:pt x="1910120" y="3273"/>
                </a:lnTo>
                <a:cubicBezTo>
                  <a:pt x="1911292" y="58911"/>
                  <a:pt x="1912463" y="114549"/>
                  <a:pt x="1913635" y="170187"/>
                </a:cubicBezTo>
                <a:lnTo>
                  <a:pt x="0" y="170187"/>
                </a:lnTo>
                <a:close/>
              </a:path>
            </a:pathLst>
          </a:custGeom>
          <a:pattFill prst="pct70">
            <a:fgClr>
              <a:schemeClr val="accent4"/>
            </a:fgClr>
            <a:bgClr>
              <a:schemeClr val="bg1"/>
            </a:bgClr>
          </a:patt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sp>
        <p:nvSpPr>
          <p:cNvPr id="13" name="Parallelogram 12"/>
          <p:cNvSpPr/>
          <p:nvPr/>
        </p:nvSpPr>
        <p:spPr>
          <a:xfrm>
            <a:off x="9680574" y="6524623"/>
            <a:ext cx="841376" cy="330201"/>
          </a:xfrm>
          <a:custGeom>
            <a:avLst/>
            <a:gdLst>
              <a:gd name="connsiteX0" fmla="*/ 0 w 812801"/>
              <a:gd name="connsiteY0" fmla="*/ 333376 h 333376"/>
              <a:gd name="connsiteX1" fmla="*/ 83344 w 812801"/>
              <a:gd name="connsiteY1" fmla="*/ 0 h 333376"/>
              <a:gd name="connsiteX2" fmla="*/ 812801 w 812801"/>
              <a:gd name="connsiteY2" fmla="*/ 0 h 333376"/>
              <a:gd name="connsiteX3" fmla="*/ 729457 w 812801"/>
              <a:gd name="connsiteY3" fmla="*/ 333376 h 333376"/>
              <a:gd name="connsiteX4" fmla="*/ 0 w 812801"/>
              <a:gd name="connsiteY4" fmla="*/ 333376 h 333376"/>
              <a:gd name="connsiteX0" fmla="*/ 0 w 1111251"/>
              <a:gd name="connsiteY0" fmla="*/ 330201 h 333376"/>
              <a:gd name="connsiteX1" fmla="*/ 381794 w 1111251"/>
              <a:gd name="connsiteY1" fmla="*/ 0 h 333376"/>
              <a:gd name="connsiteX2" fmla="*/ 1111251 w 1111251"/>
              <a:gd name="connsiteY2" fmla="*/ 0 h 333376"/>
              <a:gd name="connsiteX3" fmla="*/ 1027907 w 1111251"/>
              <a:gd name="connsiteY3" fmla="*/ 333376 h 333376"/>
              <a:gd name="connsiteX4" fmla="*/ 0 w 1111251"/>
              <a:gd name="connsiteY4" fmla="*/ 330201 h 333376"/>
              <a:gd name="connsiteX0" fmla="*/ 0 w 1111251"/>
              <a:gd name="connsiteY0" fmla="*/ 330201 h 330201"/>
              <a:gd name="connsiteX1" fmla="*/ 381794 w 1111251"/>
              <a:gd name="connsiteY1" fmla="*/ 0 h 330201"/>
              <a:gd name="connsiteX2" fmla="*/ 1111251 w 1111251"/>
              <a:gd name="connsiteY2" fmla="*/ 0 h 330201"/>
              <a:gd name="connsiteX3" fmla="*/ 805657 w 1111251"/>
              <a:gd name="connsiteY3" fmla="*/ 320676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815976"/>
              <a:gd name="connsiteY0" fmla="*/ 330201 h 330201"/>
              <a:gd name="connsiteX1" fmla="*/ 381794 w 815976"/>
              <a:gd name="connsiteY1" fmla="*/ 0 h 330201"/>
              <a:gd name="connsiteX2" fmla="*/ 815976 w 815976"/>
              <a:gd name="connsiteY2" fmla="*/ 0 h 330201"/>
              <a:gd name="connsiteX3" fmla="*/ 450057 w 815976"/>
              <a:gd name="connsiteY3" fmla="*/ 330201 h 330201"/>
              <a:gd name="connsiteX4" fmla="*/ 0 w 815976"/>
              <a:gd name="connsiteY4" fmla="*/ 330201 h 330201"/>
              <a:gd name="connsiteX0" fmla="*/ 0 w 841376"/>
              <a:gd name="connsiteY0" fmla="*/ 330201 h 330201"/>
              <a:gd name="connsiteX1" fmla="*/ 381794 w 841376"/>
              <a:gd name="connsiteY1" fmla="*/ 0 h 330201"/>
              <a:gd name="connsiteX2" fmla="*/ 841376 w 841376"/>
              <a:gd name="connsiteY2" fmla="*/ 0 h 330201"/>
              <a:gd name="connsiteX3" fmla="*/ 450057 w 841376"/>
              <a:gd name="connsiteY3" fmla="*/ 330201 h 330201"/>
              <a:gd name="connsiteX4" fmla="*/ 0 w 841376"/>
              <a:gd name="connsiteY4" fmla="*/ 330201 h 33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376" h="330201">
                <a:moveTo>
                  <a:pt x="0" y="330201"/>
                </a:moveTo>
                <a:lnTo>
                  <a:pt x="381794" y="0"/>
                </a:lnTo>
                <a:lnTo>
                  <a:pt x="841376" y="0"/>
                </a:lnTo>
                <a:lnTo>
                  <a:pt x="450057" y="330201"/>
                </a:lnTo>
                <a:lnTo>
                  <a:pt x="0" y="330201"/>
                </a:lnTo>
                <a:close/>
              </a:path>
            </a:pathLst>
          </a:custGeom>
          <a:pattFill prst="pct70">
            <a:fgClr>
              <a:schemeClr val="accent5">
                <a:lumMod val="50000"/>
              </a:schemeClr>
            </a:fgClr>
            <a:bgClr>
              <a:schemeClr val="bg1"/>
            </a:bgClr>
          </a:patt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prstClr val="white"/>
              </a:solidFill>
            </a:endParaRPr>
          </a:p>
        </p:txBody>
      </p:sp>
      <p:sp>
        <p:nvSpPr>
          <p:cNvPr id="3" name="TextBox 2">
            <a:extLst>
              <a:ext uri="{FF2B5EF4-FFF2-40B4-BE49-F238E27FC236}">
                <a16:creationId xmlns:a16="http://schemas.microsoft.com/office/drawing/2014/main" id="{306EBDAB-6567-4BB5-A72D-B8C120B081C9}"/>
              </a:ext>
            </a:extLst>
          </p:cNvPr>
          <p:cNvSpPr txBox="1"/>
          <p:nvPr/>
        </p:nvSpPr>
        <p:spPr>
          <a:xfrm>
            <a:off x="30144" y="6484140"/>
            <a:ext cx="12161855" cy="373859"/>
          </a:xfrm>
          <a:prstGeom prst="rect">
            <a:avLst/>
          </a:prstGeom>
          <a:noFill/>
        </p:spPr>
        <p:txBody>
          <a:bodyPr wrap="square" rtlCol="0" anchor="ctr">
            <a:noAutofit/>
          </a:bodyPr>
          <a:lstStyle/>
          <a:p>
            <a:pPr indent="361950"/>
            <a:endParaRPr lang="en-ZA" sz="1000" b="1" dirty="0">
              <a:solidFill>
                <a:prstClr val="black"/>
              </a:solidFill>
            </a:endParaRPr>
          </a:p>
        </p:txBody>
      </p:sp>
      <p:sp>
        <p:nvSpPr>
          <p:cNvPr id="5" name="Slide Number Placeholder 4">
            <a:extLst>
              <a:ext uri="{FF2B5EF4-FFF2-40B4-BE49-F238E27FC236}">
                <a16:creationId xmlns:a16="http://schemas.microsoft.com/office/drawing/2014/main" id="{A987B35D-F68B-4006-AC19-5A526609671C}"/>
              </a:ext>
            </a:extLst>
          </p:cNvPr>
          <p:cNvSpPr>
            <a:spLocks noGrp="1"/>
          </p:cNvSpPr>
          <p:nvPr>
            <p:ph type="sldNum" sz="quarter" idx="12"/>
          </p:nvPr>
        </p:nvSpPr>
        <p:spPr>
          <a:xfrm>
            <a:off x="9448800" y="6484141"/>
            <a:ext cx="2743200" cy="365125"/>
          </a:xfrm>
        </p:spPr>
        <p:txBody>
          <a:bodyPr anchor="ctr"/>
          <a:lstStyle/>
          <a:p>
            <a:fld id="{87102F09-8F7D-4EC1-9AE5-82CA77F49212}" type="slidenum">
              <a:rPr lang="en-ZA" b="1" smtClean="0">
                <a:solidFill>
                  <a:prstClr val="black"/>
                </a:solidFill>
              </a:rPr>
              <a:pPr/>
              <a:t>18</a:t>
            </a:fld>
            <a:endParaRPr lang="en-ZA" b="1" dirty="0">
              <a:solidFill>
                <a:prstClr val="black"/>
              </a:solidFill>
            </a:endParaRPr>
          </a:p>
        </p:txBody>
      </p:sp>
      <p:pic>
        <p:nvPicPr>
          <p:cNvPr id="2" name="Picture 1">
            <a:extLst>
              <a:ext uri="{FF2B5EF4-FFF2-40B4-BE49-F238E27FC236}">
                <a16:creationId xmlns:a16="http://schemas.microsoft.com/office/drawing/2014/main" id="{62680451-4759-49B1-9A4A-BDBA9B57F70B}"/>
              </a:ext>
            </a:extLst>
          </p:cNvPr>
          <p:cNvPicPr>
            <a:picLocks noChangeAspect="1"/>
          </p:cNvPicPr>
          <p:nvPr/>
        </p:nvPicPr>
        <p:blipFill>
          <a:blip r:embed="rId2"/>
          <a:stretch>
            <a:fillRect/>
          </a:stretch>
        </p:blipFill>
        <p:spPr>
          <a:xfrm>
            <a:off x="-2" y="738668"/>
            <a:ext cx="10775950" cy="3333750"/>
          </a:xfrm>
          <a:prstGeom prst="rect">
            <a:avLst/>
          </a:prstGeom>
        </p:spPr>
      </p:pic>
    </p:spTree>
    <p:extLst>
      <p:ext uri="{BB962C8B-B14F-4D97-AF65-F5344CB8AC3E}">
        <p14:creationId xmlns:p14="http://schemas.microsoft.com/office/powerpoint/2010/main" val="10409012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1" y="5646"/>
            <a:ext cx="12192001" cy="805723"/>
          </a:xfrm>
          <a:prstGeom prst="rect">
            <a:avLst/>
          </a:prstGeom>
          <a:solidFill>
            <a:srgbClr val="00266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rtlCol="0" anchor="ctr">
            <a:noAutofit/>
            <a:scene3d>
              <a:camera prst="orthographicFront"/>
              <a:lightRig rig="soft" dir="t"/>
            </a:scene3d>
            <a:sp3d prstMaterial="softEdge">
              <a:bevelT w="25400" h="25400"/>
            </a:sp3d>
          </a:bodyPr>
          <a:lstStyle>
            <a:lvl1pPr algn="r" rtl="0" eaLnBrk="1" latinLnBrk="0" hangingPunct="1">
              <a:spcBef>
                <a:spcPct val="0"/>
              </a:spcBef>
              <a:buNone/>
              <a:defRPr kumimoji="0" sz="3200" b="1" kern="1200">
                <a:solidFill>
                  <a:srgbClr val="9A9B9C"/>
                </a:solidFill>
                <a:effectLst>
                  <a:outerShdw blurRad="31750" dist="25400" dir="5400000" algn="tl" rotWithShape="0">
                    <a:srgbClr val="000000">
                      <a:alpha val="25000"/>
                    </a:srgbClr>
                  </a:outerShdw>
                </a:effectLst>
                <a:latin typeface="+mn-lt"/>
                <a:ea typeface="+mj-ea"/>
                <a:cs typeface="+mj-cs"/>
              </a:defRPr>
            </a:lvl1pPr>
            <a:lvl2pPr>
              <a:defRPr/>
            </a:lvl2pPr>
            <a:lvl3pPr>
              <a:defRPr/>
            </a:lvl3pPr>
            <a:lvl4pPr>
              <a:defRPr/>
            </a:lvl4pPr>
            <a:lvl5pPr>
              <a:defRPr/>
            </a:lvl5pPr>
            <a:lvl6pPr>
              <a:defRPr/>
            </a:lvl6pPr>
            <a:lvl7pPr>
              <a:defRPr/>
            </a:lvl7pPr>
            <a:lvl8pPr>
              <a:defRPr/>
            </a:lvl8pPr>
            <a:lvl9pPr>
              <a:defRPr/>
            </a:lvl9pPr>
            <a:extLst/>
          </a:lstStyle>
          <a:p>
            <a:pPr marL="354013" algn="l"/>
            <a:r>
              <a:rPr lang="en-US" sz="2400" kern="0" dirty="0">
                <a:solidFill>
                  <a:prstClr val="white"/>
                </a:solidFill>
                <a:effectLst/>
              </a:rPr>
              <a:t>PROGRAMME 4- RENTAL AND SOCIAL HOUSING PROGRAMME </a:t>
            </a:r>
          </a:p>
        </p:txBody>
      </p:sp>
      <p:sp>
        <p:nvSpPr>
          <p:cNvPr id="8" name="Parallelogram 7"/>
          <p:cNvSpPr/>
          <p:nvPr/>
        </p:nvSpPr>
        <p:spPr>
          <a:xfrm>
            <a:off x="-2" y="6519067"/>
            <a:ext cx="9871077" cy="335757"/>
          </a:xfrm>
          <a:custGeom>
            <a:avLst/>
            <a:gdLst>
              <a:gd name="connsiteX0" fmla="*/ 0 w 10188575"/>
              <a:gd name="connsiteY0" fmla="*/ 166915 h 166915"/>
              <a:gd name="connsiteX1" fmla="*/ 41729 w 10188575"/>
              <a:gd name="connsiteY1" fmla="*/ 0 h 166915"/>
              <a:gd name="connsiteX2" fmla="*/ 10188575 w 10188575"/>
              <a:gd name="connsiteY2" fmla="*/ 0 h 166915"/>
              <a:gd name="connsiteX3" fmla="*/ 10146846 w 10188575"/>
              <a:gd name="connsiteY3" fmla="*/ 166915 h 166915"/>
              <a:gd name="connsiteX4" fmla="*/ 0 w 10188575"/>
              <a:gd name="connsiteY4" fmla="*/ 166915 h 166915"/>
              <a:gd name="connsiteX0" fmla="*/ 17802 w 10146846"/>
              <a:gd name="connsiteY0" fmla="*/ 166915 h 166915"/>
              <a:gd name="connsiteX1" fmla="*/ 0 w 10146846"/>
              <a:gd name="connsiteY1" fmla="*/ 0 h 166915"/>
              <a:gd name="connsiteX2" fmla="*/ 10146846 w 10146846"/>
              <a:gd name="connsiteY2" fmla="*/ 0 h 166915"/>
              <a:gd name="connsiteX3" fmla="*/ 10105117 w 10146846"/>
              <a:gd name="connsiteY3" fmla="*/ 166915 h 166915"/>
              <a:gd name="connsiteX4" fmla="*/ 17802 w 10146846"/>
              <a:gd name="connsiteY4" fmla="*/ 166915 h 166915"/>
              <a:gd name="connsiteX0" fmla="*/ 3514 w 10132558"/>
              <a:gd name="connsiteY0" fmla="*/ 166915 h 166915"/>
              <a:gd name="connsiteX1" fmla="*/ 0 w 10132558"/>
              <a:gd name="connsiteY1" fmla="*/ 2381 h 166915"/>
              <a:gd name="connsiteX2" fmla="*/ 10132558 w 10132558"/>
              <a:gd name="connsiteY2" fmla="*/ 0 h 166915"/>
              <a:gd name="connsiteX3" fmla="*/ 10090829 w 10132558"/>
              <a:gd name="connsiteY3" fmla="*/ 166915 h 166915"/>
              <a:gd name="connsiteX4" fmla="*/ 3514 w 10132558"/>
              <a:gd name="connsiteY4" fmla="*/ 166915 h 166915"/>
              <a:gd name="connsiteX0" fmla="*/ 154 w 10129198"/>
              <a:gd name="connsiteY0" fmla="*/ 166915 h 166915"/>
              <a:gd name="connsiteX1" fmla="*/ 3784 w 10129198"/>
              <a:gd name="connsiteY1" fmla="*/ 0 h 166915"/>
              <a:gd name="connsiteX2" fmla="*/ 10129198 w 10129198"/>
              <a:gd name="connsiteY2" fmla="*/ 0 h 166915"/>
              <a:gd name="connsiteX3" fmla="*/ 10087469 w 10129198"/>
              <a:gd name="connsiteY3" fmla="*/ 166915 h 166915"/>
              <a:gd name="connsiteX4" fmla="*/ 154 w 10129198"/>
              <a:gd name="connsiteY4" fmla="*/ 166915 h 166915"/>
              <a:gd name="connsiteX0" fmla="*/ 239 w 10126902"/>
              <a:gd name="connsiteY0" fmla="*/ 169296 h 169296"/>
              <a:gd name="connsiteX1" fmla="*/ 1488 w 10126902"/>
              <a:gd name="connsiteY1" fmla="*/ 0 h 169296"/>
              <a:gd name="connsiteX2" fmla="*/ 10126902 w 10126902"/>
              <a:gd name="connsiteY2" fmla="*/ 0 h 169296"/>
              <a:gd name="connsiteX3" fmla="*/ 10085173 w 10126902"/>
              <a:gd name="connsiteY3" fmla="*/ 166915 h 169296"/>
              <a:gd name="connsiteX4" fmla="*/ 239 w 10126902"/>
              <a:gd name="connsiteY4" fmla="*/ 169296 h 169296"/>
              <a:gd name="connsiteX0" fmla="*/ 239 w 10425352"/>
              <a:gd name="connsiteY0" fmla="*/ 175887 h 175887"/>
              <a:gd name="connsiteX1" fmla="*/ 1488 w 10425352"/>
              <a:gd name="connsiteY1" fmla="*/ 6591 h 175887"/>
              <a:gd name="connsiteX2" fmla="*/ 10425352 w 10425352"/>
              <a:gd name="connsiteY2" fmla="*/ 0 h 175887"/>
              <a:gd name="connsiteX3" fmla="*/ 10085173 w 10425352"/>
              <a:gd name="connsiteY3" fmla="*/ 173506 h 175887"/>
              <a:gd name="connsiteX4" fmla="*/ 239 w 10425352"/>
              <a:gd name="connsiteY4" fmla="*/ 175887 h 175887"/>
              <a:gd name="connsiteX0" fmla="*/ 239 w 10635515"/>
              <a:gd name="connsiteY0" fmla="*/ 179182 h 179182"/>
              <a:gd name="connsiteX1" fmla="*/ 1488 w 10635515"/>
              <a:gd name="connsiteY1" fmla="*/ 9886 h 179182"/>
              <a:gd name="connsiteX2" fmla="*/ 10635515 w 10635515"/>
              <a:gd name="connsiteY2" fmla="*/ 0 h 179182"/>
              <a:gd name="connsiteX3" fmla="*/ 10085173 w 10635515"/>
              <a:gd name="connsiteY3" fmla="*/ 176801 h 179182"/>
              <a:gd name="connsiteX4" fmla="*/ 239 w 10635515"/>
              <a:gd name="connsiteY4" fmla="*/ 179182 h 179182"/>
              <a:gd name="connsiteX0" fmla="*/ 239 w 10635515"/>
              <a:gd name="connsiteY0" fmla="*/ 179182 h 179182"/>
              <a:gd name="connsiteX1" fmla="*/ 1488 w 10635515"/>
              <a:gd name="connsiteY1" fmla="*/ 9886 h 179182"/>
              <a:gd name="connsiteX2" fmla="*/ 10635515 w 10635515"/>
              <a:gd name="connsiteY2" fmla="*/ 0 h 179182"/>
              <a:gd name="connsiteX3" fmla="*/ 10224620 w 10635515"/>
              <a:gd name="connsiteY3" fmla="*/ 178449 h 179182"/>
              <a:gd name="connsiteX4" fmla="*/ 239 w 10635515"/>
              <a:gd name="connsiteY4" fmla="*/ 179182 h 179182"/>
              <a:gd name="connsiteX0" fmla="*/ 239 w 10635515"/>
              <a:gd name="connsiteY0" fmla="*/ 174239 h 174239"/>
              <a:gd name="connsiteX1" fmla="*/ 1488 w 10635515"/>
              <a:gd name="connsiteY1" fmla="*/ 4943 h 174239"/>
              <a:gd name="connsiteX2" fmla="*/ 10635515 w 10635515"/>
              <a:gd name="connsiteY2" fmla="*/ 0 h 174239"/>
              <a:gd name="connsiteX3" fmla="*/ 10224620 w 10635515"/>
              <a:gd name="connsiteY3" fmla="*/ 173506 h 174239"/>
              <a:gd name="connsiteX4" fmla="*/ 239 w 10635515"/>
              <a:gd name="connsiteY4" fmla="*/ 174239 h 174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35515" h="174239">
                <a:moveTo>
                  <a:pt x="239" y="174239"/>
                </a:moveTo>
                <a:cubicBezTo>
                  <a:pt x="-932" y="119394"/>
                  <a:pt x="2659" y="59788"/>
                  <a:pt x="1488" y="4943"/>
                </a:cubicBezTo>
                <a:lnTo>
                  <a:pt x="10635515" y="0"/>
                </a:lnTo>
                <a:lnTo>
                  <a:pt x="10224620" y="173506"/>
                </a:lnTo>
                <a:lnTo>
                  <a:pt x="239" y="174239"/>
                </a:lnTo>
                <a:close/>
              </a:path>
            </a:pathLst>
          </a:custGeom>
          <a:pattFill prst="pct70">
            <a:fgClr>
              <a:schemeClr val="bg1">
                <a:lumMod val="75000"/>
              </a:schemeClr>
            </a:fgClr>
            <a:bgClr>
              <a:schemeClr val="bg1"/>
            </a:bgClr>
          </a:patt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dirty="0">
              <a:solidFill>
                <a:prstClr val="black"/>
              </a:solidFill>
            </a:endParaRPr>
          </a:p>
        </p:txBody>
      </p:sp>
      <p:sp>
        <p:nvSpPr>
          <p:cNvPr id="11" name="Parallelogram 10"/>
          <p:cNvSpPr/>
          <p:nvPr/>
        </p:nvSpPr>
        <p:spPr>
          <a:xfrm>
            <a:off x="10360480" y="6519067"/>
            <a:ext cx="1831520" cy="330199"/>
          </a:xfrm>
          <a:custGeom>
            <a:avLst/>
            <a:gdLst>
              <a:gd name="connsiteX0" fmla="*/ 0 w 1983938"/>
              <a:gd name="connsiteY0" fmla="*/ 166914 h 166914"/>
              <a:gd name="connsiteX1" fmla="*/ 41729 w 1983938"/>
              <a:gd name="connsiteY1" fmla="*/ 0 h 166914"/>
              <a:gd name="connsiteX2" fmla="*/ 1983938 w 1983938"/>
              <a:gd name="connsiteY2" fmla="*/ 0 h 166914"/>
              <a:gd name="connsiteX3" fmla="*/ 1942210 w 1983938"/>
              <a:gd name="connsiteY3" fmla="*/ 166914 h 166914"/>
              <a:gd name="connsiteX4" fmla="*/ 0 w 1983938"/>
              <a:gd name="connsiteY4" fmla="*/ 166914 h 166914"/>
              <a:gd name="connsiteX0" fmla="*/ 0 w 1942210"/>
              <a:gd name="connsiteY0" fmla="*/ 166914 h 166914"/>
              <a:gd name="connsiteX1" fmla="*/ 41729 w 1942210"/>
              <a:gd name="connsiteY1" fmla="*/ 0 h 166914"/>
              <a:gd name="connsiteX2" fmla="*/ 1910120 w 1942210"/>
              <a:gd name="connsiteY2" fmla="*/ 0 h 166914"/>
              <a:gd name="connsiteX3" fmla="*/ 1942210 w 1942210"/>
              <a:gd name="connsiteY3" fmla="*/ 166914 h 166914"/>
              <a:gd name="connsiteX4" fmla="*/ 0 w 1942210"/>
              <a:gd name="connsiteY4" fmla="*/ 166914 h 166914"/>
              <a:gd name="connsiteX0" fmla="*/ 0 w 1913635"/>
              <a:gd name="connsiteY0" fmla="*/ 166914 h 166914"/>
              <a:gd name="connsiteX1" fmla="*/ 41729 w 1913635"/>
              <a:gd name="connsiteY1" fmla="*/ 0 h 166914"/>
              <a:gd name="connsiteX2" fmla="*/ 1910120 w 1913635"/>
              <a:gd name="connsiteY2" fmla="*/ 0 h 166914"/>
              <a:gd name="connsiteX3" fmla="*/ 1913635 w 1913635"/>
              <a:gd name="connsiteY3" fmla="*/ 166914 h 166914"/>
              <a:gd name="connsiteX4" fmla="*/ 0 w 1913635"/>
              <a:gd name="connsiteY4" fmla="*/ 166914 h 166914"/>
              <a:gd name="connsiteX0" fmla="*/ 0 w 1913635"/>
              <a:gd name="connsiteY0" fmla="*/ 170187 h 170187"/>
              <a:gd name="connsiteX1" fmla="*/ 352879 w 1913635"/>
              <a:gd name="connsiteY1" fmla="*/ 0 h 170187"/>
              <a:gd name="connsiteX2" fmla="*/ 1910120 w 1913635"/>
              <a:gd name="connsiteY2" fmla="*/ 3273 h 170187"/>
              <a:gd name="connsiteX3" fmla="*/ 1913635 w 1913635"/>
              <a:gd name="connsiteY3" fmla="*/ 170187 h 170187"/>
              <a:gd name="connsiteX4" fmla="*/ 0 w 1913635"/>
              <a:gd name="connsiteY4" fmla="*/ 170187 h 1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635" h="170187">
                <a:moveTo>
                  <a:pt x="0" y="170187"/>
                </a:moveTo>
                <a:lnTo>
                  <a:pt x="352879" y="0"/>
                </a:lnTo>
                <a:lnTo>
                  <a:pt x="1910120" y="3273"/>
                </a:lnTo>
                <a:cubicBezTo>
                  <a:pt x="1911292" y="58911"/>
                  <a:pt x="1912463" y="114549"/>
                  <a:pt x="1913635" y="170187"/>
                </a:cubicBezTo>
                <a:lnTo>
                  <a:pt x="0" y="170187"/>
                </a:lnTo>
                <a:close/>
              </a:path>
            </a:pathLst>
          </a:custGeom>
          <a:pattFill prst="pct70">
            <a:fgClr>
              <a:schemeClr val="accent4"/>
            </a:fgClr>
            <a:bgClr>
              <a:schemeClr val="bg1"/>
            </a:bgClr>
          </a:patt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sp>
        <p:nvSpPr>
          <p:cNvPr id="13" name="Parallelogram 12"/>
          <p:cNvSpPr/>
          <p:nvPr/>
        </p:nvSpPr>
        <p:spPr>
          <a:xfrm>
            <a:off x="9680574" y="6524623"/>
            <a:ext cx="841376" cy="330201"/>
          </a:xfrm>
          <a:custGeom>
            <a:avLst/>
            <a:gdLst>
              <a:gd name="connsiteX0" fmla="*/ 0 w 812801"/>
              <a:gd name="connsiteY0" fmla="*/ 333376 h 333376"/>
              <a:gd name="connsiteX1" fmla="*/ 83344 w 812801"/>
              <a:gd name="connsiteY1" fmla="*/ 0 h 333376"/>
              <a:gd name="connsiteX2" fmla="*/ 812801 w 812801"/>
              <a:gd name="connsiteY2" fmla="*/ 0 h 333376"/>
              <a:gd name="connsiteX3" fmla="*/ 729457 w 812801"/>
              <a:gd name="connsiteY3" fmla="*/ 333376 h 333376"/>
              <a:gd name="connsiteX4" fmla="*/ 0 w 812801"/>
              <a:gd name="connsiteY4" fmla="*/ 333376 h 333376"/>
              <a:gd name="connsiteX0" fmla="*/ 0 w 1111251"/>
              <a:gd name="connsiteY0" fmla="*/ 330201 h 333376"/>
              <a:gd name="connsiteX1" fmla="*/ 381794 w 1111251"/>
              <a:gd name="connsiteY1" fmla="*/ 0 h 333376"/>
              <a:gd name="connsiteX2" fmla="*/ 1111251 w 1111251"/>
              <a:gd name="connsiteY2" fmla="*/ 0 h 333376"/>
              <a:gd name="connsiteX3" fmla="*/ 1027907 w 1111251"/>
              <a:gd name="connsiteY3" fmla="*/ 333376 h 333376"/>
              <a:gd name="connsiteX4" fmla="*/ 0 w 1111251"/>
              <a:gd name="connsiteY4" fmla="*/ 330201 h 333376"/>
              <a:gd name="connsiteX0" fmla="*/ 0 w 1111251"/>
              <a:gd name="connsiteY0" fmla="*/ 330201 h 330201"/>
              <a:gd name="connsiteX1" fmla="*/ 381794 w 1111251"/>
              <a:gd name="connsiteY1" fmla="*/ 0 h 330201"/>
              <a:gd name="connsiteX2" fmla="*/ 1111251 w 1111251"/>
              <a:gd name="connsiteY2" fmla="*/ 0 h 330201"/>
              <a:gd name="connsiteX3" fmla="*/ 805657 w 1111251"/>
              <a:gd name="connsiteY3" fmla="*/ 320676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815976"/>
              <a:gd name="connsiteY0" fmla="*/ 330201 h 330201"/>
              <a:gd name="connsiteX1" fmla="*/ 381794 w 815976"/>
              <a:gd name="connsiteY1" fmla="*/ 0 h 330201"/>
              <a:gd name="connsiteX2" fmla="*/ 815976 w 815976"/>
              <a:gd name="connsiteY2" fmla="*/ 0 h 330201"/>
              <a:gd name="connsiteX3" fmla="*/ 450057 w 815976"/>
              <a:gd name="connsiteY3" fmla="*/ 330201 h 330201"/>
              <a:gd name="connsiteX4" fmla="*/ 0 w 815976"/>
              <a:gd name="connsiteY4" fmla="*/ 330201 h 330201"/>
              <a:gd name="connsiteX0" fmla="*/ 0 w 841376"/>
              <a:gd name="connsiteY0" fmla="*/ 330201 h 330201"/>
              <a:gd name="connsiteX1" fmla="*/ 381794 w 841376"/>
              <a:gd name="connsiteY1" fmla="*/ 0 h 330201"/>
              <a:gd name="connsiteX2" fmla="*/ 841376 w 841376"/>
              <a:gd name="connsiteY2" fmla="*/ 0 h 330201"/>
              <a:gd name="connsiteX3" fmla="*/ 450057 w 841376"/>
              <a:gd name="connsiteY3" fmla="*/ 330201 h 330201"/>
              <a:gd name="connsiteX4" fmla="*/ 0 w 841376"/>
              <a:gd name="connsiteY4" fmla="*/ 330201 h 33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376" h="330201">
                <a:moveTo>
                  <a:pt x="0" y="330201"/>
                </a:moveTo>
                <a:lnTo>
                  <a:pt x="381794" y="0"/>
                </a:lnTo>
                <a:lnTo>
                  <a:pt x="841376" y="0"/>
                </a:lnTo>
                <a:lnTo>
                  <a:pt x="450057" y="330201"/>
                </a:lnTo>
                <a:lnTo>
                  <a:pt x="0" y="330201"/>
                </a:lnTo>
                <a:close/>
              </a:path>
            </a:pathLst>
          </a:custGeom>
          <a:pattFill prst="pct70">
            <a:fgClr>
              <a:schemeClr val="accent5">
                <a:lumMod val="50000"/>
              </a:schemeClr>
            </a:fgClr>
            <a:bgClr>
              <a:schemeClr val="bg1"/>
            </a:bgClr>
          </a:patt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prstClr val="white"/>
              </a:solidFill>
            </a:endParaRPr>
          </a:p>
        </p:txBody>
      </p:sp>
      <p:sp>
        <p:nvSpPr>
          <p:cNvPr id="3" name="TextBox 2">
            <a:extLst>
              <a:ext uri="{FF2B5EF4-FFF2-40B4-BE49-F238E27FC236}">
                <a16:creationId xmlns:a16="http://schemas.microsoft.com/office/drawing/2014/main" id="{306EBDAB-6567-4BB5-A72D-B8C120B081C9}"/>
              </a:ext>
            </a:extLst>
          </p:cNvPr>
          <p:cNvSpPr txBox="1"/>
          <p:nvPr/>
        </p:nvSpPr>
        <p:spPr>
          <a:xfrm>
            <a:off x="30144" y="6484140"/>
            <a:ext cx="12161855" cy="373859"/>
          </a:xfrm>
          <a:prstGeom prst="rect">
            <a:avLst/>
          </a:prstGeom>
          <a:noFill/>
        </p:spPr>
        <p:txBody>
          <a:bodyPr wrap="square" rtlCol="0" anchor="ctr">
            <a:noAutofit/>
          </a:bodyPr>
          <a:lstStyle/>
          <a:p>
            <a:pPr indent="361950"/>
            <a:endParaRPr lang="en-ZA" sz="1000" b="1" dirty="0">
              <a:solidFill>
                <a:prstClr val="black"/>
              </a:solidFill>
            </a:endParaRPr>
          </a:p>
        </p:txBody>
      </p:sp>
      <p:sp>
        <p:nvSpPr>
          <p:cNvPr id="5" name="Slide Number Placeholder 4">
            <a:extLst>
              <a:ext uri="{FF2B5EF4-FFF2-40B4-BE49-F238E27FC236}">
                <a16:creationId xmlns:a16="http://schemas.microsoft.com/office/drawing/2014/main" id="{A987B35D-F68B-4006-AC19-5A526609671C}"/>
              </a:ext>
            </a:extLst>
          </p:cNvPr>
          <p:cNvSpPr>
            <a:spLocks noGrp="1"/>
          </p:cNvSpPr>
          <p:nvPr>
            <p:ph type="sldNum" sz="quarter" idx="12"/>
          </p:nvPr>
        </p:nvSpPr>
        <p:spPr>
          <a:xfrm>
            <a:off x="9448800" y="6484141"/>
            <a:ext cx="2743200" cy="365125"/>
          </a:xfrm>
        </p:spPr>
        <p:txBody>
          <a:bodyPr anchor="ctr"/>
          <a:lstStyle/>
          <a:p>
            <a:fld id="{87102F09-8F7D-4EC1-9AE5-82CA77F49212}" type="slidenum">
              <a:rPr lang="en-ZA" b="1" smtClean="0">
                <a:solidFill>
                  <a:prstClr val="black"/>
                </a:solidFill>
              </a:rPr>
              <a:pPr/>
              <a:t>19</a:t>
            </a:fld>
            <a:endParaRPr lang="en-ZA" b="1" dirty="0">
              <a:solidFill>
                <a:prstClr val="black"/>
              </a:solidFill>
            </a:endParaRPr>
          </a:p>
        </p:txBody>
      </p:sp>
      <p:pic>
        <p:nvPicPr>
          <p:cNvPr id="6" name="Picture 5">
            <a:extLst>
              <a:ext uri="{FF2B5EF4-FFF2-40B4-BE49-F238E27FC236}">
                <a16:creationId xmlns:a16="http://schemas.microsoft.com/office/drawing/2014/main" id="{35DFAFDF-E7E7-4904-8DE3-6D02133923A6}"/>
              </a:ext>
            </a:extLst>
          </p:cNvPr>
          <p:cNvPicPr>
            <a:picLocks noChangeAspect="1"/>
          </p:cNvPicPr>
          <p:nvPr/>
        </p:nvPicPr>
        <p:blipFill>
          <a:blip r:embed="rId2"/>
          <a:stretch>
            <a:fillRect/>
          </a:stretch>
        </p:blipFill>
        <p:spPr>
          <a:xfrm>
            <a:off x="30144" y="811369"/>
            <a:ext cx="10775950" cy="3429000"/>
          </a:xfrm>
          <a:prstGeom prst="rect">
            <a:avLst/>
          </a:prstGeom>
        </p:spPr>
      </p:pic>
    </p:spTree>
    <p:extLst>
      <p:ext uri="{BB962C8B-B14F-4D97-AF65-F5344CB8AC3E}">
        <p14:creationId xmlns:p14="http://schemas.microsoft.com/office/powerpoint/2010/main" val="4007228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1" y="5646"/>
            <a:ext cx="12192001" cy="805723"/>
          </a:xfrm>
          <a:prstGeom prst="rect">
            <a:avLst/>
          </a:prstGeom>
          <a:solidFill>
            <a:srgbClr val="00266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rtlCol="0" anchor="ctr">
            <a:noAutofit/>
            <a:scene3d>
              <a:camera prst="orthographicFront"/>
              <a:lightRig rig="soft" dir="t"/>
            </a:scene3d>
            <a:sp3d prstMaterial="softEdge">
              <a:bevelT w="25400" h="25400"/>
            </a:sp3d>
          </a:bodyPr>
          <a:lstStyle>
            <a:lvl1pPr algn="r" rtl="0" eaLnBrk="1" latinLnBrk="0" hangingPunct="1">
              <a:spcBef>
                <a:spcPct val="0"/>
              </a:spcBef>
              <a:buNone/>
              <a:defRPr kumimoji="0" sz="3200" b="1" kern="1200">
                <a:solidFill>
                  <a:srgbClr val="9A9B9C"/>
                </a:solidFill>
                <a:effectLst>
                  <a:outerShdw blurRad="31750" dist="25400" dir="5400000" algn="tl" rotWithShape="0">
                    <a:srgbClr val="000000">
                      <a:alpha val="25000"/>
                    </a:srgbClr>
                  </a:outerShdw>
                </a:effectLst>
                <a:latin typeface="+mn-lt"/>
                <a:ea typeface="+mj-ea"/>
                <a:cs typeface="+mj-cs"/>
              </a:defRPr>
            </a:lvl1pPr>
            <a:lvl2pPr>
              <a:defRPr/>
            </a:lvl2pPr>
            <a:lvl3pPr>
              <a:defRPr/>
            </a:lvl3pPr>
            <a:lvl4pPr>
              <a:defRPr/>
            </a:lvl4pPr>
            <a:lvl5pPr>
              <a:defRPr/>
            </a:lvl5pPr>
            <a:lvl6pPr>
              <a:defRPr/>
            </a:lvl6pPr>
            <a:lvl7pPr>
              <a:defRPr/>
            </a:lvl7pPr>
            <a:lvl8pPr>
              <a:defRPr/>
            </a:lvl8pPr>
            <a:lvl9pPr>
              <a:defRPr/>
            </a:lvl9pPr>
            <a:extLst/>
          </a:lstStyle>
          <a:p>
            <a:pPr lvl="0" algn="l">
              <a:lnSpc>
                <a:spcPct val="100000"/>
              </a:lnSpc>
              <a:defRPr/>
            </a:pPr>
            <a:r>
              <a:rPr lang="en-ZA" sz="2400" kern="0" dirty="0">
                <a:solidFill>
                  <a:prstClr val="white"/>
                </a:solidFill>
                <a:sym typeface="Arial"/>
              </a:rPr>
              <a:t>PURPOSE</a:t>
            </a:r>
            <a:r>
              <a:rPr lang="en-ZA" sz="2400" kern="0" dirty="0">
                <a:solidFill>
                  <a:srgbClr val="002060"/>
                </a:solidFill>
                <a:sym typeface="Arial"/>
              </a:rPr>
              <a:t> </a:t>
            </a:r>
            <a:r>
              <a:rPr lang="en-ZA" sz="2400" kern="0" dirty="0">
                <a:solidFill>
                  <a:prstClr val="white"/>
                </a:solidFill>
                <a:sym typeface="Arial"/>
              </a:rPr>
              <a:t>OF THE PRESENTATION</a:t>
            </a:r>
            <a:endParaRPr lang="en-US" sz="2400" kern="0" dirty="0">
              <a:solidFill>
                <a:prstClr val="white"/>
              </a:solidFill>
            </a:endParaRPr>
          </a:p>
        </p:txBody>
      </p:sp>
      <p:sp>
        <p:nvSpPr>
          <p:cNvPr id="8" name="Parallelogram 7"/>
          <p:cNvSpPr/>
          <p:nvPr/>
        </p:nvSpPr>
        <p:spPr>
          <a:xfrm>
            <a:off x="-2" y="6519067"/>
            <a:ext cx="9871077" cy="335757"/>
          </a:xfrm>
          <a:custGeom>
            <a:avLst/>
            <a:gdLst>
              <a:gd name="connsiteX0" fmla="*/ 0 w 10188575"/>
              <a:gd name="connsiteY0" fmla="*/ 166915 h 166915"/>
              <a:gd name="connsiteX1" fmla="*/ 41729 w 10188575"/>
              <a:gd name="connsiteY1" fmla="*/ 0 h 166915"/>
              <a:gd name="connsiteX2" fmla="*/ 10188575 w 10188575"/>
              <a:gd name="connsiteY2" fmla="*/ 0 h 166915"/>
              <a:gd name="connsiteX3" fmla="*/ 10146846 w 10188575"/>
              <a:gd name="connsiteY3" fmla="*/ 166915 h 166915"/>
              <a:gd name="connsiteX4" fmla="*/ 0 w 10188575"/>
              <a:gd name="connsiteY4" fmla="*/ 166915 h 166915"/>
              <a:gd name="connsiteX0" fmla="*/ 17802 w 10146846"/>
              <a:gd name="connsiteY0" fmla="*/ 166915 h 166915"/>
              <a:gd name="connsiteX1" fmla="*/ 0 w 10146846"/>
              <a:gd name="connsiteY1" fmla="*/ 0 h 166915"/>
              <a:gd name="connsiteX2" fmla="*/ 10146846 w 10146846"/>
              <a:gd name="connsiteY2" fmla="*/ 0 h 166915"/>
              <a:gd name="connsiteX3" fmla="*/ 10105117 w 10146846"/>
              <a:gd name="connsiteY3" fmla="*/ 166915 h 166915"/>
              <a:gd name="connsiteX4" fmla="*/ 17802 w 10146846"/>
              <a:gd name="connsiteY4" fmla="*/ 166915 h 166915"/>
              <a:gd name="connsiteX0" fmla="*/ 3514 w 10132558"/>
              <a:gd name="connsiteY0" fmla="*/ 166915 h 166915"/>
              <a:gd name="connsiteX1" fmla="*/ 0 w 10132558"/>
              <a:gd name="connsiteY1" fmla="*/ 2381 h 166915"/>
              <a:gd name="connsiteX2" fmla="*/ 10132558 w 10132558"/>
              <a:gd name="connsiteY2" fmla="*/ 0 h 166915"/>
              <a:gd name="connsiteX3" fmla="*/ 10090829 w 10132558"/>
              <a:gd name="connsiteY3" fmla="*/ 166915 h 166915"/>
              <a:gd name="connsiteX4" fmla="*/ 3514 w 10132558"/>
              <a:gd name="connsiteY4" fmla="*/ 166915 h 166915"/>
              <a:gd name="connsiteX0" fmla="*/ 154 w 10129198"/>
              <a:gd name="connsiteY0" fmla="*/ 166915 h 166915"/>
              <a:gd name="connsiteX1" fmla="*/ 3784 w 10129198"/>
              <a:gd name="connsiteY1" fmla="*/ 0 h 166915"/>
              <a:gd name="connsiteX2" fmla="*/ 10129198 w 10129198"/>
              <a:gd name="connsiteY2" fmla="*/ 0 h 166915"/>
              <a:gd name="connsiteX3" fmla="*/ 10087469 w 10129198"/>
              <a:gd name="connsiteY3" fmla="*/ 166915 h 166915"/>
              <a:gd name="connsiteX4" fmla="*/ 154 w 10129198"/>
              <a:gd name="connsiteY4" fmla="*/ 166915 h 166915"/>
              <a:gd name="connsiteX0" fmla="*/ 239 w 10126902"/>
              <a:gd name="connsiteY0" fmla="*/ 169296 h 169296"/>
              <a:gd name="connsiteX1" fmla="*/ 1488 w 10126902"/>
              <a:gd name="connsiteY1" fmla="*/ 0 h 169296"/>
              <a:gd name="connsiteX2" fmla="*/ 10126902 w 10126902"/>
              <a:gd name="connsiteY2" fmla="*/ 0 h 169296"/>
              <a:gd name="connsiteX3" fmla="*/ 10085173 w 10126902"/>
              <a:gd name="connsiteY3" fmla="*/ 166915 h 169296"/>
              <a:gd name="connsiteX4" fmla="*/ 239 w 10126902"/>
              <a:gd name="connsiteY4" fmla="*/ 169296 h 169296"/>
              <a:gd name="connsiteX0" fmla="*/ 239 w 10425352"/>
              <a:gd name="connsiteY0" fmla="*/ 175887 h 175887"/>
              <a:gd name="connsiteX1" fmla="*/ 1488 w 10425352"/>
              <a:gd name="connsiteY1" fmla="*/ 6591 h 175887"/>
              <a:gd name="connsiteX2" fmla="*/ 10425352 w 10425352"/>
              <a:gd name="connsiteY2" fmla="*/ 0 h 175887"/>
              <a:gd name="connsiteX3" fmla="*/ 10085173 w 10425352"/>
              <a:gd name="connsiteY3" fmla="*/ 173506 h 175887"/>
              <a:gd name="connsiteX4" fmla="*/ 239 w 10425352"/>
              <a:gd name="connsiteY4" fmla="*/ 175887 h 175887"/>
              <a:gd name="connsiteX0" fmla="*/ 239 w 10635515"/>
              <a:gd name="connsiteY0" fmla="*/ 179182 h 179182"/>
              <a:gd name="connsiteX1" fmla="*/ 1488 w 10635515"/>
              <a:gd name="connsiteY1" fmla="*/ 9886 h 179182"/>
              <a:gd name="connsiteX2" fmla="*/ 10635515 w 10635515"/>
              <a:gd name="connsiteY2" fmla="*/ 0 h 179182"/>
              <a:gd name="connsiteX3" fmla="*/ 10085173 w 10635515"/>
              <a:gd name="connsiteY3" fmla="*/ 176801 h 179182"/>
              <a:gd name="connsiteX4" fmla="*/ 239 w 10635515"/>
              <a:gd name="connsiteY4" fmla="*/ 179182 h 179182"/>
              <a:gd name="connsiteX0" fmla="*/ 239 w 10635515"/>
              <a:gd name="connsiteY0" fmla="*/ 179182 h 179182"/>
              <a:gd name="connsiteX1" fmla="*/ 1488 w 10635515"/>
              <a:gd name="connsiteY1" fmla="*/ 9886 h 179182"/>
              <a:gd name="connsiteX2" fmla="*/ 10635515 w 10635515"/>
              <a:gd name="connsiteY2" fmla="*/ 0 h 179182"/>
              <a:gd name="connsiteX3" fmla="*/ 10224620 w 10635515"/>
              <a:gd name="connsiteY3" fmla="*/ 178449 h 179182"/>
              <a:gd name="connsiteX4" fmla="*/ 239 w 10635515"/>
              <a:gd name="connsiteY4" fmla="*/ 179182 h 179182"/>
              <a:gd name="connsiteX0" fmla="*/ 239 w 10635515"/>
              <a:gd name="connsiteY0" fmla="*/ 174239 h 174239"/>
              <a:gd name="connsiteX1" fmla="*/ 1488 w 10635515"/>
              <a:gd name="connsiteY1" fmla="*/ 4943 h 174239"/>
              <a:gd name="connsiteX2" fmla="*/ 10635515 w 10635515"/>
              <a:gd name="connsiteY2" fmla="*/ 0 h 174239"/>
              <a:gd name="connsiteX3" fmla="*/ 10224620 w 10635515"/>
              <a:gd name="connsiteY3" fmla="*/ 173506 h 174239"/>
              <a:gd name="connsiteX4" fmla="*/ 239 w 10635515"/>
              <a:gd name="connsiteY4" fmla="*/ 174239 h 174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35515" h="174239">
                <a:moveTo>
                  <a:pt x="239" y="174239"/>
                </a:moveTo>
                <a:cubicBezTo>
                  <a:pt x="-932" y="119394"/>
                  <a:pt x="2659" y="59788"/>
                  <a:pt x="1488" y="4943"/>
                </a:cubicBezTo>
                <a:lnTo>
                  <a:pt x="10635515" y="0"/>
                </a:lnTo>
                <a:lnTo>
                  <a:pt x="10224620" y="173506"/>
                </a:lnTo>
                <a:lnTo>
                  <a:pt x="239" y="174239"/>
                </a:lnTo>
                <a:close/>
              </a:path>
            </a:pathLst>
          </a:custGeom>
          <a:pattFill prst="pct70">
            <a:fgClr>
              <a:schemeClr val="bg1">
                <a:lumMod val="75000"/>
              </a:schemeClr>
            </a:fgClr>
            <a:bgClr>
              <a:schemeClr val="bg1"/>
            </a:bgClr>
          </a:patt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dirty="0"/>
          </a:p>
        </p:txBody>
      </p:sp>
      <p:sp>
        <p:nvSpPr>
          <p:cNvPr id="11" name="Parallelogram 10"/>
          <p:cNvSpPr/>
          <p:nvPr/>
        </p:nvSpPr>
        <p:spPr>
          <a:xfrm>
            <a:off x="10360480" y="6519067"/>
            <a:ext cx="1831520" cy="330199"/>
          </a:xfrm>
          <a:custGeom>
            <a:avLst/>
            <a:gdLst>
              <a:gd name="connsiteX0" fmla="*/ 0 w 1983938"/>
              <a:gd name="connsiteY0" fmla="*/ 166914 h 166914"/>
              <a:gd name="connsiteX1" fmla="*/ 41729 w 1983938"/>
              <a:gd name="connsiteY1" fmla="*/ 0 h 166914"/>
              <a:gd name="connsiteX2" fmla="*/ 1983938 w 1983938"/>
              <a:gd name="connsiteY2" fmla="*/ 0 h 166914"/>
              <a:gd name="connsiteX3" fmla="*/ 1942210 w 1983938"/>
              <a:gd name="connsiteY3" fmla="*/ 166914 h 166914"/>
              <a:gd name="connsiteX4" fmla="*/ 0 w 1983938"/>
              <a:gd name="connsiteY4" fmla="*/ 166914 h 166914"/>
              <a:gd name="connsiteX0" fmla="*/ 0 w 1942210"/>
              <a:gd name="connsiteY0" fmla="*/ 166914 h 166914"/>
              <a:gd name="connsiteX1" fmla="*/ 41729 w 1942210"/>
              <a:gd name="connsiteY1" fmla="*/ 0 h 166914"/>
              <a:gd name="connsiteX2" fmla="*/ 1910120 w 1942210"/>
              <a:gd name="connsiteY2" fmla="*/ 0 h 166914"/>
              <a:gd name="connsiteX3" fmla="*/ 1942210 w 1942210"/>
              <a:gd name="connsiteY3" fmla="*/ 166914 h 166914"/>
              <a:gd name="connsiteX4" fmla="*/ 0 w 1942210"/>
              <a:gd name="connsiteY4" fmla="*/ 166914 h 166914"/>
              <a:gd name="connsiteX0" fmla="*/ 0 w 1913635"/>
              <a:gd name="connsiteY0" fmla="*/ 166914 h 166914"/>
              <a:gd name="connsiteX1" fmla="*/ 41729 w 1913635"/>
              <a:gd name="connsiteY1" fmla="*/ 0 h 166914"/>
              <a:gd name="connsiteX2" fmla="*/ 1910120 w 1913635"/>
              <a:gd name="connsiteY2" fmla="*/ 0 h 166914"/>
              <a:gd name="connsiteX3" fmla="*/ 1913635 w 1913635"/>
              <a:gd name="connsiteY3" fmla="*/ 166914 h 166914"/>
              <a:gd name="connsiteX4" fmla="*/ 0 w 1913635"/>
              <a:gd name="connsiteY4" fmla="*/ 166914 h 166914"/>
              <a:gd name="connsiteX0" fmla="*/ 0 w 1913635"/>
              <a:gd name="connsiteY0" fmla="*/ 170187 h 170187"/>
              <a:gd name="connsiteX1" fmla="*/ 352879 w 1913635"/>
              <a:gd name="connsiteY1" fmla="*/ 0 h 170187"/>
              <a:gd name="connsiteX2" fmla="*/ 1910120 w 1913635"/>
              <a:gd name="connsiteY2" fmla="*/ 3273 h 170187"/>
              <a:gd name="connsiteX3" fmla="*/ 1913635 w 1913635"/>
              <a:gd name="connsiteY3" fmla="*/ 170187 h 170187"/>
              <a:gd name="connsiteX4" fmla="*/ 0 w 1913635"/>
              <a:gd name="connsiteY4" fmla="*/ 170187 h 1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635" h="170187">
                <a:moveTo>
                  <a:pt x="0" y="170187"/>
                </a:moveTo>
                <a:lnTo>
                  <a:pt x="352879" y="0"/>
                </a:lnTo>
                <a:lnTo>
                  <a:pt x="1910120" y="3273"/>
                </a:lnTo>
                <a:cubicBezTo>
                  <a:pt x="1911292" y="58911"/>
                  <a:pt x="1912463" y="114549"/>
                  <a:pt x="1913635" y="170187"/>
                </a:cubicBezTo>
                <a:lnTo>
                  <a:pt x="0" y="170187"/>
                </a:lnTo>
                <a:close/>
              </a:path>
            </a:pathLst>
          </a:custGeom>
          <a:pattFill prst="pct70">
            <a:fgClr>
              <a:schemeClr val="accent4"/>
            </a:fgClr>
            <a:bgClr>
              <a:schemeClr val="bg1"/>
            </a:bgClr>
          </a:patt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sp>
        <p:nvSpPr>
          <p:cNvPr id="13" name="Parallelogram 12"/>
          <p:cNvSpPr/>
          <p:nvPr/>
        </p:nvSpPr>
        <p:spPr>
          <a:xfrm>
            <a:off x="9680574" y="6524623"/>
            <a:ext cx="841376" cy="330201"/>
          </a:xfrm>
          <a:custGeom>
            <a:avLst/>
            <a:gdLst>
              <a:gd name="connsiteX0" fmla="*/ 0 w 812801"/>
              <a:gd name="connsiteY0" fmla="*/ 333376 h 333376"/>
              <a:gd name="connsiteX1" fmla="*/ 83344 w 812801"/>
              <a:gd name="connsiteY1" fmla="*/ 0 h 333376"/>
              <a:gd name="connsiteX2" fmla="*/ 812801 w 812801"/>
              <a:gd name="connsiteY2" fmla="*/ 0 h 333376"/>
              <a:gd name="connsiteX3" fmla="*/ 729457 w 812801"/>
              <a:gd name="connsiteY3" fmla="*/ 333376 h 333376"/>
              <a:gd name="connsiteX4" fmla="*/ 0 w 812801"/>
              <a:gd name="connsiteY4" fmla="*/ 333376 h 333376"/>
              <a:gd name="connsiteX0" fmla="*/ 0 w 1111251"/>
              <a:gd name="connsiteY0" fmla="*/ 330201 h 333376"/>
              <a:gd name="connsiteX1" fmla="*/ 381794 w 1111251"/>
              <a:gd name="connsiteY1" fmla="*/ 0 h 333376"/>
              <a:gd name="connsiteX2" fmla="*/ 1111251 w 1111251"/>
              <a:gd name="connsiteY2" fmla="*/ 0 h 333376"/>
              <a:gd name="connsiteX3" fmla="*/ 1027907 w 1111251"/>
              <a:gd name="connsiteY3" fmla="*/ 333376 h 333376"/>
              <a:gd name="connsiteX4" fmla="*/ 0 w 1111251"/>
              <a:gd name="connsiteY4" fmla="*/ 330201 h 333376"/>
              <a:gd name="connsiteX0" fmla="*/ 0 w 1111251"/>
              <a:gd name="connsiteY0" fmla="*/ 330201 h 330201"/>
              <a:gd name="connsiteX1" fmla="*/ 381794 w 1111251"/>
              <a:gd name="connsiteY1" fmla="*/ 0 h 330201"/>
              <a:gd name="connsiteX2" fmla="*/ 1111251 w 1111251"/>
              <a:gd name="connsiteY2" fmla="*/ 0 h 330201"/>
              <a:gd name="connsiteX3" fmla="*/ 805657 w 1111251"/>
              <a:gd name="connsiteY3" fmla="*/ 320676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815976"/>
              <a:gd name="connsiteY0" fmla="*/ 330201 h 330201"/>
              <a:gd name="connsiteX1" fmla="*/ 381794 w 815976"/>
              <a:gd name="connsiteY1" fmla="*/ 0 h 330201"/>
              <a:gd name="connsiteX2" fmla="*/ 815976 w 815976"/>
              <a:gd name="connsiteY2" fmla="*/ 0 h 330201"/>
              <a:gd name="connsiteX3" fmla="*/ 450057 w 815976"/>
              <a:gd name="connsiteY3" fmla="*/ 330201 h 330201"/>
              <a:gd name="connsiteX4" fmla="*/ 0 w 815976"/>
              <a:gd name="connsiteY4" fmla="*/ 330201 h 330201"/>
              <a:gd name="connsiteX0" fmla="*/ 0 w 841376"/>
              <a:gd name="connsiteY0" fmla="*/ 330201 h 330201"/>
              <a:gd name="connsiteX1" fmla="*/ 381794 w 841376"/>
              <a:gd name="connsiteY1" fmla="*/ 0 h 330201"/>
              <a:gd name="connsiteX2" fmla="*/ 841376 w 841376"/>
              <a:gd name="connsiteY2" fmla="*/ 0 h 330201"/>
              <a:gd name="connsiteX3" fmla="*/ 450057 w 841376"/>
              <a:gd name="connsiteY3" fmla="*/ 330201 h 330201"/>
              <a:gd name="connsiteX4" fmla="*/ 0 w 841376"/>
              <a:gd name="connsiteY4" fmla="*/ 330201 h 33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376" h="330201">
                <a:moveTo>
                  <a:pt x="0" y="330201"/>
                </a:moveTo>
                <a:lnTo>
                  <a:pt x="381794" y="0"/>
                </a:lnTo>
                <a:lnTo>
                  <a:pt x="841376" y="0"/>
                </a:lnTo>
                <a:lnTo>
                  <a:pt x="450057" y="330201"/>
                </a:lnTo>
                <a:lnTo>
                  <a:pt x="0" y="330201"/>
                </a:lnTo>
                <a:close/>
              </a:path>
            </a:pathLst>
          </a:custGeom>
          <a:pattFill prst="pct70">
            <a:fgClr>
              <a:schemeClr val="accent5">
                <a:lumMod val="50000"/>
              </a:schemeClr>
            </a:fgClr>
            <a:bgClr>
              <a:schemeClr val="bg1"/>
            </a:bgClr>
          </a:patt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p>
        </p:txBody>
      </p:sp>
      <p:sp>
        <p:nvSpPr>
          <p:cNvPr id="3" name="TextBox 2">
            <a:extLst>
              <a:ext uri="{FF2B5EF4-FFF2-40B4-BE49-F238E27FC236}">
                <a16:creationId xmlns:a16="http://schemas.microsoft.com/office/drawing/2014/main" id="{306EBDAB-6567-4BB5-A72D-B8C120B081C9}"/>
              </a:ext>
            </a:extLst>
          </p:cNvPr>
          <p:cNvSpPr txBox="1"/>
          <p:nvPr/>
        </p:nvSpPr>
        <p:spPr>
          <a:xfrm>
            <a:off x="30144" y="6484140"/>
            <a:ext cx="12161855" cy="373859"/>
          </a:xfrm>
          <a:prstGeom prst="rect">
            <a:avLst/>
          </a:prstGeom>
          <a:noFill/>
        </p:spPr>
        <p:txBody>
          <a:bodyPr wrap="square" rtlCol="0" anchor="ctr">
            <a:noAutofit/>
          </a:bodyPr>
          <a:lstStyle/>
          <a:p>
            <a:pPr indent="361950"/>
            <a:endParaRPr lang="en-ZA" sz="1000" b="1" dirty="0"/>
          </a:p>
        </p:txBody>
      </p:sp>
      <p:sp>
        <p:nvSpPr>
          <p:cNvPr id="5" name="Slide Number Placeholder 4">
            <a:extLst>
              <a:ext uri="{FF2B5EF4-FFF2-40B4-BE49-F238E27FC236}">
                <a16:creationId xmlns:a16="http://schemas.microsoft.com/office/drawing/2014/main" id="{A987B35D-F68B-4006-AC19-5A526609671C}"/>
              </a:ext>
            </a:extLst>
          </p:cNvPr>
          <p:cNvSpPr>
            <a:spLocks noGrp="1"/>
          </p:cNvSpPr>
          <p:nvPr>
            <p:ph type="sldNum" sz="quarter" idx="12"/>
          </p:nvPr>
        </p:nvSpPr>
        <p:spPr>
          <a:xfrm>
            <a:off x="9448800" y="6484141"/>
            <a:ext cx="2743200" cy="365125"/>
          </a:xfrm>
        </p:spPr>
        <p:txBody>
          <a:bodyPr anchor="ctr"/>
          <a:lstStyle/>
          <a:p>
            <a:fld id="{87102F09-8F7D-4EC1-9AE5-82CA77F49212}" type="slidenum">
              <a:rPr lang="en-ZA" b="1" smtClean="0">
                <a:solidFill>
                  <a:schemeClr val="tx1"/>
                </a:solidFill>
              </a:rPr>
              <a:t>2</a:t>
            </a:fld>
            <a:endParaRPr lang="en-ZA" b="1" dirty="0">
              <a:solidFill>
                <a:schemeClr val="tx1"/>
              </a:solidFill>
            </a:endParaRPr>
          </a:p>
        </p:txBody>
      </p:sp>
      <p:sp>
        <p:nvSpPr>
          <p:cNvPr id="53" name="TextBox 52">
            <a:extLst>
              <a:ext uri="{FF2B5EF4-FFF2-40B4-BE49-F238E27FC236}">
                <a16:creationId xmlns:a16="http://schemas.microsoft.com/office/drawing/2014/main" id="{3250977C-2091-4085-B332-4411C5D59B5B}"/>
              </a:ext>
            </a:extLst>
          </p:cNvPr>
          <p:cNvSpPr txBox="1"/>
          <p:nvPr/>
        </p:nvSpPr>
        <p:spPr>
          <a:xfrm>
            <a:off x="1478196" y="1927219"/>
            <a:ext cx="9671295" cy="3585597"/>
          </a:xfrm>
          <a:prstGeom prst="rect">
            <a:avLst/>
          </a:prstGeom>
          <a:solidFill>
            <a:schemeClr val="accent3">
              <a:lumMod val="20000"/>
              <a:lumOff val="80000"/>
            </a:schemeClr>
          </a:solidFill>
        </p:spPr>
        <p:txBody>
          <a:bodyPr wrap="square" rtlCol="0">
            <a:spAutoFit/>
          </a:bodyPr>
          <a:lstStyle/>
          <a:p>
            <a:pPr algn="ctr"/>
            <a:r>
              <a:rPr lang="en-ZA" sz="2400" b="1" dirty="0">
                <a:solidFill>
                  <a:schemeClr val="accent5">
                    <a:lumMod val="50000"/>
                  </a:schemeClr>
                </a:solidFill>
              </a:rPr>
              <a:t>To present to the </a:t>
            </a:r>
            <a:r>
              <a:rPr lang="en-GB" sz="2400" b="1" dirty="0">
                <a:solidFill>
                  <a:schemeClr val="accent5">
                    <a:lumMod val="50000"/>
                  </a:schemeClr>
                </a:solidFill>
              </a:rPr>
              <a:t>P</a:t>
            </a:r>
            <a:r>
              <a:rPr lang="en-ZA" sz="2400" b="1" dirty="0" err="1">
                <a:solidFill>
                  <a:schemeClr val="accent5">
                    <a:lumMod val="50000"/>
                  </a:schemeClr>
                </a:solidFill>
              </a:rPr>
              <a:t>ortfolio</a:t>
            </a:r>
            <a:r>
              <a:rPr lang="en-ZA" sz="2400" b="1" dirty="0">
                <a:solidFill>
                  <a:schemeClr val="accent5">
                    <a:lumMod val="50000"/>
                  </a:schemeClr>
                </a:solidFill>
              </a:rPr>
              <a:t> Committee on Human Settlements, </a:t>
            </a:r>
          </a:p>
          <a:p>
            <a:pPr algn="ctr"/>
            <a:r>
              <a:rPr lang="en-ZA" sz="2400" b="1" dirty="0">
                <a:solidFill>
                  <a:schemeClr val="accent5">
                    <a:lumMod val="50000"/>
                  </a:schemeClr>
                </a:solidFill>
              </a:rPr>
              <a:t>Water and Sanitation:</a:t>
            </a:r>
          </a:p>
          <a:p>
            <a:pPr algn="ctr">
              <a:spcBef>
                <a:spcPts val="600"/>
              </a:spcBef>
              <a:spcAft>
                <a:spcPts val="600"/>
              </a:spcAft>
            </a:pPr>
            <a:endParaRPr lang="en-ZA" sz="2400" b="1" dirty="0"/>
          </a:p>
          <a:p>
            <a:pPr lvl="1">
              <a:spcBef>
                <a:spcPts val="600"/>
              </a:spcBef>
              <a:spcAft>
                <a:spcPts val="600"/>
              </a:spcAft>
            </a:pPr>
            <a:endParaRPr lang="en-ZA" sz="2400" b="1" dirty="0"/>
          </a:p>
          <a:p>
            <a:pPr marL="457200" indent="-457200">
              <a:spcBef>
                <a:spcPts val="600"/>
              </a:spcBef>
              <a:spcAft>
                <a:spcPts val="600"/>
              </a:spcAft>
              <a:buAutoNum type="arabicPeriod"/>
            </a:pPr>
            <a:r>
              <a:rPr lang="en-ZA" sz="2400" dirty="0">
                <a:solidFill>
                  <a:schemeClr val="accent5">
                    <a:lumMod val="50000"/>
                  </a:schemeClr>
                </a:solidFill>
              </a:rPr>
              <a:t>Strategic Plan for the period 2020/21 – 2024/25; and</a:t>
            </a:r>
          </a:p>
          <a:p>
            <a:r>
              <a:rPr lang="en-ZA" sz="2400" dirty="0">
                <a:solidFill>
                  <a:schemeClr val="accent5">
                    <a:lumMod val="50000"/>
                  </a:schemeClr>
                </a:solidFill>
              </a:rPr>
              <a:t>2.    Annual Performance Plan for the 2021/22 financial year and related   </a:t>
            </a:r>
          </a:p>
          <a:p>
            <a:pPr lvl="1"/>
            <a:r>
              <a:rPr lang="en-ZA" sz="2400" dirty="0">
                <a:solidFill>
                  <a:schemeClr val="accent5">
                    <a:lumMod val="50000"/>
                  </a:schemeClr>
                </a:solidFill>
              </a:rPr>
              <a:t> budget</a:t>
            </a:r>
          </a:p>
          <a:p>
            <a:pPr lvl="1">
              <a:spcBef>
                <a:spcPts val="600"/>
              </a:spcBef>
              <a:spcAft>
                <a:spcPts val="600"/>
              </a:spcAft>
            </a:pPr>
            <a:endParaRPr lang="en-US" sz="2400" b="1" dirty="0"/>
          </a:p>
        </p:txBody>
      </p:sp>
    </p:spTree>
    <p:extLst>
      <p:ext uri="{BB962C8B-B14F-4D97-AF65-F5344CB8AC3E}">
        <p14:creationId xmlns:p14="http://schemas.microsoft.com/office/powerpoint/2010/main" val="9468532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1" y="5646"/>
            <a:ext cx="12192001" cy="805723"/>
          </a:xfrm>
          <a:prstGeom prst="rect">
            <a:avLst/>
          </a:prstGeom>
          <a:solidFill>
            <a:srgbClr val="00266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rtlCol="0" anchor="ctr">
            <a:noAutofit/>
            <a:scene3d>
              <a:camera prst="orthographicFront"/>
              <a:lightRig rig="soft" dir="t"/>
            </a:scene3d>
            <a:sp3d prstMaterial="softEdge">
              <a:bevelT w="25400" h="25400"/>
            </a:sp3d>
          </a:bodyPr>
          <a:lstStyle>
            <a:lvl1pPr algn="r" rtl="0" eaLnBrk="1" latinLnBrk="0" hangingPunct="1">
              <a:spcBef>
                <a:spcPct val="0"/>
              </a:spcBef>
              <a:buNone/>
              <a:defRPr kumimoji="0" sz="3200" b="1" kern="1200">
                <a:solidFill>
                  <a:srgbClr val="9A9B9C"/>
                </a:solidFill>
                <a:effectLst>
                  <a:outerShdw blurRad="31750" dist="25400" dir="5400000" algn="tl" rotWithShape="0">
                    <a:srgbClr val="000000">
                      <a:alpha val="25000"/>
                    </a:srgbClr>
                  </a:outerShdw>
                </a:effectLst>
                <a:latin typeface="+mn-lt"/>
                <a:ea typeface="+mj-ea"/>
                <a:cs typeface="+mj-cs"/>
              </a:defRPr>
            </a:lvl1pPr>
            <a:lvl2pPr>
              <a:defRPr/>
            </a:lvl2pPr>
            <a:lvl3pPr>
              <a:defRPr/>
            </a:lvl3pPr>
            <a:lvl4pPr>
              <a:defRPr/>
            </a:lvl4pPr>
            <a:lvl5pPr>
              <a:defRPr/>
            </a:lvl5pPr>
            <a:lvl6pPr>
              <a:defRPr/>
            </a:lvl6pPr>
            <a:lvl7pPr>
              <a:defRPr/>
            </a:lvl7pPr>
            <a:lvl8pPr>
              <a:defRPr/>
            </a:lvl8pPr>
            <a:lvl9pPr>
              <a:defRPr/>
            </a:lvl9pPr>
            <a:extLst/>
          </a:lstStyle>
          <a:p>
            <a:pPr marL="354013" algn="l"/>
            <a:r>
              <a:rPr lang="en-US" sz="2400" kern="0" dirty="0">
                <a:solidFill>
                  <a:prstClr val="white"/>
                </a:solidFill>
                <a:effectLst/>
              </a:rPr>
              <a:t>PROGRAMME </a:t>
            </a:r>
            <a:r>
              <a:rPr lang="en-US" sz="2400" kern="0" dirty="0" err="1">
                <a:solidFill>
                  <a:prstClr val="white"/>
                </a:solidFill>
                <a:effectLst/>
              </a:rPr>
              <a:t>5a</a:t>
            </a:r>
            <a:r>
              <a:rPr lang="en-US" sz="2400" kern="0" dirty="0">
                <a:solidFill>
                  <a:prstClr val="white"/>
                </a:solidFill>
                <a:effectLst/>
              </a:rPr>
              <a:t> – AFFORDABLE HOUSING PROGRAMME  </a:t>
            </a:r>
          </a:p>
        </p:txBody>
      </p:sp>
      <p:sp>
        <p:nvSpPr>
          <p:cNvPr id="8" name="Parallelogram 7"/>
          <p:cNvSpPr/>
          <p:nvPr/>
        </p:nvSpPr>
        <p:spPr>
          <a:xfrm>
            <a:off x="-2" y="6519067"/>
            <a:ext cx="9871077" cy="335757"/>
          </a:xfrm>
          <a:custGeom>
            <a:avLst/>
            <a:gdLst>
              <a:gd name="connsiteX0" fmla="*/ 0 w 10188575"/>
              <a:gd name="connsiteY0" fmla="*/ 166915 h 166915"/>
              <a:gd name="connsiteX1" fmla="*/ 41729 w 10188575"/>
              <a:gd name="connsiteY1" fmla="*/ 0 h 166915"/>
              <a:gd name="connsiteX2" fmla="*/ 10188575 w 10188575"/>
              <a:gd name="connsiteY2" fmla="*/ 0 h 166915"/>
              <a:gd name="connsiteX3" fmla="*/ 10146846 w 10188575"/>
              <a:gd name="connsiteY3" fmla="*/ 166915 h 166915"/>
              <a:gd name="connsiteX4" fmla="*/ 0 w 10188575"/>
              <a:gd name="connsiteY4" fmla="*/ 166915 h 166915"/>
              <a:gd name="connsiteX0" fmla="*/ 17802 w 10146846"/>
              <a:gd name="connsiteY0" fmla="*/ 166915 h 166915"/>
              <a:gd name="connsiteX1" fmla="*/ 0 w 10146846"/>
              <a:gd name="connsiteY1" fmla="*/ 0 h 166915"/>
              <a:gd name="connsiteX2" fmla="*/ 10146846 w 10146846"/>
              <a:gd name="connsiteY2" fmla="*/ 0 h 166915"/>
              <a:gd name="connsiteX3" fmla="*/ 10105117 w 10146846"/>
              <a:gd name="connsiteY3" fmla="*/ 166915 h 166915"/>
              <a:gd name="connsiteX4" fmla="*/ 17802 w 10146846"/>
              <a:gd name="connsiteY4" fmla="*/ 166915 h 166915"/>
              <a:gd name="connsiteX0" fmla="*/ 3514 w 10132558"/>
              <a:gd name="connsiteY0" fmla="*/ 166915 h 166915"/>
              <a:gd name="connsiteX1" fmla="*/ 0 w 10132558"/>
              <a:gd name="connsiteY1" fmla="*/ 2381 h 166915"/>
              <a:gd name="connsiteX2" fmla="*/ 10132558 w 10132558"/>
              <a:gd name="connsiteY2" fmla="*/ 0 h 166915"/>
              <a:gd name="connsiteX3" fmla="*/ 10090829 w 10132558"/>
              <a:gd name="connsiteY3" fmla="*/ 166915 h 166915"/>
              <a:gd name="connsiteX4" fmla="*/ 3514 w 10132558"/>
              <a:gd name="connsiteY4" fmla="*/ 166915 h 166915"/>
              <a:gd name="connsiteX0" fmla="*/ 154 w 10129198"/>
              <a:gd name="connsiteY0" fmla="*/ 166915 h 166915"/>
              <a:gd name="connsiteX1" fmla="*/ 3784 w 10129198"/>
              <a:gd name="connsiteY1" fmla="*/ 0 h 166915"/>
              <a:gd name="connsiteX2" fmla="*/ 10129198 w 10129198"/>
              <a:gd name="connsiteY2" fmla="*/ 0 h 166915"/>
              <a:gd name="connsiteX3" fmla="*/ 10087469 w 10129198"/>
              <a:gd name="connsiteY3" fmla="*/ 166915 h 166915"/>
              <a:gd name="connsiteX4" fmla="*/ 154 w 10129198"/>
              <a:gd name="connsiteY4" fmla="*/ 166915 h 166915"/>
              <a:gd name="connsiteX0" fmla="*/ 239 w 10126902"/>
              <a:gd name="connsiteY0" fmla="*/ 169296 h 169296"/>
              <a:gd name="connsiteX1" fmla="*/ 1488 w 10126902"/>
              <a:gd name="connsiteY1" fmla="*/ 0 h 169296"/>
              <a:gd name="connsiteX2" fmla="*/ 10126902 w 10126902"/>
              <a:gd name="connsiteY2" fmla="*/ 0 h 169296"/>
              <a:gd name="connsiteX3" fmla="*/ 10085173 w 10126902"/>
              <a:gd name="connsiteY3" fmla="*/ 166915 h 169296"/>
              <a:gd name="connsiteX4" fmla="*/ 239 w 10126902"/>
              <a:gd name="connsiteY4" fmla="*/ 169296 h 169296"/>
              <a:gd name="connsiteX0" fmla="*/ 239 w 10425352"/>
              <a:gd name="connsiteY0" fmla="*/ 175887 h 175887"/>
              <a:gd name="connsiteX1" fmla="*/ 1488 w 10425352"/>
              <a:gd name="connsiteY1" fmla="*/ 6591 h 175887"/>
              <a:gd name="connsiteX2" fmla="*/ 10425352 w 10425352"/>
              <a:gd name="connsiteY2" fmla="*/ 0 h 175887"/>
              <a:gd name="connsiteX3" fmla="*/ 10085173 w 10425352"/>
              <a:gd name="connsiteY3" fmla="*/ 173506 h 175887"/>
              <a:gd name="connsiteX4" fmla="*/ 239 w 10425352"/>
              <a:gd name="connsiteY4" fmla="*/ 175887 h 175887"/>
              <a:gd name="connsiteX0" fmla="*/ 239 w 10635515"/>
              <a:gd name="connsiteY0" fmla="*/ 179182 h 179182"/>
              <a:gd name="connsiteX1" fmla="*/ 1488 w 10635515"/>
              <a:gd name="connsiteY1" fmla="*/ 9886 h 179182"/>
              <a:gd name="connsiteX2" fmla="*/ 10635515 w 10635515"/>
              <a:gd name="connsiteY2" fmla="*/ 0 h 179182"/>
              <a:gd name="connsiteX3" fmla="*/ 10085173 w 10635515"/>
              <a:gd name="connsiteY3" fmla="*/ 176801 h 179182"/>
              <a:gd name="connsiteX4" fmla="*/ 239 w 10635515"/>
              <a:gd name="connsiteY4" fmla="*/ 179182 h 179182"/>
              <a:gd name="connsiteX0" fmla="*/ 239 w 10635515"/>
              <a:gd name="connsiteY0" fmla="*/ 179182 h 179182"/>
              <a:gd name="connsiteX1" fmla="*/ 1488 w 10635515"/>
              <a:gd name="connsiteY1" fmla="*/ 9886 h 179182"/>
              <a:gd name="connsiteX2" fmla="*/ 10635515 w 10635515"/>
              <a:gd name="connsiteY2" fmla="*/ 0 h 179182"/>
              <a:gd name="connsiteX3" fmla="*/ 10224620 w 10635515"/>
              <a:gd name="connsiteY3" fmla="*/ 178449 h 179182"/>
              <a:gd name="connsiteX4" fmla="*/ 239 w 10635515"/>
              <a:gd name="connsiteY4" fmla="*/ 179182 h 179182"/>
              <a:gd name="connsiteX0" fmla="*/ 239 w 10635515"/>
              <a:gd name="connsiteY0" fmla="*/ 174239 h 174239"/>
              <a:gd name="connsiteX1" fmla="*/ 1488 w 10635515"/>
              <a:gd name="connsiteY1" fmla="*/ 4943 h 174239"/>
              <a:gd name="connsiteX2" fmla="*/ 10635515 w 10635515"/>
              <a:gd name="connsiteY2" fmla="*/ 0 h 174239"/>
              <a:gd name="connsiteX3" fmla="*/ 10224620 w 10635515"/>
              <a:gd name="connsiteY3" fmla="*/ 173506 h 174239"/>
              <a:gd name="connsiteX4" fmla="*/ 239 w 10635515"/>
              <a:gd name="connsiteY4" fmla="*/ 174239 h 174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35515" h="174239">
                <a:moveTo>
                  <a:pt x="239" y="174239"/>
                </a:moveTo>
                <a:cubicBezTo>
                  <a:pt x="-932" y="119394"/>
                  <a:pt x="2659" y="59788"/>
                  <a:pt x="1488" y="4943"/>
                </a:cubicBezTo>
                <a:lnTo>
                  <a:pt x="10635515" y="0"/>
                </a:lnTo>
                <a:lnTo>
                  <a:pt x="10224620" y="173506"/>
                </a:lnTo>
                <a:lnTo>
                  <a:pt x="239" y="174239"/>
                </a:lnTo>
                <a:close/>
              </a:path>
            </a:pathLst>
          </a:custGeom>
          <a:pattFill prst="pct70">
            <a:fgClr>
              <a:schemeClr val="bg1">
                <a:lumMod val="75000"/>
              </a:schemeClr>
            </a:fgClr>
            <a:bgClr>
              <a:schemeClr val="bg1"/>
            </a:bgClr>
          </a:patt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dirty="0">
              <a:solidFill>
                <a:prstClr val="black"/>
              </a:solidFill>
            </a:endParaRPr>
          </a:p>
        </p:txBody>
      </p:sp>
      <p:sp>
        <p:nvSpPr>
          <p:cNvPr id="11" name="Parallelogram 10"/>
          <p:cNvSpPr/>
          <p:nvPr/>
        </p:nvSpPr>
        <p:spPr>
          <a:xfrm>
            <a:off x="10360480" y="6519067"/>
            <a:ext cx="1831520" cy="330199"/>
          </a:xfrm>
          <a:custGeom>
            <a:avLst/>
            <a:gdLst>
              <a:gd name="connsiteX0" fmla="*/ 0 w 1983938"/>
              <a:gd name="connsiteY0" fmla="*/ 166914 h 166914"/>
              <a:gd name="connsiteX1" fmla="*/ 41729 w 1983938"/>
              <a:gd name="connsiteY1" fmla="*/ 0 h 166914"/>
              <a:gd name="connsiteX2" fmla="*/ 1983938 w 1983938"/>
              <a:gd name="connsiteY2" fmla="*/ 0 h 166914"/>
              <a:gd name="connsiteX3" fmla="*/ 1942210 w 1983938"/>
              <a:gd name="connsiteY3" fmla="*/ 166914 h 166914"/>
              <a:gd name="connsiteX4" fmla="*/ 0 w 1983938"/>
              <a:gd name="connsiteY4" fmla="*/ 166914 h 166914"/>
              <a:gd name="connsiteX0" fmla="*/ 0 w 1942210"/>
              <a:gd name="connsiteY0" fmla="*/ 166914 h 166914"/>
              <a:gd name="connsiteX1" fmla="*/ 41729 w 1942210"/>
              <a:gd name="connsiteY1" fmla="*/ 0 h 166914"/>
              <a:gd name="connsiteX2" fmla="*/ 1910120 w 1942210"/>
              <a:gd name="connsiteY2" fmla="*/ 0 h 166914"/>
              <a:gd name="connsiteX3" fmla="*/ 1942210 w 1942210"/>
              <a:gd name="connsiteY3" fmla="*/ 166914 h 166914"/>
              <a:gd name="connsiteX4" fmla="*/ 0 w 1942210"/>
              <a:gd name="connsiteY4" fmla="*/ 166914 h 166914"/>
              <a:gd name="connsiteX0" fmla="*/ 0 w 1913635"/>
              <a:gd name="connsiteY0" fmla="*/ 166914 h 166914"/>
              <a:gd name="connsiteX1" fmla="*/ 41729 w 1913635"/>
              <a:gd name="connsiteY1" fmla="*/ 0 h 166914"/>
              <a:gd name="connsiteX2" fmla="*/ 1910120 w 1913635"/>
              <a:gd name="connsiteY2" fmla="*/ 0 h 166914"/>
              <a:gd name="connsiteX3" fmla="*/ 1913635 w 1913635"/>
              <a:gd name="connsiteY3" fmla="*/ 166914 h 166914"/>
              <a:gd name="connsiteX4" fmla="*/ 0 w 1913635"/>
              <a:gd name="connsiteY4" fmla="*/ 166914 h 166914"/>
              <a:gd name="connsiteX0" fmla="*/ 0 w 1913635"/>
              <a:gd name="connsiteY0" fmla="*/ 170187 h 170187"/>
              <a:gd name="connsiteX1" fmla="*/ 352879 w 1913635"/>
              <a:gd name="connsiteY1" fmla="*/ 0 h 170187"/>
              <a:gd name="connsiteX2" fmla="*/ 1910120 w 1913635"/>
              <a:gd name="connsiteY2" fmla="*/ 3273 h 170187"/>
              <a:gd name="connsiteX3" fmla="*/ 1913635 w 1913635"/>
              <a:gd name="connsiteY3" fmla="*/ 170187 h 170187"/>
              <a:gd name="connsiteX4" fmla="*/ 0 w 1913635"/>
              <a:gd name="connsiteY4" fmla="*/ 170187 h 1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635" h="170187">
                <a:moveTo>
                  <a:pt x="0" y="170187"/>
                </a:moveTo>
                <a:lnTo>
                  <a:pt x="352879" y="0"/>
                </a:lnTo>
                <a:lnTo>
                  <a:pt x="1910120" y="3273"/>
                </a:lnTo>
                <a:cubicBezTo>
                  <a:pt x="1911292" y="58911"/>
                  <a:pt x="1912463" y="114549"/>
                  <a:pt x="1913635" y="170187"/>
                </a:cubicBezTo>
                <a:lnTo>
                  <a:pt x="0" y="170187"/>
                </a:lnTo>
                <a:close/>
              </a:path>
            </a:pathLst>
          </a:custGeom>
          <a:pattFill prst="pct70">
            <a:fgClr>
              <a:schemeClr val="accent4"/>
            </a:fgClr>
            <a:bgClr>
              <a:schemeClr val="bg1"/>
            </a:bgClr>
          </a:patt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sp>
        <p:nvSpPr>
          <p:cNvPr id="13" name="Parallelogram 12"/>
          <p:cNvSpPr/>
          <p:nvPr/>
        </p:nvSpPr>
        <p:spPr>
          <a:xfrm>
            <a:off x="9680574" y="6524623"/>
            <a:ext cx="841376" cy="330201"/>
          </a:xfrm>
          <a:custGeom>
            <a:avLst/>
            <a:gdLst>
              <a:gd name="connsiteX0" fmla="*/ 0 w 812801"/>
              <a:gd name="connsiteY0" fmla="*/ 333376 h 333376"/>
              <a:gd name="connsiteX1" fmla="*/ 83344 w 812801"/>
              <a:gd name="connsiteY1" fmla="*/ 0 h 333376"/>
              <a:gd name="connsiteX2" fmla="*/ 812801 w 812801"/>
              <a:gd name="connsiteY2" fmla="*/ 0 h 333376"/>
              <a:gd name="connsiteX3" fmla="*/ 729457 w 812801"/>
              <a:gd name="connsiteY3" fmla="*/ 333376 h 333376"/>
              <a:gd name="connsiteX4" fmla="*/ 0 w 812801"/>
              <a:gd name="connsiteY4" fmla="*/ 333376 h 333376"/>
              <a:gd name="connsiteX0" fmla="*/ 0 w 1111251"/>
              <a:gd name="connsiteY0" fmla="*/ 330201 h 333376"/>
              <a:gd name="connsiteX1" fmla="*/ 381794 w 1111251"/>
              <a:gd name="connsiteY1" fmla="*/ 0 h 333376"/>
              <a:gd name="connsiteX2" fmla="*/ 1111251 w 1111251"/>
              <a:gd name="connsiteY2" fmla="*/ 0 h 333376"/>
              <a:gd name="connsiteX3" fmla="*/ 1027907 w 1111251"/>
              <a:gd name="connsiteY3" fmla="*/ 333376 h 333376"/>
              <a:gd name="connsiteX4" fmla="*/ 0 w 1111251"/>
              <a:gd name="connsiteY4" fmla="*/ 330201 h 333376"/>
              <a:gd name="connsiteX0" fmla="*/ 0 w 1111251"/>
              <a:gd name="connsiteY0" fmla="*/ 330201 h 330201"/>
              <a:gd name="connsiteX1" fmla="*/ 381794 w 1111251"/>
              <a:gd name="connsiteY1" fmla="*/ 0 h 330201"/>
              <a:gd name="connsiteX2" fmla="*/ 1111251 w 1111251"/>
              <a:gd name="connsiteY2" fmla="*/ 0 h 330201"/>
              <a:gd name="connsiteX3" fmla="*/ 805657 w 1111251"/>
              <a:gd name="connsiteY3" fmla="*/ 320676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815976"/>
              <a:gd name="connsiteY0" fmla="*/ 330201 h 330201"/>
              <a:gd name="connsiteX1" fmla="*/ 381794 w 815976"/>
              <a:gd name="connsiteY1" fmla="*/ 0 h 330201"/>
              <a:gd name="connsiteX2" fmla="*/ 815976 w 815976"/>
              <a:gd name="connsiteY2" fmla="*/ 0 h 330201"/>
              <a:gd name="connsiteX3" fmla="*/ 450057 w 815976"/>
              <a:gd name="connsiteY3" fmla="*/ 330201 h 330201"/>
              <a:gd name="connsiteX4" fmla="*/ 0 w 815976"/>
              <a:gd name="connsiteY4" fmla="*/ 330201 h 330201"/>
              <a:gd name="connsiteX0" fmla="*/ 0 w 841376"/>
              <a:gd name="connsiteY0" fmla="*/ 330201 h 330201"/>
              <a:gd name="connsiteX1" fmla="*/ 381794 w 841376"/>
              <a:gd name="connsiteY1" fmla="*/ 0 h 330201"/>
              <a:gd name="connsiteX2" fmla="*/ 841376 w 841376"/>
              <a:gd name="connsiteY2" fmla="*/ 0 h 330201"/>
              <a:gd name="connsiteX3" fmla="*/ 450057 w 841376"/>
              <a:gd name="connsiteY3" fmla="*/ 330201 h 330201"/>
              <a:gd name="connsiteX4" fmla="*/ 0 w 841376"/>
              <a:gd name="connsiteY4" fmla="*/ 330201 h 33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376" h="330201">
                <a:moveTo>
                  <a:pt x="0" y="330201"/>
                </a:moveTo>
                <a:lnTo>
                  <a:pt x="381794" y="0"/>
                </a:lnTo>
                <a:lnTo>
                  <a:pt x="841376" y="0"/>
                </a:lnTo>
                <a:lnTo>
                  <a:pt x="450057" y="330201"/>
                </a:lnTo>
                <a:lnTo>
                  <a:pt x="0" y="330201"/>
                </a:lnTo>
                <a:close/>
              </a:path>
            </a:pathLst>
          </a:custGeom>
          <a:pattFill prst="pct70">
            <a:fgClr>
              <a:schemeClr val="accent5">
                <a:lumMod val="50000"/>
              </a:schemeClr>
            </a:fgClr>
            <a:bgClr>
              <a:schemeClr val="bg1"/>
            </a:bgClr>
          </a:patt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prstClr val="white"/>
              </a:solidFill>
            </a:endParaRPr>
          </a:p>
        </p:txBody>
      </p:sp>
      <p:sp>
        <p:nvSpPr>
          <p:cNvPr id="3" name="TextBox 2">
            <a:extLst>
              <a:ext uri="{FF2B5EF4-FFF2-40B4-BE49-F238E27FC236}">
                <a16:creationId xmlns:a16="http://schemas.microsoft.com/office/drawing/2014/main" id="{306EBDAB-6567-4BB5-A72D-B8C120B081C9}"/>
              </a:ext>
            </a:extLst>
          </p:cNvPr>
          <p:cNvSpPr txBox="1"/>
          <p:nvPr/>
        </p:nvSpPr>
        <p:spPr>
          <a:xfrm>
            <a:off x="30144" y="6484140"/>
            <a:ext cx="12161855" cy="373859"/>
          </a:xfrm>
          <a:prstGeom prst="rect">
            <a:avLst/>
          </a:prstGeom>
          <a:noFill/>
        </p:spPr>
        <p:txBody>
          <a:bodyPr wrap="square" rtlCol="0" anchor="ctr">
            <a:noAutofit/>
          </a:bodyPr>
          <a:lstStyle/>
          <a:p>
            <a:pPr indent="361950"/>
            <a:endParaRPr lang="en-ZA" sz="1000" b="1" dirty="0">
              <a:solidFill>
                <a:prstClr val="black"/>
              </a:solidFill>
            </a:endParaRPr>
          </a:p>
        </p:txBody>
      </p:sp>
      <p:sp>
        <p:nvSpPr>
          <p:cNvPr id="5" name="Slide Number Placeholder 4">
            <a:extLst>
              <a:ext uri="{FF2B5EF4-FFF2-40B4-BE49-F238E27FC236}">
                <a16:creationId xmlns:a16="http://schemas.microsoft.com/office/drawing/2014/main" id="{A987B35D-F68B-4006-AC19-5A526609671C}"/>
              </a:ext>
            </a:extLst>
          </p:cNvPr>
          <p:cNvSpPr>
            <a:spLocks noGrp="1"/>
          </p:cNvSpPr>
          <p:nvPr>
            <p:ph type="sldNum" sz="quarter" idx="12"/>
          </p:nvPr>
        </p:nvSpPr>
        <p:spPr>
          <a:xfrm>
            <a:off x="9448800" y="6484141"/>
            <a:ext cx="2743200" cy="365125"/>
          </a:xfrm>
        </p:spPr>
        <p:txBody>
          <a:bodyPr anchor="ctr"/>
          <a:lstStyle/>
          <a:p>
            <a:fld id="{87102F09-8F7D-4EC1-9AE5-82CA77F49212}" type="slidenum">
              <a:rPr lang="en-ZA" b="1" smtClean="0">
                <a:solidFill>
                  <a:prstClr val="black"/>
                </a:solidFill>
              </a:rPr>
              <a:pPr/>
              <a:t>20</a:t>
            </a:fld>
            <a:endParaRPr lang="en-ZA" b="1" dirty="0">
              <a:solidFill>
                <a:prstClr val="black"/>
              </a:solidFill>
            </a:endParaRPr>
          </a:p>
        </p:txBody>
      </p:sp>
      <p:pic>
        <p:nvPicPr>
          <p:cNvPr id="2" name="Picture 1">
            <a:extLst>
              <a:ext uri="{FF2B5EF4-FFF2-40B4-BE49-F238E27FC236}">
                <a16:creationId xmlns:a16="http://schemas.microsoft.com/office/drawing/2014/main" id="{CA4A3DFF-4291-4186-B1F4-C6BE8A8B12A9}"/>
              </a:ext>
            </a:extLst>
          </p:cNvPr>
          <p:cNvPicPr>
            <a:picLocks noChangeAspect="1"/>
          </p:cNvPicPr>
          <p:nvPr/>
        </p:nvPicPr>
        <p:blipFill>
          <a:blip r:embed="rId2"/>
          <a:stretch>
            <a:fillRect/>
          </a:stretch>
        </p:blipFill>
        <p:spPr>
          <a:xfrm>
            <a:off x="-2" y="811369"/>
            <a:ext cx="10775950" cy="4908550"/>
          </a:xfrm>
          <a:prstGeom prst="rect">
            <a:avLst/>
          </a:prstGeom>
        </p:spPr>
      </p:pic>
    </p:spTree>
    <p:extLst>
      <p:ext uri="{BB962C8B-B14F-4D97-AF65-F5344CB8AC3E}">
        <p14:creationId xmlns:p14="http://schemas.microsoft.com/office/powerpoint/2010/main" val="35166584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1" y="5646"/>
            <a:ext cx="12192001" cy="805723"/>
          </a:xfrm>
          <a:prstGeom prst="rect">
            <a:avLst/>
          </a:prstGeom>
          <a:solidFill>
            <a:srgbClr val="00266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rtlCol="0" anchor="ctr">
            <a:noAutofit/>
            <a:scene3d>
              <a:camera prst="orthographicFront"/>
              <a:lightRig rig="soft" dir="t"/>
            </a:scene3d>
            <a:sp3d prstMaterial="softEdge">
              <a:bevelT w="25400" h="25400"/>
            </a:sp3d>
          </a:bodyPr>
          <a:lstStyle>
            <a:lvl1pPr algn="r" rtl="0" eaLnBrk="1" latinLnBrk="0" hangingPunct="1">
              <a:spcBef>
                <a:spcPct val="0"/>
              </a:spcBef>
              <a:buNone/>
              <a:defRPr kumimoji="0" sz="3200" b="1" kern="1200">
                <a:solidFill>
                  <a:srgbClr val="9A9B9C"/>
                </a:solidFill>
                <a:effectLst>
                  <a:outerShdw blurRad="31750" dist="25400" dir="5400000" algn="tl" rotWithShape="0">
                    <a:srgbClr val="000000">
                      <a:alpha val="25000"/>
                    </a:srgbClr>
                  </a:outerShdw>
                </a:effectLst>
                <a:latin typeface="+mn-lt"/>
                <a:ea typeface="+mj-ea"/>
                <a:cs typeface="+mj-cs"/>
              </a:defRPr>
            </a:lvl1pPr>
            <a:lvl2pPr>
              <a:defRPr/>
            </a:lvl2pPr>
            <a:lvl3pPr>
              <a:defRPr/>
            </a:lvl3pPr>
            <a:lvl4pPr>
              <a:defRPr/>
            </a:lvl4pPr>
            <a:lvl5pPr>
              <a:defRPr/>
            </a:lvl5pPr>
            <a:lvl6pPr>
              <a:defRPr/>
            </a:lvl6pPr>
            <a:lvl7pPr>
              <a:defRPr/>
            </a:lvl7pPr>
            <a:lvl8pPr>
              <a:defRPr/>
            </a:lvl8pPr>
            <a:lvl9pPr>
              <a:defRPr/>
            </a:lvl9pPr>
            <a:extLst/>
          </a:lstStyle>
          <a:p>
            <a:pPr marL="354013" algn="l"/>
            <a:r>
              <a:rPr lang="en-US" sz="2400" kern="0" dirty="0">
                <a:solidFill>
                  <a:prstClr val="white"/>
                </a:solidFill>
                <a:effectLst/>
              </a:rPr>
              <a:t>PROGRAMME </a:t>
            </a:r>
            <a:r>
              <a:rPr lang="en-US" sz="2400" kern="0" dirty="0" err="1">
                <a:solidFill>
                  <a:prstClr val="white"/>
                </a:solidFill>
                <a:effectLst/>
              </a:rPr>
              <a:t>5b</a:t>
            </a:r>
            <a:r>
              <a:rPr lang="en-US" sz="2400" kern="0" dirty="0">
                <a:solidFill>
                  <a:prstClr val="white"/>
                </a:solidFill>
                <a:effectLst/>
              </a:rPr>
              <a:t> – AFFORDABLE HOUSING PROGRAMME  </a:t>
            </a:r>
          </a:p>
        </p:txBody>
      </p:sp>
      <p:sp>
        <p:nvSpPr>
          <p:cNvPr id="8" name="Parallelogram 7"/>
          <p:cNvSpPr/>
          <p:nvPr/>
        </p:nvSpPr>
        <p:spPr>
          <a:xfrm>
            <a:off x="-2" y="6519067"/>
            <a:ext cx="9871077" cy="335757"/>
          </a:xfrm>
          <a:custGeom>
            <a:avLst/>
            <a:gdLst>
              <a:gd name="connsiteX0" fmla="*/ 0 w 10188575"/>
              <a:gd name="connsiteY0" fmla="*/ 166915 h 166915"/>
              <a:gd name="connsiteX1" fmla="*/ 41729 w 10188575"/>
              <a:gd name="connsiteY1" fmla="*/ 0 h 166915"/>
              <a:gd name="connsiteX2" fmla="*/ 10188575 w 10188575"/>
              <a:gd name="connsiteY2" fmla="*/ 0 h 166915"/>
              <a:gd name="connsiteX3" fmla="*/ 10146846 w 10188575"/>
              <a:gd name="connsiteY3" fmla="*/ 166915 h 166915"/>
              <a:gd name="connsiteX4" fmla="*/ 0 w 10188575"/>
              <a:gd name="connsiteY4" fmla="*/ 166915 h 166915"/>
              <a:gd name="connsiteX0" fmla="*/ 17802 w 10146846"/>
              <a:gd name="connsiteY0" fmla="*/ 166915 h 166915"/>
              <a:gd name="connsiteX1" fmla="*/ 0 w 10146846"/>
              <a:gd name="connsiteY1" fmla="*/ 0 h 166915"/>
              <a:gd name="connsiteX2" fmla="*/ 10146846 w 10146846"/>
              <a:gd name="connsiteY2" fmla="*/ 0 h 166915"/>
              <a:gd name="connsiteX3" fmla="*/ 10105117 w 10146846"/>
              <a:gd name="connsiteY3" fmla="*/ 166915 h 166915"/>
              <a:gd name="connsiteX4" fmla="*/ 17802 w 10146846"/>
              <a:gd name="connsiteY4" fmla="*/ 166915 h 166915"/>
              <a:gd name="connsiteX0" fmla="*/ 3514 w 10132558"/>
              <a:gd name="connsiteY0" fmla="*/ 166915 h 166915"/>
              <a:gd name="connsiteX1" fmla="*/ 0 w 10132558"/>
              <a:gd name="connsiteY1" fmla="*/ 2381 h 166915"/>
              <a:gd name="connsiteX2" fmla="*/ 10132558 w 10132558"/>
              <a:gd name="connsiteY2" fmla="*/ 0 h 166915"/>
              <a:gd name="connsiteX3" fmla="*/ 10090829 w 10132558"/>
              <a:gd name="connsiteY3" fmla="*/ 166915 h 166915"/>
              <a:gd name="connsiteX4" fmla="*/ 3514 w 10132558"/>
              <a:gd name="connsiteY4" fmla="*/ 166915 h 166915"/>
              <a:gd name="connsiteX0" fmla="*/ 154 w 10129198"/>
              <a:gd name="connsiteY0" fmla="*/ 166915 h 166915"/>
              <a:gd name="connsiteX1" fmla="*/ 3784 w 10129198"/>
              <a:gd name="connsiteY1" fmla="*/ 0 h 166915"/>
              <a:gd name="connsiteX2" fmla="*/ 10129198 w 10129198"/>
              <a:gd name="connsiteY2" fmla="*/ 0 h 166915"/>
              <a:gd name="connsiteX3" fmla="*/ 10087469 w 10129198"/>
              <a:gd name="connsiteY3" fmla="*/ 166915 h 166915"/>
              <a:gd name="connsiteX4" fmla="*/ 154 w 10129198"/>
              <a:gd name="connsiteY4" fmla="*/ 166915 h 166915"/>
              <a:gd name="connsiteX0" fmla="*/ 239 w 10126902"/>
              <a:gd name="connsiteY0" fmla="*/ 169296 h 169296"/>
              <a:gd name="connsiteX1" fmla="*/ 1488 w 10126902"/>
              <a:gd name="connsiteY1" fmla="*/ 0 h 169296"/>
              <a:gd name="connsiteX2" fmla="*/ 10126902 w 10126902"/>
              <a:gd name="connsiteY2" fmla="*/ 0 h 169296"/>
              <a:gd name="connsiteX3" fmla="*/ 10085173 w 10126902"/>
              <a:gd name="connsiteY3" fmla="*/ 166915 h 169296"/>
              <a:gd name="connsiteX4" fmla="*/ 239 w 10126902"/>
              <a:gd name="connsiteY4" fmla="*/ 169296 h 169296"/>
              <a:gd name="connsiteX0" fmla="*/ 239 w 10425352"/>
              <a:gd name="connsiteY0" fmla="*/ 175887 h 175887"/>
              <a:gd name="connsiteX1" fmla="*/ 1488 w 10425352"/>
              <a:gd name="connsiteY1" fmla="*/ 6591 h 175887"/>
              <a:gd name="connsiteX2" fmla="*/ 10425352 w 10425352"/>
              <a:gd name="connsiteY2" fmla="*/ 0 h 175887"/>
              <a:gd name="connsiteX3" fmla="*/ 10085173 w 10425352"/>
              <a:gd name="connsiteY3" fmla="*/ 173506 h 175887"/>
              <a:gd name="connsiteX4" fmla="*/ 239 w 10425352"/>
              <a:gd name="connsiteY4" fmla="*/ 175887 h 175887"/>
              <a:gd name="connsiteX0" fmla="*/ 239 w 10635515"/>
              <a:gd name="connsiteY0" fmla="*/ 179182 h 179182"/>
              <a:gd name="connsiteX1" fmla="*/ 1488 w 10635515"/>
              <a:gd name="connsiteY1" fmla="*/ 9886 h 179182"/>
              <a:gd name="connsiteX2" fmla="*/ 10635515 w 10635515"/>
              <a:gd name="connsiteY2" fmla="*/ 0 h 179182"/>
              <a:gd name="connsiteX3" fmla="*/ 10085173 w 10635515"/>
              <a:gd name="connsiteY3" fmla="*/ 176801 h 179182"/>
              <a:gd name="connsiteX4" fmla="*/ 239 w 10635515"/>
              <a:gd name="connsiteY4" fmla="*/ 179182 h 179182"/>
              <a:gd name="connsiteX0" fmla="*/ 239 w 10635515"/>
              <a:gd name="connsiteY0" fmla="*/ 179182 h 179182"/>
              <a:gd name="connsiteX1" fmla="*/ 1488 w 10635515"/>
              <a:gd name="connsiteY1" fmla="*/ 9886 h 179182"/>
              <a:gd name="connsiteX2" fmla="*/ 10635515 w 10635515"/>
              <a:gd name="connsiteY2" fmla="*/ 0 h 179182"/>
              <a:gd name="connsiteX3" fmla="*/ 10224620 w 10635515"/>
              <a:gd name="connsiteY3" fmla="*/ 178449 h 179182"/>
              <a:gd name="connsiteX4" fmla="*/ 239 w 10635515"/>
              <a:gd name="connsiteY4" fmla="*/ 179182 h 179182"/>
              <a:gd name="connsiteX0" fmla="*/ 239 w 10635515"/>
              <a:gd name="connsiteY0" fmla="*/ 174239 h 174239"/>
              <a:gd name="connsiteX1" fmla="*/ 1488 w 10635515"/>
              <a:gd name="connsiteY1" fmla="*/ 4943 h 174239"/>
              <a:gd name="connsiteX2" fmla="*/ 10635515 w 10635515"/>
              <a:gd name="connsiteY2" fmla="*/ 0 h 174239"/>
              <a:gd name="connsiteX3" fmla="*/ 10224620 w 10635515"/>
              <a:gd name="connsiteY3" fmla="*/ 173506 h 174239"/>
              <a:gd name="connsiteX4" fmla="*/ 239 w 10635515"/>
              <a:gd name="connsiteY4" fmla="*/ 174239 h 174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35515" h="174239">
                <a:moveTo>
                  <a:pt x="239" y="174239"/>
                </a:moveTo>
                <a:cubicBezTo>
                  <a:pt x="-932" y="119394"/>
                  <a:pt x="2659" y="59788"/>
                  <a:pt x="1488" y="4943"/>
                </a:cubicBezTo>
                <a:lnTo>
                  <a:pt x="10635515" y="0"/>
                </a:lnTo>
                <a:lnTo>
                  <a:pt x="10224620" y="173506"/>
                </a:lnTo>
                <a:lnTo>
                  <a:pt x="239" y="174239"/>
                </a:lnTo>
                <a:close/>
              </a:path>
            </a:pathLst>
          </a:custGeom>
          <a:pattFill prst="pct70">
            <a:fgClr>
              <a:schemeClr val="bg1">
                <a:lumMod val="75000"/>
              </a:schemeClr>
            </a:fgClr>
            <a:bgClr>
              <a:schemeClr val="bg1"/>
            </a:bgClr>
          </a:patt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dirty="0">
              <a:solidFill>
                <a:prstClr val="black"/>
              </a:solidFill>
            </a:endParaRPr>
          </a:p>
        </p:txBody>
      </p:sp>
      <p:sp>
        <p:nvSpPr>
          <p:cNvPr id="11" name="Parallelogram 10"/>
          <p:cNvSpPr/>
          <p:nvPr/>
        </p:nvSpPr>
        <p:spPr>
          <a:xfrm>
            <a:off x="10360480" y="6519067"/>
            <a:ext cx="1831520" cy="330199"/>
          </a:xfrm>
          <a:custGeom>
            <a:avLst/>
            <a:gdLst>
              <a:gd name="connsiteX0" fmla="*/ 0 w 1983938"/>
              <a:gd name="connsiteY0" fmla="*/ 166914 h 166914"/>
              <a:gd name="connsiteX1" fmla="*/ 41729 w 1983938"/>
              <a:gd name="connsiteY1" fmla="*/ 0 h 166914"/>
              <a:gd name="connsiteX2" fmla="*/ 1983938 w 1983938"/>
              <a:gd name="connsiteY2" fmla="*/ 0 h 166914"/>
              <a:gd name="connsiteX3" fmla="*/ 1942210 w 1983938"/>
              <a:gd name="connsiteY3" fmla="*/ 166914 h 166914"/>
              <a:gd name="connsiteX4" fmla="*/ 0 w 1983938"/>
              <a:gd name="connsiteY4" fmla="*/ 166914 h 166914"/>
              <a:gd name="connsiteX0" fmla="*/ 0 w 1942210"/>
              <a:gd name="connsiteY0" fmla="*/ 166914 h 166914"/>
              <a:gd name="connsiteX1" fmla="*/ 41729 w 1942210"/>
              <a:gd name="connsiteY1" fmla="*/ 0 h 166914"/>
              <a:gd name="connsiteX2" fmla="*/ 1910120 w 1942210"/>
              <a:gd name="connsiteY2" fmla="*/ 0 h 166914"/>
              <a:gd name="connsiteX3" fmla="*/ 1942210 w 1942210"/>
              <a:gd name="connsiteY3" fmla="*/ 166914 h 166914"/>
              <a:gd name="connsiteX4" fmla="*/ 0 w 1942210"/>
              <a:gd name="connsiteY4" fmla="*/ 166914 h 166914"/>
              <a:gd name="connsiteX0" fmla="*/ 0 w 1913635"/>
              <a:gd name="connsiteY0" fmla="*/ 166914 h 166914"/>
              <a:gd name="connsiteX1" fmla="*/ 41729 w 1913635"/>
              <a:gd name="connsiteY1" fmla="*/ 0 h 166914"/>
              <a:gd name="connsiteX2" fmla="*/ 1910120 w 1913635"/>
              <a:gd name="connsiteY2" fmla="*/ 0 h 166914"/>
              <a:gd name="connsiteX3" fmla="*/ 1913635 w 1913635"/>
              <a:gd name="connsiteY3" fmla="*/ 166914 h 166914"/>
              <a:gd name="connsiteX4" fmla="*/ 0 w 1913635"/>
              <a:gd name="connsiteY4" fmla="*/ 166914 h 166914"/>
              <a:gd name="connsiteX0" fmla="*/ 0 w 1913635"/>
              <a:gd name="connsiteY0" fmla="*/ 170187 h 170187"/>
              <a:gd name="connsiteX1" fmla="*/ 352879 w 1913635"/>
              <a:gd name="connsiteY1" fmla="*/ 0 h 170187"/>
              <a:gd name="connsiteX2" fmla="*/ 1910120 w 1913635"/>
              <a:gd name="connsiteY2" fmla="*/ 3273 h 170187"/>
              <a:gd name="connsiteX3" fmla="*/ 1913635 w 1913635"/>
              <a:gd name="connsiteY3" fmla="*/ 170187 h 170187"/>
              <a:gd name="connsiteX4" fmla="*/ 0 w 1913635"/>
              <a:gd name="connsiteY4" fmla="*/ 170187 h 1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635" h="170187">
                <a:moveTo>
                  <a:pt x="0" y="170187"/>
                </a:moveTo>
                <a:lnTo>
                  <a:pt x="352879" y="0"/>
                </a:lnTo>
                <a:lnTo>
                  <a:pt x="1910120" y="3273"/>
                </a:lnTo>
                <a:cubicBezTo>
                  <a:pt x="1911292" y="58911"/>
                  <a:pt x="1912463" y="114549"/>
                  <a:pt x="1913635" y="170187"/>
                </a:cubicBezTo>
                <a:lnTo>
                  <a:pt x="0" y="170187"/>
                </a:lnTo>
                <a:close/>
              </a:path>
            </a:pathLst>
          </a:custGeom>
          <a:pattFill prst="pct70">
            <a:fgClr>
              <a:schemeClr val="accent4"/>
            </a:fgClr>
            <a:bgClr>
              <a:schemeClr val="bg1"/>
            </a:bgClr>
          </a:patt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sp>
        <p:nvSpPr>
          <p:cNvPr id="13" name="Parallelogram 12"/>
          <p:cNvSpPr/>
          <p:nvPr/>
        </p:nvSpPr>
        <p:spPr>
          <a:xfrm>
            <a:off x="9680574" y="6524623"/>
            <a:ext cx="841376" cy="330201"/>
          </a:xfrm>
          <a:custGeom>
            <a:avLst/>
            <a:gdLst>
              <a:gd name="connsiteX0" fmla="*/ 0 w 812801"/>
              <a:gd name="connsiteY0" fmla="*/ 333376 h 333376"/>
              <a:gd name="connsiteX1" fmla="*/ 83344 w 812801"/>
              <a:gd name="connsiteY1" fmla="*/ 0 h 333376"/>
              <a:gd name="connsiteX2" fmla="*/ 812801 w 812801"/>
              <a:gd name="connsiteY2" fmla="*/ 0 h 333376"/>
              <a:gd name="connsiteX3" fmla="*/ 729457 w 812801"/>
              <a:gd name="connsiteY3" fmla="*/ 333376 h 333376"/>
              <a:gd name="connsiteX4" fmla="*/ 0 w 812801"/>
              <a:gd name="connsiteY4" fmla="*/ 333376 h 333376"/>
              <a:gd name="connsiteX0" fmla="*/ 0 w 1111251"/>
              <a:gd name="connsiteY0" fmla="*/ 330201 h 333376"/>
              <a:gd name="connsiteX1" fmla="*/ 381794 w 1111251"/>
              <a:gd name="connsiteY1" fmla="*/ 0 h 333376"/>
              <a:gd name="connsiteX2" fmla="*/ 1111251 w 1111251"/>
              <a:gd name="connsiteY2" fmla="*/ 0 h 333376"/>
              <a:gd name="connsiteX3" fmla="*/ 1027907 w 1111251"/>
              <a:gd name="connsiteY3" fmla="*/ 333376 h 333376"/>
              <a:gd name="connsiteX4" fmla="*/ 0 w 1111251"/>
              <a:gd name="connsiteY4" fmla="*/ 330201 h 333376"/>
              <a:gd name="connsiteX0" fmla="*/ 0 w 1111251"/>
              <a:gd name="connsiteY0" fmla="*/ 330201 h 330201"/>
              <a:gd name="connsiteX1" fmla="*/ 381794 w 1111251"/>
              <a:gd name="connsiteY1" fmla="*/ 0 h 330201"/>
              <a:gd name="connsiteX2" fmla="*/ 1111251 w 1111251"/>
              <a:gd name="connsiteY2" fmla="*/ 0 h 330201"/>
              <a:gd name="connsiteX3" fmla="*/ 805657 w 1111251"/>
              <a:gd name="connsiteY3" fmla="*/ 320676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815976"/>
              <a:gd name="connsiteY0" fmla="*/ 330201 h 330201"/>
              <a:gd name="connsiteX1" fmla="*/ 381794 w 815976"/>
              <a:gd name="connsiteY1" fmla="*/ 0 h 330201"/>
              <a:gd name="connsiteX2" fmla="*/ 815976 w 815976"/>
              <a:gd name="connsiteY2" fmla="*/ 0 h 330201"/>
              <a:gd name="connsiteX3" fmla="*/ 450057 w 815976"/>
              <a:gd name="connsiteY3" fmla="*/ 330201 h 330201"/>
              <a:gd name="connsiteX4" fmla="*/ 0 w 815976"/>
              <a:gd name="connsiteY4" fmla="*/ 330201 h 330201"/>
              <a:gd name="connsiteX0" fmla="*/ 0 w 841376"/>
              <a:gd name="connsiteY0" fmla="*/ 330201 h 330201"/>
              <a:gd name="connsiteX1" fmla="*/ 381794 w 841376"/>
              <a:gd name="connsiteY1" fmla="*/ 0 h 330201"/>
              <a:gd name="connsiteX2" fmla="*/ 841376 w 841376"/>
              <a:gd name="connsiteY2" fmla="*/ 0 h 330201"/>
              <a:gd name="connsiteX3" fmla="*/ 450057 w 841376"/>
              <a:gd name="connsiteY3" fmla="*/ 330201 h 330201"/>
              <a:gd name="connsiteX4" fmla="*/ 0 w 841376"/>
              <a:gd name="connsiteY4" fmla="*/ 330201 h 33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376" h="330201">
                <a:moveTo>
                  <a:pt x="0" y="330201"/>
                </a:moveTo>
                <a:lnTo>
                  <a:pt x="381794" y="0"/>
                </a:lnTo>
                <a:lnTo>
                  <a:pt x="841376" y="0"/>
                </a:lnTo>
                <a:lnTo>
                  <a:pt x="450057" y="330201"/>
                </a:lnTo>
                <a:lnTo>
                  <a:pt x="0" y="330201"/>
                </a:lnTo>
                <a:close/>
              </a:path>
            </a:pathLst>
          </a:custGeom>
          <a:pattFill prst="pct70">
            <a:fgClr>
              <a:schemeClr val="accent5">
                <a:lumMod val="50000"/>
              </a:schemeClr>
            </a:fgClr>
            <a:bgClr>
              <a:schemeClr val="bg1"/>
            </a:bgClr>
          </a:patt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prstClr val="white"/>
              </a:solidFill>
            </a:endParaRPr>
          </a:p>
        </p:txBody>
      </p:sp>
      <p:sp>
        <p:nvSpPr>
          <p:cNvPr id="3" name="TextBox 2">
            <a:extLst>
              <a:ext uri="{FF2B5EF4-FFF2-40B4-BE49-F238E27FC236}">
                <a16:creationId xmlns:a16="http://schemas.microsoft.com/office/drawing/2014/main" id="{306EBDAB-6567-4BB5-A72D-B8C120B081C9}"/>
              </a:ext>
            </a:extLst>
          </p:cNvPr>
          <p:cNvSpPr txBox="1"/>
          <p:nvPr/>
        </p:nvSpPr>
        <p:spPr>
          <a:xfrm>
            <a:off x="30144" y="6484140"/>
            <a:ext cx="12161855" cy="373859"/>
          </a:xfrm>
          <a:prstGeom prst="rect">
            <a:avLst/>
          </a:prstGeom>
          <a:noFill/>
        </p:spPr>
        <p:txBody>
          <a:bodyPr wrap="square" rtlCol="0" anchor="ctr">
            <a:noAutofit/>
          </a:bodyPr>
          <a:lstStyle/>
          <a:p>
            <a:pPr indent="361950"/>
            <a:endParaRPr lang="en-ZA" sz="1000" b="1" dirty="0">
              <a:solidFill>
                <a:prstClr val="black"/>
              </a:solidFill>
            </a:endParaRPr>
          </a:p>
        </p:txBody>
      </p:sp>
      <p:sp>
        <p:nvSpPr>
          <p:cNvPr id="5" name="Slide Number Placeholder 4">
            <a:extLst>
              <a:ext uri="{FF2B5EF4-FFF2-40B4-BE49-F238E27FC236}">
                <a16:creationId xmlns:a16="http://schemas.microsoft.com/office/drawing/2014/main" id="{A987B35D-F68B-4006-AC19-5A526609671C}"/>
              </a:ext>
            </a:extLst>
          </p:cNvPr>
          <p:cNvSpPr>
            <a:spLocks noGrp="1"/>
          </p:cNvSpPr>
          <p:nvPr>
            <p:ph type="sldNum" sz="quarter" idx="12"/>
          </p:nvPr>
        </p:nvSpPr>
        <p:spPr>
          <a:xfrm>
            <a:off x="9448800" y="6484141"/>
            <a:ext cx="2743200" cy="365125"/>
          </a:xfrm>
        </p:spPr>
        <p:txBody>
          <a:bodyPr anchor="ctr"/>
          <a:lstStyle/>
          <a:p>
            <a:fld id="{87102F09-8F7D-4EC1-9AE5-82CA77F49212}" type="slidenum">
              <a:rPr lang="en-ZA" b="1" smtClean="0">
                <a:solidFill>
                  <a:prstClr val="black"/>
                </a:solidFill>
              </a:rPr>
              <a:pPr/>
              <a:t>21</a:t>
            </a:fld>
            <a:endParaRPr lang="en-ZA" b="1" dirty="0">
              <a:solidFill>
                <a:prstClr val="black"/>
              </a:solidFill>
            </a:endParaRPr>
          </a:p>
        </p:txBody>
      </p:sp>
      <p:pic>
        <p:nvPicPr>
          <p:cNvPr id="2" name="Picture 1">
            <a:extLst>
              <a:ext uri="{FF2B5EF4-FFF2-40B4-BE49-F238E27FC236}">
                <a16:creationId xmlns:a16="http://schemas.microsoft.com/office/drawing/2014/main" id="{556E6799-114B-4D53-8113-C2057452A150}"/>
              </a:ext>
            </a:extLst>
          </p:cNvPr>
          <p:cNvPicPr>
            <a:picLocks noChangeAspect="1"/>
          </p:cNvPicPr>
          <p:nvPr/>
        </p:nvPicPr>
        <p:blipFill>
          <a:blip r:embed="rId2"/>
          <a:stretch>
            <a:fillRect/>
          </a:stretch>
        </p:blipFill>
        <p:spPr>
          <a:xfrm>
            <a:off x="-2" y="811369"/>
            <a:ext cx="11042650" cy="4953000"/>
          </a:xfrm>
          <a:prstGeom prst="rect">
            <a:avLst/>
          </a:prstGeom>
        </p:spPr>
      </p:pic>
    </p:spTree>
    <p:extLst>
      <p:ext uri="{BB962C8B-B14F-4D97-AF65-F5344CB8AC3E}">
        <p14:creationId xmlns:p14="http://schemas.microsoft.com/office/powerpoint/2010/main" val="20283435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1" y="5646"/>
            <a:ext cx="12192001" cy="805723"/>
          </a:xfrm>
          <a:prstGeom prst="rect">
            <a:avLst/>
          </a:prstGeom>
          <a:solidFill>
            <a:srgbClr val="00266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rtlCol="0" anchor="ctr">
            <a:noAutofit/>
            <a:scene3d>
              <a:camera prst="orthographicFront"/>
              <a:lightRig rig="soft" dir="t"/>
            </a:scene3d>
            <a:sp3d prstMaterial="softEdge">
              <a:bevelT w="25400" h="25400"/>
            </a:sp3d>
          </a:bodyPr>
          <a:lstStyle>
            <a:lvl1pPr algn="r" rtl="0" eaLnBrk="1" latinLnBrk="0" hangingPunct="1">
              <a:spcBef>
                <a:spcPct val="0"/>
              </a:spcBef>
              <a:buNone/>
              <a:defRPr kumimoji="0" sz="3200" b="1" kern="1200">
                <a:solidFill>
                  <a:srgbClr val="9A9B9C"/>
                </a:solidFill>
                <a:effectLst>
                  <a:outerShdw blurRad="31750" dist="25400" dir="5400000" algn="tl" rotWithShape="0">
                    <a:srgbClr val="000000">
                      <a:alpha val="25000"/>
                    </a:srgbClr>
                  </a:outerShdw>
                </a:effectLst>
                <a:latin typeface="+mn-lt"/>
                <a:ea typeface="+mj-ea"/>
                <a:cs typeface="+mj-cs"/>
              </a:defRPr>
            </a:lvl1pPr>
            <a:lvl2pPr>
              <a:defRPr/>
            </a:lvl2pPr>
            <a:lvl3pPr>
              <a:defRPr/>
            </a:lvl3pPr>
            <a:lvl4pPr>
              <a:defRPr/>
            </a:lvl4pPr>
            <a:lvl5pPr>
              <a:defRPr/>
            </a:lvl5pPr>
            <a:lvl6pPr>
              <a:defRPr/>
            </a:lvl6pPr>
            <a:lvl7pPr>
              <a:defRPr/>
            </a:lvl7pPr>
            <a:lvl8pPr>
              <a:defRPr/>
            </a:lvl8pPr>
            <a:lvl9pPr>
              <a:defRPr/>
            </a:lvl9pPr>
            <a:extLst/>
          </a:lstStyle>
          <a:p>
            <a:pPr marL="354013" algn="l"/>
            <a:r>
              <a:rPr lang="en-US" sz="2400" kern="0" dirty="0">
                <a:solidFill>
                  <a:prstClr val="white"/>
                </a:solidFill>
                <a:effectLst/>
              </a:rPr>
              <a:t>PROGRAMME 6 – SECTOR TRANSFORMATION </a:t>
            </a:r>
          </a:p>
        </p:txBody>
      </p:sp>
      <p:sp>
        <p:nvSpPr>
          <p:cNvPr id="8" name="Parallelogram 7"/>
          <p:cNvSpPr/>
          <p:nvPr/>
        </p:nvSpPr>
        <p:spPr>
          <a:xfrm>
            <a:off x="-2" y="6519067"/>
            <a:ext cx="9871077" cy="335757"/>
          </a:xfrm>
          <a:custGeom>
            <a:avLst/>
            <a:gdLst>
              <a:gd name="connsiteX0" fmla="*/ 0 w 10188575"/>
              <a:gd name="connsiteY0" fmla="*/ 166915 h 166915"/>
              <a:gd name="connsiteX1" fmla="*/ 41729 w 10188575"/>
              <a:gd name="connsiteY1" fmla="*/ 0 h 166915"/>
              <a:gd name="connsiteX2" fmla="*/ 10188575 w 10188575"/>
              <a:gd name="connsiteY2" fmla="*/ 0 h 166915"/>
              <a:gd name="connsiteX3" fmla="*/ 10146846 w 10188575"/>
              <a:gd name="connsiteY3" fmla="*/ 166915 h 166915"/>
              <a:gd name="connsiteX4" fmla="*/ 0 w 10188575"/>
              <a:gd name="connsiteY4" fmla="*/ 166915 h 166915"/>
              <a:gd name="connsiteX0" fmla="*/ 17802 w 10146846"/>
              <a:gd name="connsiteY0" fmla="*/ 166915 h 166915"/>
              <a:gd name="connsiteX1" fmla="*/ 0 w 10146846"/>
              <a:gd name="connsiteY1" fmla="*/ 0 h 166915"/>
              <a:gd name="connsiteX2" fmla="*/ 10146846 w 10146846"/>
              <a:gd name="connsiteY2" fmla="*/ 0 h 166915"/>
              <a:gd name="connsiteX3" fmla="*/ 10105117 w 10146846"/>
              <a:gd name="connsiteY3" fmla="*/ 166915 h 166915"/>
              <a:gd name="connsiteX4" fmla="*/ 17802 w 10146846"/>
              <a:gd name="connsiteY4" fmla="*/ 166915 h 166915"/>
              <a:gd name="connsiteX0" fmla="*/ 3514 w 10132558"/>
              <a:gd name="connsiteY0" fmla="*/ 166915 h 166915"/>
              <a:gd name="connsiteX1" fmla="*/ 0 w 10132558"/>
              <a:gd name="connsiteY1" fmla="*/ 2381 h 166915"/>
              <a:gd name="connsiteX2" fmla="*/ 10132558 w 10132558"/>
              <a:gd name="connsiteY2" fmla="*/ 0 h 166915"/>
              <a:gd name="connsiteX3" fmla="*/ 10090829 w 10132558"/>
              <a:gd name="connsiteY3" fmla="*/ 166915 h 166915"/>
              <a:gd name="connsiteX4" fmla="*/ 3514 w 10132558"/>
              <a:gd name="connsiteY4" fmla="*/ 166915 h 166915"/>
              <a:gd name="connsiteX0" fmla="*/ 154 w 10129198"/>
              <a:gd name="connsiteY0" fmla="*/ 166915 h 166915"/>
              <a:gd name="connsiteX1" fmla="*/ 3784 w 10129198"/>
              <a:gd name="connsiteY1" fmla="*/ 0 h 166915"/>
              <a:gd name="connsiteX2" fmla="*/ 10129198 w 10129198"/>
              <a:gd name="connsiteY2" fmla="*/ 0 h 166915"/>
              <a:gd name="connsiteX3" fmla="*/ 10087469 w 10129198"/>
              <a:gd name="connsiteY3" fmla="*/ 166915 h 166915"/>
              <a:gd name="connsiteX4" fmla="*/ 154 w 10129198"/>
              <a:gd name="connsiteY4" fmla="*/ 166915 h 166915"/>
              <a:gd name="connsiteX0" fmla="*/ 239 w 10126902"/>
              <a:gd name="connsiteY0" fmla="*/ 169296 h 169296"/>
              <a:gd name="connsiteX1" fmla="*/ 1488 w 10126902"/>
              <a:gd name="connsiteY1" fmla="*/ 0 h 169296"/>
              <a:gd name="connsiteX2" fmla="*/ 10126902 w 10126902"/>
              <a:gd name="connsiteY2" fmla="*/ 0 h 169296"/>
              <a:gd name="connsiteX3" fmla="*/ 10085173 w 10126902"/>
              <a:gd name="connsiteY3" fmla="*/ 166915 h 169296"/>
              <a:gd name="connsiteX4" fmla="*/ 239 w 10126902"/>
              <a:gd name="connsiteY4" fmla="*/ 169296 h 169296"/>
              <a:gd name="connsiteX0" fmla="*/ 239 w 10425352"/>
              <a:gd name="connsiteY0" fmla="*/ 175887 h 175887"/>
              <a:gd name="connsiteX1" fmla="*/ 1488 w 10425352"/>
              <a:gd name="connsiteY1" fmla="*/ 6591 h 175887"/>
              <a:gd name="connsiteX2" fmla="*/ 10425352 w 10425352"/>
              <a:gd name="connsiteY2" fmla="*/ 0 h 175887"/>
              <a:gd name="connsiteX3" fmla="*/ 10085173 w 10425352"/>
              <a:gd name="connsiteY3" fmla="*/ 173506 h 175887"/>
              <a:gd name="connsiteX4" fmla="*/ 239 w 10425352"/>
              <a:gd name="connsiteY4" fmla="*/ 175887 h 175887"/>
              <a:gd name="connsiteX0" fmla="*/ 239 w 10635515"/>
              <a:gd name="connsiteY0" fmla="*/ 179182 h 179182"/>
              <a:gd name="connsiteX1" fmla="*/ 1488 w 10635515"/>
              <a:gd name="connsiteY1" fmla="*/ 9886 h 179182"/>
              <a:gd name="connsiteX2" fmla="*/ 10635515 w 10635515"/>
              <a:gd name="connsiteY2" fmla="*/ 0 h 179182"/>
              <a:gd name="connsiteX3" fmla="*/ 10085173 w 10635515"/>
              <a:gd name="connsiteY3" fmla="*/ 176801 h 179182"/>
              <a:gd name="connsiteX4" fmla="*/ 239 w 10635515"/>
              <a:gd name="connsiteY4" fmla="*/ 179182 h 179182"/>
              <a:gd name="connsiteX0" fmla="*/ 239 w 10635515"/>
              <a:gd name="connsiteY0" fmla="*/ 179182 h 179182"/>
              <a:gd name="connsiteX1" fmla="*/ 1488 w 10635515"/>
              <a:gd name="connsiteY1" fmla="*/ 9886 h 179182"/>
              <a:gd name="connsiteX2" fmla="*/ 10635515 w 10635515"/>
              <a:gd name="connsiteY2" fmla="*/ 0 h 179182"/>
              <a:gd name="connsiteX3" fmla="*/ 10224620 w 10635515"/>
              <a:gd name="connsiteY3" fmla="*/ 178449 h 179182"/>
              <a:gd name="connsiteX4" fmla="*/ 239 w 10635515"/>
              <a:gd name="connsiteY4" fmla="*/ 179182 h 179182"/>
              <a:gd name="connsiteX0" fmla="*/ 239 w 10635515"/>
              <a:gd name="connsiteY0" fmla="*/ 174239 h 174239"/>
              <a:gd name="connsiteX1" fmla="*/ 1488 w 10635515"/>
              <a:gd name="connsiteY1" fmla="*/ 4943 h 174239"/>
              <a:gd name="connsiteX2" fmla="*/ 10635515 w 10635515"/>
              <a:gd name="connsiteY2" fmla="*/ 0 h 174239"/>
              <a:gd name="connsiteX3" fmla="*/ 10224620 w 10635515"/>
              <a:gd name="connsiteY3" fmla="*/ 173506 h 174239"/>
              <a:gd name="connsiteX4" fmla="*/ 239 w 10635515"/>
              <a:gd name="connsiteY4" fmla="*/ 174239 h 174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35515" h="174239">
                <a:moveTo>
                  <a:pt x="239" y="174239"/>
                </a:moveTo>
                <a:cubicBezTo>
                  <a:pt x="-932" y="119394"/>
                  <a:pt x="2659" y="59788"/>
                  <a:pt x="1488" y="4943"/>
                </a:cubicBezTo>
                <a:lnTo>
                  <a:pt x="10635515" y="0"/>
                </a:lnTo>
                <a:lnTo>
                  <a:pt x="10224620" y="173506"/>
                </a:lnTo>
                <a:lnTo>
                  <a:pt x="239" y="174239"/>
                </a:lnTo>
                <a:close/>
              </a:path>
            </a:pathLst>
          </a:custGeom>
          <a:pattFill prst="pct70">
            <a:fgClr>
              <a:schemeClr val="bg1">
                <a:lumMod val="75000"/>
              </a:schemeClr>
            </a:fgClr>
            <a:bgClr>
              <a:schemeClr val="bg1"/>
            </a:bgClr>
          </a:patt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dirty="0">
              <a:solidFill>
                <a:prstClr val="black"/>
              </a:solidFill>
            </a:endParaRPr>
          </a:p>
        </p:txBody>
      </p:sp>
      <p:sp>
        <p:nvSpPr>
          <p:cNvPr id="11" name="Parallelogram 10"/>
          <p:cNvSpPr/>
          <p:nvPr/>
        </p:nvSpPr>
        <p:spPr>
          <a:xfrm>
            <a:off x="10360480" y="6519067"/>
            <a:ext cx="1831520" cy="330199"/>
          </a:xfrm>
          <a:custGeom>
            <a:avLst/>
            <a:gdLst>
              <a:gd name="connsiteX0" fmla="*/ 0 w 1983938"/>
              <a:gd name="connsiteY0" fmla="*/ 166914 h 166914"/>
              <a:gd name="connsiteX1" fmla="*/ 41729 w 1983938"/>
              <a:gd name="connsiteY1" fmla="*/ 0 h 166914"/>
              <a:gd name="connsiteX2" fmla="*/ 1983938 w 1983938"/>
              <a:gd name="connsiteY2" fmla="*/ 0 h 166914"/>
              <a:gd name="connsiteX3" fmla="*/ 1942210 w 1983938"/>
              <a:gd name="connsiteY3" fmla="*/ 166914 h 166914"/>
              <a:gd name="connsiteX4" fmla="*/ 0 w 1983938"/>
              <a:gd name="connsiteY4" fmla="*/ 166914 h 166914"/>
              <a:gd name="connsiteX0" fmla="*/ 0 w 1942210"/>
              <a:gd name="connsiteY0" fmla="*/ 166914 h 166914"/>
              <a:gd name="connsiteX1" fmla="*/ 41729 w 1942210"/>
              <a:gd name="connsiteY1" fmla="*/ 0 h 166914"/>
              <a:gd name="connsiteX2" fmla="*/ 1910120 w 1942210"/>
              <a:gd name="connsiteY2" fmla="*/ 0 h 166914"/>
              <a:gd name="connsiteX3" fmla="*/ 1942210 w 1942210"/>
              <a:gd name="connsiteY3" fmla="*/ 166914 h 166914"/>
              <a:gd name="connsiteX4" fmla="*/ 0 w 1942210"/>
              <a:gd name="connsiteY4" fmla="*/ 166914 h 166914"/>
              <a:gd name="connsiteX0" fmla="*/ 0 w 1913635"/>
              <a:gd name="connsiteY0" fmla="*/ 166914 h 166914"/>
              <a:gd name="connsiteX1" fmla="*/ 41729 w 1913635"/>
              <a:gd name="connsiteY1" fmla="*/ 0 h 166914"/>
              <a:gd name="connsiteX2" fmla="*/ 1910120 w 1913635"/>
              <a:gd name="connsiteY2" fmla="*/ 0 h 166914"/>
              <a:gd name="connsiteX3" fmla="*/ 1913635 w 1913635"/>
              <a:gd name="connsiteY3" fmla="*/ 166914 h 166914"/>
              <a:gd name="connsiteX4" fmla="*/ 0 w 1913635"/>
              <a:gd name="connsiteY4" fmla="*/ 166914 h 166914"/>
              <a:gd name="connsiteX0" fmla="*/ 0 w 1913635"/>
              <a:gd name="connsiteY0" fmla="*/ 170187 h 170187"/>
              <a:gd name="connsiteX1" fmla="*/ 352879 w 1913635"/>
              <a:gd name="connsiteY1" fmla="*/ 0 h 170187"/>
              <a:gd name="connsiteX2" fmla="*/ 1910120 w 1913635"/>
              <a:gd name="connsiteY2" fmla="*/ 3273 h 170187"/>
              <a:gd name="connsiteX3" fmla="*/ 1913635 w 1913635"/>
              <a:gd name="connsiteY3" fmla="*/ 170187 h 170187"/>
              <a:gd name="connsiteX4" fmla="*/ 0 w 1913635"/>
              <a:gd name="connsiteY4" fmla="*/ 170187 h 1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635" h="170187">
                <a:moveTo>
                  <a:pt x="0" y="170187"/>
                </a:moveTo>
                <a:lnTo>
                  <a:pt x="352879" y="0"/>
                </a:lnTo>
                <a:lnTo>
                  <a:pt x="1910120" y="3273"/>
                </a:lnTo>
                <a:cubicBezTo>
                  <a:pt x="1911292" y="58911"/>
                  <a:pt x="1912463" y="114549"/>
                  <a:pt x="1913635" y="170187"/>
                </a:cubicBezTo>
                <a:lnTo>
                  <a:pt x="0" y="170187"/>
                </a:lnTo>
                <a:close/>
              </a:path>
            </a:pathLst>
          </a:custGeom>
          <a:pattFill prst="pct70">
            <a:fgClr>
              <a:schemeClr val="accent4"/>
            </a:fgClr>
            <a:bgClr>
              <a:schemeClr val="bg1"/>
            </a:bgClr>
          </a:patt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prstClr val="white"/>
              </a:solidFill>
            </a:endParaRPr>
          </a:p>
        </p:txBody>
      </p:sp>
      <p:sp>
        <p:nvSpPr>
          <p:cNvPr id="13" name="Parallelogram 12"/>
          <p:cNvSpPr/>
          <p:nvPr/>
        </p:nvSpPr>
        <p:spPr>
          <a:xfrm>
            <a:off x="9680574" y="6524623"/>
            <a:ext cx="841376" cy="330201"/>
          </a:xfrm>
          <a:custGeom>
            <a:avLst/>
            <a:gdLst>
              <a:gd name="connsiteX0" fmla="*/ 0 w 812801"/>
              <a:gd name="connsiteY0" fmla="*/ 333376 h 333376"/>
              <a:gd name="connsiteX1" fmla="*/ 83344 w 812801"/>
              <a:gd name="connsiteY1" fmla="*/ 0 h 333376"/>
              <a:gd name="connsiteX2" fmla="*/ 812801 w 812801"/>
              <a:gd name="connsiteY2" fmla="*/ 0 h 333376"/>
              <a:gd name="connsiteX3" fmla="*/ 729457 w 812801"/>
              <a:gd name="connsiteY3" fmla="*/ 333376 h 333376"/>
              <a:gd name="connsiteX4" fmla="*/ 0 w 812801"/>
              <a:gd name="connsiteY4" fmla="*/ 333376 h 333376"/>
              <a:gd name="connsiteX0" fmla="*/ 0 w 1111251"/>
              <a:gd name="connsiteY0" fmla="*/ 330201 h 333376"/>
              <a:gd name="connsiteX1" fmla="*/ 381794 w 1111251"/>
              <a:gd name="connsiteY1" fmla="*/ 0 h 333376"/>
              <a:gd name="connsiteX2" fmla="*/ 1111251 w 1111251"/>
              <a:gd name="connsiteY2" fmla="*/ 0 h 333376"/>
              <a:gd name="connsiteX3" fmla="*/ 1027907 w 1111251"/>
              <a:gd name="connsiteY3" fmla="*/ 333376 h 333376"/>
              <a:gd name="connsiteX4" fmla="*/ 0 w 1111251"/>
              <a:gd name="connsiteY4" fmla="*/ 330201 h 333376"/>
              <a:gd name="connsiteX0" fmla="*/ 0 w 1111251"/>
              <a:gd name="connsiteY0" fmla="*/ 330201 h 330201"/>
              <a:gd name="connsiteX1" fmla="*/ 381794 w 1111251"/>
              <a:gd name="connsiteY1" fmla="*/ 0 h 330201"/>
              <a:gd name="connsiteX2" fmla="*/ 1111251 w 1111251"/>
              <a:gd name="connsiteY2" fmla="*/ 0 h 330201"/>
              <a:gd name="connsiteX3" fmla="*/ 805657 w 1111251"/>
              <a:gd name="connsiteY3" fmla="*/ 320676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815976"/>
              <a:gd name="connsiteY0" fmla="*/ 330201 h 330201"/>
              <a:gd name="connsiteX1" fmla="*/ 381794 w 815976"/>
              <a:gd name="connsiteY1" fmla="*/ 0 h 330201"/>
              <a:gd name="connsiteX2" fmla="*/ 815976 w 815976"/>
              <a:gd name="connsiteY2" fmla="*/ 0 h 330201"/>
              <a:gd name="connsiteX3" fmla="*/ 450057 w 815976"/>
              <a:gd name="connsiteY3" fmla="*/ 330201 h 330201"/>
              <a:gd name="connsiteX4" fmla="*/ 0 w 815976"/>
              <a:gd name="connsiteY4" fmla="*/ 330201 h 330201"/>
              <a:gd name="connsiteX0" fmla="*/ 0 w 841376"/>
              <a:gd name="connsiteY0" fmla="*/ 330201 h 330201"/>
              <a:gd name="connsiteX1" fmla="*/ 381794 w 841376"/>
              <a:gd name="connsiteY1" fmla="*/ 0 h 330201"/>
              <a:gd name="connsiteX2" fmla="*/ 841376 w 841376"/>
              <a:gd name="connsiteY2" fmla="*/ 0 h 330201"/>
              <a:gd name="connsiteX3" fmla="*/ 450057 w 841376"/>
              <a:gd name="connsiteY3" fmla="*/ 330201 h 330201"/>
              <a:gd name="connsiteX4" fmla="*/ 0 w 841376"/>
              <a:gd name="connsiteY4" fmla="*/ 330201 h 33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376" h="330201">
                <a:moveTo>
                  <a:pt x="0" y="330201"/>
                </a:moveTo>
                <a:lnTo>
                  <a:pt x="381794" y="0"/>
                </a:lnTo>
                <a:lnTo>
                  <a:pt x="841376" y="0"/>
                </a:lnTo>
                <a:lnTo>
                  <a:pt x="450057" y="330201"/>
                </a:lnTo>
                <a:lnTo>
                  <a:pt x="0" y="330201"/>
                </a:lnTo>
                <a:close/>
              </a:path>
            </a:pathLst>
          </a:custGeom>
          <a:pattFill prst="pct70">
            <a:fgClr>
              <a:schemeClr val="accent5">
                <a:lumMod val="50000"/>
              </a:schemeClr>
            </a:fgClr>
            <a:bgClr>
              <a:schemeClr val="bg1"/>
            </a:bgClr>
          </a:patt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prstClr val="white"/>
              </a:solidFill>
            </a:endParaRPr>
          </a:p>
        </p:txBody>
      </p:sp>
      <p:sp>
        <p:nvSpPr>
          <p:cNvPr id="3" name="TextBox 2">
            <a:extLst>
              <a:ext uri="{FF2B5EF4-FFF2-40B4-BE49-F238E27FC236}">
                <a16:creationId xmlns:a16="http://schemas.microsoft.com/office/drawing/2014/main" id="{306EBDAB-6567-4BB5-A72D-B8C120B081C9}"/>
              </a:ext>
            </a:extLst>
          </p:cNvPr>
          <p:cNvSpPr txBox="1"/>
          <p:nvPr/>
        </p:nvSpPr>
        <p:spPr>
          <a:xfrm>
            <a:off x="30144" y="6484140"/>
            <a:ext cx="12161855" cy="373859"/>
          </a:xfrm>
          <a:prstGeom prst="rect">
            <a:avLst/>
          </a:prstGeom>
          <a:noFill/>
        </p:spPr>
        <p:txBody>
          <a:bodyPr wrap="square" rtlCol="0" anchor="ctr">
            <a:noAutofit/>
          </a:bodyPr>
          <a:lstStyle/>
          <a:p>
            <a:pPr indent="361950"/>
            <a:endParaRPr lang="en-ZA" sz="1000" b="1" dirty="0">
              <a:solidFill>
                <a:prstClr val="black"/>
              </a:solidFill>
            </a:endParaRPr>
          </a:p>
        </p:txBody>
      </p:sp>
      <p:sp>
        <p:nvSpPr>
          <p:cNvPr id="5" name="Slide Number Placeholder 4">
            <a:extLst>
              <a:ext uri="{FF2B5EF4-FFF2-40B4-BE49-F238E27FC236}">
                <a16:creationId xmlns:a16="http://schemas.microsoft.com/office/drawing/2014/main" id="{A987B35D-F68B-4006-AC19-5A526609671C}"/>
              </a:ext>
            </a:extLst>
          </p:cNvPr>
          <p:cNvSpPr>
            <a:spLocks noGrp="1"/>
          </p:cNvSpPr>
          <p:nvPr>
            <p:ph type="sldNum" sz="quarter" idx="12"/>
          </p:nvPr>
        </p:nvSpPr>
        <p:spPr>
          <a:xfrm>
            <a:off x="9448800" y="6484141"/>
            <a:ext cx="2743200" cy="365125"/>
          </a:xfrm>
        </p:spPr>
        <p:txBody>
          <a:bodyPr anchor="ctr"/>
          <a:lstStyle/>
          <a:p>
            <a:fld id="{87102F09-8F7D-4EC1-9AE5-82CA77F49212}" type="slidenum">
              <a:rPr lang="en-ZA" b="1" smtClean="0">
                <a:solidFill>
                  <a:prstClr val="black"/>
                </a:solidFill>
              </a:rPr>
              <a:pPr/>
              <a:t>22</a:t>
            </a:fld>
            <a:endParaRPr lang="en-ZA" b="1" dirty="0">
              <a:solidFill>
                <a:prstClr val="black"/>
              </a:solidFill>
            </a:endParaRPr>
          </a:p>
        </p:txBody>
      </p:sp>
      <p:pic>
        <p:nvPicPr>
          <p:cNvPr id="4" name="Picture 3">
            <a:extLst>
              <a:ext uri="{FF2B5EF4-FFF2-40B4-BE49-F238E27FC236}">
                <a16:creationId xmlns:a16="http://schemas.microsoft.com/office/drawing/2014/main" id="{976C8883-2C2E-43D7-8256-D577C2FDA33E}"/>
              </a:ext>
            </a:extLst>
          </p:cNvPr>
          <p:cNvPicPr>
            <a:picLocks noChangeAspect="1"/>
          </p:cNvPicPr>
          <p:nvPr/>
        </p:nvPicPr>
        <p:blipFill>
          <a:blip r:embed="rId2"/>
          <a:stretch>
            <a:fillRect/>
          </a:stretch>
        </p:blipFill>
        <p:spPr>
          <a:xfrm>
            <a:off x="-1" y="811369"/>
            <a:ext cx="8137321" cy="5592606"/>
          </a:xfrm>
          <a:prstGeom prst="rect">
            <a:avLst/>
          </a:prstGeom>
        </p:spPr>
      </p:pic>
    </p:spTree>
    <p:extLst>
      <p:ext uri="{BB962C8B-B14F-4D97-AF65-F5344CB8AC3E}">
        <p14:creationId xmlns:p14="http://schemas.microsoft.com/office/powerpoint/2010/main" val="26510327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A282B52-CDAB-4AE7-971E-125A0F0EED6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1" name="think-cell Slide" r:id="rId5" imgW="425" imgH="424" progId="TCLayout.ActiveDocument.1">
                  <p:embed/>
                </p:oleObj>
              </mc:Choice>
              <mc:Fallback>
                <p:oleObj name="think-cell Slide" r:id="rId5" imgW="425"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F45F542-157F-4C1D-910D-B0AD9101F8D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ZA" sz="1600">
              <a:latin typeface="Calibri" panose="020F0502020204030204" pitchFamily="34" charset="0"/>
              <a:sym typeface="Calibri" panose="020F0502020204030204" pitchFamily="34" charset="0"/>
            </a:endParaRPr>
          </a:p>
        </p:txBody>
      </p:sp>
      <p:sp>
        <p:nvSpPr>
          <p:cNvPr id="18" name="Rectangle 17">
            <a:extLst>
              <a:ext uri="{FF2B5EF4-FFF2-40B4-BE49-F238E27FC236}">
                <a16:creationId xmlns:a16="http://schemas.microsoft.com/office/drawing/2014/main" id="{AD5B4FE6-B71B-499E-AFFE-303FB2402E67}"/>
              </a:ext>
            </a:extLst>
          </p:cNvPr>
          <p:cNvSpPr/>
          <p:nvPr/>
        </p:nvSpPr>
        <p:spPr>
          <a:xfrm>
            <a:off x="-6824" y="785572"/>
            <a:ext cx="12192002" cy="571325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ZA" sz="6600" b="1" dirty="0"/>
              <a:t>BUDGET </a:t>
            </a:r>
          </a:p>
        </p:txBody>
      </p:sp>
      <p:sp>
        <p:nvSpPr>
          <p:cNvPr id="7" name="Title 2"/>
          <p:cNvSpPr txBox="1">
            <a:spLocks/>
          </p:cNvSpPr>
          <p:nvPr/>
        </p:nvSpPr>
        <p:spPr>
          <a:xfrm>
            <a:off x="-1" y="5646"/>
            <a:ext cx="12192001" cy="805723"/>
          </a:xfrm>
          <a:prstGeom prst="rect">
            <a:avLst/>
          </a:prstGeom>
          <a:solidFill>
            <a:srgbClr val="00266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rtlCol="0" anchor="ctr">
            <a:noAutofit/>
            <a:scene3d>
              <a:camera prst="orthographicFront"/>
              <a:lightRig rig="soft" dir="t"/>
            </a:scene3d>
            <a:sp3d prstMaterial="softEdge">
              <a:bevelT w="25400" h="25400"/>
            </a:sp3d>
          </a:bodyPr>
          <a:lstStyle>
            <a:lvl1pPr algn="r" rtl="0" eaLnBrk="1" latinLnBrk="0" hangingPunct="1">
              <a:spcBef>
                <a:spcPct val="0"/>
              </a:spcBef>
              <a:buNone/>
              <a:defRPr kumimoji="0" sz="3200" b="1" kern="1200">
                <a:solidFill>
                  <a:srgbClr val="9A9B9C"/>
                </a:solidFill>
                <a:effectLst>
                  <a:outerShdw blurRad="31750" dist="25400" dir="5400000" algn="tl" rotWithShape="0">
                    <a:srgbClr val="000000">
                      <a:alpha val="25000"/>
                    </a:srgbClr>
                  </a:outerShdw>
                </a:effectLst>
                <a:latin typeface="+mn-lt"/>
                <a:ea typeface="+mj-ea"/>
                <a:cs typeface="+mj-cs"/>
              </a:defRPr>
            </a:lvl1pPr>
            <a:lvl2pPr>
              <a:defRPr/>
            </a:lvl2pPr>
            <a:lvl3pPr>
              <a:defRPr/>
            </a:lvl3pPr>
            <a:lvl4pPr>
              <a:defRPr/>
            </a:lvl4pPr>
            <a:lvl5pPr>
              <a:defRPr/>
            </a:lvl5pPr>
            <a:lvl6pPr>
              <a:defRPr/>
            </a:lvl6pPr>
            <a:lvl7pPr>
              <a:defRPr/>
            </a:lvl7pPr>
            <a:lvl8pPr>
              <a:defRPr/>
            </a:lvl8pPr>
            <a:lvl9pPr>
              <a:defRPr/>
            </a:lvl9pPr>
            <a:extLst/>
          </a:lstStyle>
          <a:p>
            <a:pPr marL="354013" algn="l"/>
            <a:endParaRPr lang="en-ZA" sz="2400" kern="0" dirty="0">
              <a:solidFill>
                <a:prstClr val="white"/>
              </a:solidFill>
              <a:effectLst/>
            </a:endParaRPr>
          </a:p>
          <a:p>
            <a:pPr marL="354013" algn="l"/>
            <a:r>
              <a:rPr lang="en-ZA" sz="2400" kern="0" dirty="0">
                <a:solidFill>
                  <a:prstClr val="white"/>
                </a:solidFill>
                <a:effectLst/>
              </a:rPr>
              <a:t>PERFORMANCE CONTRIBUTION</a:t>
            </a:r>
            <a:endParaRPr lang="en-GB" sz="2400" kern="0" dirty="0">
              <a:solidFill>
                <a:prstClr val="white"/>
              </a:solidFill>
            </a:endParaRPr>
          </a:p>
        </p:txBody>
      </p:sp>
      <p:sp>
        <p:nvSpPr>
          <p:cNvPr id="8" name="Parallelogram 7"/>
          <p:cNvSpPr/>
          <p:nvPr/>
        </p:nvSpPr>
        <p:spPr>
          <a:xfrm>
            <a:off x="-2" y="6519067"/>
            <a:ext cx="9871077" cy="335757"/>
          </a:xfrm>
          <a:custGeom>
            <a:avLst/>
            <a:gdLst>
              <a:gd name="connsiteX0" fmla="*/ 0 w 10188575"/>
              <a:gd name="connsiteY0" fmla="*/ 166915 h 166915"/>
              <a:gd name="connsiteX1" fmla="*/ 41729 w 10188575"/>
              <a:gd name="connsiteY1" fmla="*/ 0 h 166915"/>
              <a:gd name="connsiteX2" fmla="*/ 10188575 w 10188575"/>
              <a:gd name="connsiteY2" fmla="*/ 0 h 166915"/>
              <a:gd name="connsiteX3" fmla="*/ 10146846 w 10188575"/>
              <a:gd name="connsiteY3" fmla="*/ 166915 h 166915"/>
              <a:gd name="connsiteX4" fmla="*/ 0 w 10188575"/>
              <a:gd name="connsiteY4" fmla="*/ 166915 h 166915"/>
              <a:gd name="connsiteX0" fmla="*/ 17802 w 10146846"/>
              <a:gd name="connsiteY0" fmla="*/ 166915 h 166915"/>
              <a:gd name="connsiteX1" fmla="*/ 0 w 10146846"/>
              <a:gd name="connsiteY1" fmla="*/ 0 h 166915"/>
              <a:gd name="connsiteX2" fmla="*/ 10146846 w 10146846"/>
              <a:gd name="connsiteY2" fmla="*/ 0 h 166915"/>
              <a:gd name="connsiteX3" fmla="*/ 10105117 w 10146846"/>
              <a:gd name="connsiteY3" fmla="*/ 166915 h 166915"/>
              <a:gd name="connsiteX4" fmla="*/ 17802 w 10146846"/>
              <a:gd name="connsiteY4" fmla="*/ 166915 h 166915"/>
              <a:gd name="connsiteX0" fmla="*/ 3514 w 10132558"/>
              <a:gd name="connsiteY0" fmla="*/ 166915 h 166915"/>
              <a:gd name="connsiteX1" fmla="*/ 0 w 10132558"/>
              <a:gd name="connsiteY1" fmla="*/ 2381 h 166915"/>
              <a:gd name="connsiteX2" fmla="*/ 10132558 w 10132558"/>
              <a:gd name="connsiteY2" fmla="*/ 0 h 166915"/>
              <a:gd name="connsiteX3" fmla="*/ 10090829 w 10132558"/>
              <a:gd name="connsiteY3" fmla="*/ 166915 h 166915"/>
              <a:gd name="connsiteX4" fmla="*/ 3514 w 10132558"/>
              <a:gd name="connsiteY4" fmla="*/ 166915 h 166915"/>
              <a:gd name="connsiteX0" fmla="*/ 154 w 10129198"/>
              <a:gd name="connsiteY0" fmla="*/ 166915 h 166915"/>
              <a:gd name="connsiteX1" fmla="*/ 3784 w 10129198"/>
              <a:gd name="connsiteY1" fmla="*/ 0 h 166915"/>
              <a:gd name="connsiteX2" fmla="*/ 10129198 w 10129198"/>
              <a:gd name="connsiteY2" fmla="*/ 0 h 166915"/>
              <a:gd name="connsiteX3" fmla="*/ 10087469 w 10129198"/>
              <a:gd name="connsiteY3" fmla="*/ 166915 h 166915"/>
              <a:gd name="connsiteX4" fmla="*/ 154 w 10129198"/>
              <a:gd name="connsiteY4" fmla="*/ 166915 h 166915"/>
              <a:gd name="connsiteX0" fmla="*/ 239 w 10126902"/>
              <a:gd name="connsiteY0" fmla="*/ 169296 h 169296"/>
              <a:gd name="connsiteX1" fmla="*/ 1488 w 10126902"/>
              <a:gd name="connsiteY1" fmla="*/ 0 h 169296"/>
              <a:gd name="connsiteX2" fmla="*/ 10126902 w 10126902"/>
              <a:gd name="connsiteY2" fmla="*/ 0 h 169296"/>
              <a:gd name="connsiteX3" fmla="*/ 10085173 w 10126902"/>
              <a:gd name="connsiteY3" fmla="*/ 166915 h 169296"/>
              <a:gd name="connsiteX4" fmla="*/ 239 w 10126902"/>
              <a:gd name="connsiteY4" fmla="*/ 169296 h 169296"/>
              <a:gd name="connsiteX0" fmla="*/ 239 w 10425352"/>
              <a:gd name="connsiteY0" fmla="*/ 175887 h 175887"/>
              <a:gd name="connsiteX1" fmla="*/ 1488 w 10425352"/>
              <a:gd name="connsiteY1" fmla="*/ 6591 h 175887"/>
              <a:gd name="connsiteX2" fmla="*/ 10425352 w 10425352"/>
              <a:gd name="connsiteY2" fmla="*/ 0 h 175887"/>
              <a:gd name="connsiteX3" fmla="*/ 10085173 w 10425352"/>
              <a:gd name="connsiteY3" fmla="*/ 173506 h 175887"/>
              <a:gd name="connsiteX4" fmla="*/ 239 w 10425352"/>
              <a:gd name="connsiteY4" fmla="*/ 175887 h 175887"/>
              <a:gd name="connsiteX0" fmla="*/ 239 w 10635515"/>
              <a:gd name="connsiteY0" fmla="*/ 179182 h 179182"/>
              <a:gd name="connsiteX1" fmla="*/ 1488 w 10635515"/>
              <a:gd name="connsiteY1" fmla="*/ 9886 h 179182"/>
              <a:gd name="connsiteX2" fmla="*/ 10635515 w 10635515"/>
              <a:gd name="connsiteY2" fmla="*/ 0 h 179182"/>
              <a:gd name="connsiteX3" fmla="*/ 10085173 w 10635515"/>
              <a:gd name="connsiteY3" fmla="*/ 176801 h 179182"/>
              <a:gd name="connsiteX4" fmla="*/ 239 w 10635515"/>
              <a:gd name="connsiteY4" fmla="*/ 179182 h 179182"/>
              <a:gd name="connsiteX0" fmla="*/ 239 w 10635515"/>
              <a:gd name="connsiteY0" fmla="*/ 179182 h 179182"/>
              <a:gd name="connsiteX1" fmla="*/ 1488 w 10635515"/>
              <a:gd name="connsiteY1" fmla="*/ 9886 h 179182"/>
              <a:gd name="connsiteX2" fmla="*/ 10635515 w 10635515"/>
              <a:gd name="connsiteY2" fmla="*/ 0 h 179182"/>
              <a:gd name="connsiteX3" fmla="*/ 10224620 w 10635515"/>
              <a:gd name="connsiteY3" fmla="*/ 178449 h 179182"/>
              <a:gd name="connsiteX4" fmla="*/ 239 w 10635515"/>
              <a:gd name="connsiteY4" fmla="*/ 179182 h 179182"/>
              <a:gd name="connsiteX0" fmla="*/ 239 w 10635515"/>
              <a:gd name="connsiteY0" fmla="*/ 174239 h 174239"/>
              <a:gd name="connsiteX1" fmla="*/ 1488 w 10635515"/>
              <a:gd name="connsiteY1" fmla="*/ 4943 h 174239"/>
              <a:gd name="connsiteX2" fmla="*/ 10635515 w 10635515"/>
              <a:gd name="connsiteY2" fmla="*/ 0 h 174239"/>
              <a:gd name="connsiteX3" fmla="*/ 10224620 w 10635515"/>
              <a:gd name="connsiteY3" fmla="*/ 173506 h 174239"/>
              <a:gd name="connsiteX4" fmla="*/ 239 w 10635515"/>
              <a:gd name="connsiteY4" fmla="*/ 174239 h 174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35515" h="174239">
                <a:moveTo>
                  <a:pt x="239" y="174239"/>
                </a:moveTo>
                <a:cubicBezTo>
                  <a:pt x="-932" y="119394"/>
                  <a:pt x="2659" y="59788"/>
                  <a:pt x="1488" y="4943"/>
                </a:cubicBezTo>
                <a:lnTo>
                  <a:pt x="10635515" y="0"/>
                </a:lnTo>
                <a:lnTo>
                  <a:pt x="10224620" y="173506"/>
                </a:lnTo>
                <a:lnTo>
                  <a:pt x="239" y="174239"/>
                </a:lnTo>
                <a:close/>
              </a:path>
            </a:pathLst>
          </a:custGeom>
          <a:pattFill prst="pct70">
            <a:fgClr>
              <a:schemeClr val="bg1">
                <a:lumMod val="75000"/>
              </a:schemeClr>
            </a:fgClr>
            <a:bgClr>
              <a:schemeClr val="bg1"/>
            </a:bgClr>
          </a:patt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11" name="Parallelogram 10"/>
          <p:cNvSpPr/>
          <p:nvPr/>
        </p:nvSpPr>
        <p:spPr>
          <a:xfrm>
            <a:off x="10360480" y="6519067"/>
            <a:ext cx="1831520" cy="330199"/>
          </a:xfrm>
          <a:custGeom>
            <a:avLst/>
            <a:gdLst>
              <a:gd name="connsiteX0" fmla="*/ 0 w 1983938"/>
              <a:gd name="connsiteY0" fmla="*/ 166914 h 166914"/>
              <a:gd name="connsiteX1" fmla="*/ 41729 w 1983938"/>
              <a:gd name="connsiteY1" fmla="*/ 0 h 166914"/>
              <a:gd name="connsiteX2" fmla="*/ 1983938 w 1983938"/>
              <a:gd name="connsiteY2" fmla="*/ 0 h 166914"/>
              <a:gd name="connsiteX3" fmla="*/ 1942210 w 1983938"/>
              <a:gd name="connsiteY3" fmla="*/ 166914 h 166914"/>
              <a:gd name="connsiteX4" fmla="*/ 0 w 1983938"/>
              <a:gd name="connsiteY4" fmla="*/ 166914 h 166914"/>
              <a:gd name="connsiteX0" fmla="*/ 0 w 1942210"/>
              <a:gd name="connsiteY0" fmla="*/ 166914 h 166914"/>
              <a:gd name="connsiteX1" fmla="*/ 41729 w 1942210"/>
              <a:gd name="connsiteY1" fmla="*/ 0 h 166914"/>
              <a:gd name="connsiteX2" fmla="*/ 1910120 w 1942210"/>
              <a:gd name="connsiteY2" fmla="*/ 0 h 166914"/>
              <a:gd name="connsiteX3" fmla="*/ 1942210 w 1942210"/>
              <a:gd name="connsiteY3" fmla="*/ 166914 h 166914"/>
              <a:gd name="connsiteX4" fmla="*/ 0 w 1942210"/>
              <a:gd name="connsiteY4" fmla="*/ 166914 h 166914"/>
              <a:gd name="connsiteX0" fmla="*/ 0 w 1913635"/>
              <a:gd name="connsiteY0" fmla="*/ 166914 h 166914"/>
              <a:gd name="connsiteX1" fmla="*/ 41729 w 1913635"/>
              <a:gd name="connsiteY1" fmla="*/ 0 h 166914"/>
              <a:gd name="connsiteX2" fmla="*/ 1910120 w 1913635"/>
              <a:gd name="connsiteY2" fmla="*/ 0 h 166914"/>
              <a:gd name="connsiteX3" fmla="*/ 1913635 w 1913635"/>
              <a:gd name="connsiteY3" fmla="*/ 166914 h 166914"/>
              <a:gd name="connsiteX4" fmla="*/ 0 w 1913635"/>
              <a:gd name="connsiteY4" fmla="*/ 166914 h 166914"/>
              <a:gd name="connsiteX0" fmla="*/ 0 w 1913635"/>
              <a:gd name="connsiteY0" fmla="*/ 170187 h 170187"/>
              <a:gd name="connsiteX1" fmla="*/ 352879 w 1913635"/>
              <a:gd name="connsiteY1" fmla="*/ 0 h 170187"/>
              <a:gd name="connsiteX2" fmla="*/ 1910120 w 1913635"/>
              <a:gd name="connsiteY2" fmla="*/ 3273 h 170187"/>
              <a:gd name="connsiteX3" fmla="*/ 1913635 w 1913635"/>
              <a:gd name="connsiteY3" fmla="*/ 170187 h 170187"/>
              <a:gd name="connsiteX4" fmla="*/ 0 w 1913635"/>
              <a:gd name="connsiteY4" fmla="*/ 170187 h 1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635" h="170187">
                <a:moveTo>
                  <a:pt x="0" y="170187"/>
                </a:moveTo>
                <a:lnTo>
                  <a:pt x="352879" y="0"/>
                </a:lnTo>
                <a:lnTo>
                  <a:pt x="1910120" y="3273"/>
                </a:lnTo>
                <a:cubicBezTo>
                  <a:pt x="1911292" y="58911"/>
                  <a:pt x="1912463" y="114549"/>
                  <a:pt x="1913635" y="170187"/>
                </a:cubicBezTo>
                <a:lnTo>
                  <a:pt x="0" y="170187"/>
                </a:lnTo>
                <a:close/>
              </a:path>
            </a:pathLst>
          </a:custGeom>
          <a:pattFill prst="pct70">
            <a:fgClr>
              <a:schemeClr val="accent4"/>
            </a:fgClr>
            <a:bgClr>
              <a:schemeClr val="bg1"/>
            </a:bgClr>
          </a:patt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3" name="Parallelogram 12"/>
          <p:cNvSpPr/>
          <p:nvPr/>
        </p:nvSpPr>
        <p:spPr>
          <a:xfrm>
            <a:off x="9680574" y="6524623"/>
            <a:ext cx="841376" cy="330201"/>
          </a:xfrm>
          <a:custGeom>
            <a:avLst/>
            <a:gdLst>
              <a:gd name="connsiteX0" fmla="*/ 0 w 812801"/>
              <a:gd name="connsiteY0" fmla="*/ 333376 h 333376"/>
              <a:gd name="connsiteX1" fmla="*/ 83344 w 812801"/>
              <a:gd name="connsiteY1" fmla="*/ 0 h 333376"/>
              <a:gd name="connsiteX2" fmla="*/ 812801 w 812801"/>
              <a:gd name="connsiteY2" fmla="*/ 0 h 333376"/>
              <a:gd name="connsiteX3" fmla="*/ 729457 w 812801"/>
              <a:gd name="connsiteY3" fmla="*/ 333376 h 333376"/>
              <a:gd name="connsiteX4" fmla="*/ 0 w 812801"/>
              <a:gd name="connsiteY4" fmla="*/ 333376 h 333376"/>
              <a:gd name="connsiteX0" fmla="*/ 0 w 1111251"/>
              <a:gd name="connsiteY0" fmla="*/ 330201 h 333376"/>
              <a:gd name="connsiteX1" fmla="*/ 381794 w 1111251"/>
              <a:gd name="connsiteY1" fmla="*/ 0 h 333376"/>
              <a:gd name="connsiteX2" fmla="*/ 1111251 w 1111251"/>
              <a:gd name="connsiteY2" fmla="*/ 0 h 333376"/>
              <a:gd name="connsiteX3" fmla="*/ 1027907 w 1111251"/>
              <a:gd name="connsiteY3" fmla="*/ 333376 h 333376"/>
              <a:gd name="connsiteX4" fmla="*/ 0 w 1111251"/>
              <a:gd name="connsiteY4" fmla="*/ 330201 h 333376"/>
              <a:gd name="connsiteX0" fmla="*/ 0 w 1111251"/>
              <a:gd name="connsiteY0" fmla="*/ 330201 h 330201"/>
              <a:gd name="connsiteX1" fmla="*/ 381794 w 1111251"/>
              <a:gd name="connsiteY1" fmla="*/ 0 h 330201"/>
              <a:gd name="connsiteX2" fmla="*/ 1111251 w 1111251"/>
              <a:gd name="connsiteY2" fmla="*/ 0 h 330201"/>
              <a:gd name="connsiteX3" fmla="*/ 805657 w 1111251"/>
              <a:gd name="connsiteY3" fmla="*/ 320676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815976"/>
              <a:gd name="connsiteY0" fmla="*/ 330201 h 330201"/>
              <a:gd name="connsiteX1" fmla="*/ 381794 w 815976"/>
              <a:gd name="connsiteY1" fmla="*/ 0 h 330201"/>
              <a:gd name="connsiteX2" fmla="*/ 815976 w 815976"/>
              <a:gd name="connsiteY2" fmla="*/ 0 h 330201"/>
              <a:gd name="connsiteX3" fmla="*/ 450057 w 815976"/>
              <a:gd name="connsiteY3" fmla="*/ 330201 h 330201"/>
              <a:gd name="connsiteX4" fmla="*/ 0 w 815976"/>
              <a:gd name="connsiteY4" fmla="*/ 330201 h 330201"/>
              <a:gd name="connsiteX0" fmla="*/ 0 w 841376"/>
              <a:gd name="connsiteY0" fmla="*/ 330201 h 330201"/>
              <a:gd name="connsiteX1" fmla="*/ 381794 w 841376"/>
              <a:gd name="connsiteY1" fmla="*/ 0 h 330201"/>
              <a:gd name="connsiteX2" fmla="*/ 841376 w 841376"/>
              <a:gd name="connsiteY2" fmla="*/ 0 h 330201"/>
              <a:gd name="connsiteX3" fmla="*/ 450057 w 841376"/>
              <a:gd name="connsiteY3" fmla="*/ 330201 h 330201"/>
              <a:gd name="connsiteX4" fmla="*/ 0 w 841376"/>
              <a:gd name="connsiteY4" fmla="*/ 330201 h 33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376" h="330201">
                <a:moveTo>
                  <a:pt x="0" y="330201"/>
                </a:moveTo>
                <a:lnTo>
                  <a:pt x="381794" y="0"/>
                </a:lnTo>
                <a:lnTo>
                  <a:pt x="841376" y="0"/>
                </a:lnTo>
                <a:lnTo>
                  <a:pt x="450057" y="330201"/>
                </a:lnTo>
                <a:lnTo>
                  <a:pt x="0" y="330201"/>
                </a:lnTo>
                <a:close/>
              </a:path>
            </a:pathLst>
          </a:custGeom>
          <a:pattFill prst="pct70">
            <a:fgClr>
              <a:schemeClr val="accent5">
                <a:lumMod val="50000"/>
              </a:schemeClr>
            </a:fgClr>
            <a:bgClr>
              <a:schemeClr val="bg1"/>
            </a:bgClr>
          </a:patt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306EBDAB-6567-4BB5-A72D-B8C120B081C9}"/>
              </a:ext>
            </a:extLst>
          </p:cNvPr>
          <p:cNvSpPr txBox="1"/>
          <p:nvPr/>
        </p:nvSpPr>
        <p:spPr>
          <a:xfrm>
            <a:off x="30144" y="6484140"/>
            <a:ext cx="12161855" cy="373859"/>
          </a:xfrm>
          <a:prstGeom prst="rect">
            <a:avLst/>
          </a:prstGeom>
          <a:noFill/>
        </p:spPr>
        <p:txBody>
          <a:bodyPr wrap="square" rtlCol="0" anchor="ctr">
            <a:noAutofit/>
          </a:bodyPr>
          <a:lstStyle/>
          <a:p>
            <a:pPr indent="361950"/>
            <a:endParaRPr lang="en-ZA" sz="1000" b="1" dirty="0"/>
          </a:p>
        </p:txBody>
      </p:sp>
      <p:sp>
        <p:nvSpPr>
          <p:cNvPr id="5" name="Slide Number Placeholder 4">
            <a:extLst>
              <a:ext uri="{FF2B5EF4-FFF2-40B4-BE49-F238E27FC236}">
                <a16:creationId xmlns:a16="http://schemas.microsoft.com/office/drawing/2014/main" id="{A987B35D-F68B-4006-AC19-5A526609671C}"/>
              </a:ext>
            </a:extLst>
          </p:cNvPr>
          <p:cNvSpPr>
            <a:spLocks noGrp="1"/>
          </p:cNvSpPr>
          <p:nvPr>
            <p:ph type="sldNum" sz="quarter" idx="12"/>
          </p:nvPr>
        </p:nvSpPr>
        <p:spPr>
          <a:xfrm>
            <a:off x="9448800" y="6484141"/>
            <a:ext cx="2743200" cy="365125"/>
          </a:xfrm>
        </p:spPr>
        <p:txBody>
          <a:bodyPr anchor="ctr"/>
          <a:lstStyle/>
          <a:p>
            <a:fld id="{87102F09-8F7D-4EC1-9AE5-82CA77F49212}" type="slidenum">
              <a:rPr lang="en-ZA" b="1" smtClean="0">
                <a:solidFill>
                  <a:schemeClr val="tx1"/>
                </a:solidFill>
              </a:rPr>
              <a:t>23</a:t>
            </a:fld>
            <a:endParaRPr lang="en-ZA" b="1">
              <a:solidFill>
                <a:schemeClr val="tx1"/>
              </a:solidFill>
            </a:endParaRPr>
          </a:p>
        </p:txBody>
      </p:sp>
      <p:sp>
        <p:nvSpPr>
          <p:cNvPr id="90" name="TextBox 104">
            <a:extLst>
              <a:ext uri="{FF2B5EF4-FFF2-40B4-BE49-F238E27FC236}">
                <a16:creationId xmlns:a16="http://schemas.microsoft.com/office/drawing/2014/main" id="{D5A278F4-494E-415E-A3B1-D7D24FEB3AFD}"/>
              </a:ext>
            </a:extLst>
          </p:cNvPr>
          <p:cNvSpPr txBox="1"/>
          <p:nvPr/>
        </p:nvSpPr>
        <p:spPr>
          <a:xfrm>
            <a:off x="5696862" y="1329865"/>
            <a:ext cx="5084457" cy="553998"/>
          </a:xfrm>
          <a:prstGeom prst="rect">
            <a:avLst/>
          </a:prstGeom>
          <a:noFill/>
          <a:ln w="6350">
            <a:noFill/>
            <a:prstDash val="dash"/>
          </a:ln>
        </p:spPr>
        <p:txBody>
          <a:bodyPr wrap="squar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endParaRPr lang="en-ZA" sz="1600" dirty="0">
              <a:solidFill>
                <a:schemeClr val="bg1"/>
              </a:solidFill>
            </a:endParaRPr>
          </a:p>
        </p:txBody>
      </p:sp>
    </p:spTree>
    <p:extLst>
      <p:ext uri="{BB962C8B-B14F-4D97-AF65-F5344CB8AC3E}">
        <p14:creationId xmlns:p14="http://schemas.microsoft.com/office/powerpoint/2010/main" val="304772171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720000"/>
          </a:xfrm>
          <a:solidFill>
            <a:srgbClr val="00266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rtlCol="0" anchor="ctr">
            <a:noAutofit/>
            <a:scene3d>
              <a:camera prst="orthographicFront"/>
              <a:lightRig rig="soft" dir="t"/>
            </a:scene3d>
            <a:sp3d prstMaterial="softEdge">
              <a:bevelT w="25400" h="25400"/>
            </a:sp3d>
          </a:bodyPr>
          <a:lstStyle/>
          <a:p>
            <a:pPr marL="354013" indent="7938"/>
            <a:r>
              <a:rPr lang="en-ZA" sz="2400" b="1" kern="0" dirty="0">
                <a:solidFill>
                  <a:prstClr val="white"/>
                </a:solidFill>
                <a:effectLst>
                  <a:outerShdw blurRad="31750" dist="25400" dir="5400000" algn="tl" rotWithShape="0">
                    <a:srgbClr val="000000">
                      <a:alpha val="25000"/>
                    </a:srgbClr>
                  </a:outerShdw>
                </a:effectLst>
                <a:latin typeface="+mn-lt"/>
              </a:rPr>
              <a:t>KEY VALUE DRIVERS </a:t>
            </a:r>
          </a:p>
        </p:txBody>
      </p:sp>
      <p:sp>
        <p:nvSpPr>
          <p:cNvPr id="3" name="TextBox 2"/>
          <p:cNvSpPr txBox="1"/>
          <p:nvPr/>
        </p:nvSpPr>
        <p:spPr>
          <a:xfrm>
            <a:off x="5794314" y="6488669"/>
            <a:ext cx="372218" cy="276999"/>
          </a:xfrm>
          <a:prstGeom prst="rect">
            <a:avLst/>
          </a:prstGeom>
          <a:noFill/>
        </p:spPr>
        <p:txBody>
          <a:bodyPr wrap="none" rtlCol="0">
            <a:spAutoFit/>
          </a:bodyPr>
          <a:lstStyle/>
          <a:p>
            <a:fld id="{A9F0923E-5009-4AC5-8489-F898CDB14E00}" type="slidenum">
              <a:rPr lang="en-ZA" sz="1200">
                <a:solidFill>
                  <a:schemeClr val="tx2">
                    <a:lumMod val="50000"/>
                  </a:schemeClr>
                </a:solidFill>
                <a:latin typeface="Arial" panose="020B0604020202020204" pitchFamily="34" charset="0"/>
                <a:cs typeface="Arial" panose="020B0604020202020204" pitchFamily="34" charset="0"/>
              </a:rPr>
              <a:t>24</a:t>
            </a:fld>
            <a:endParaRPr lang="en-ZA" sz="1200" dirty="0">
              <a:solidFill>
                <a:schemeClr val="tx2">
                  <a:lumMod val="50000"/>
                </a:schemeClr>
              </a:solidFill>
              <a:latin typeface="Arial" panose="020B0604020202020204" pitchFamily="34" charset="0"/>
              <a:cs typeface="Arial" panose="020B0604020202020204" pitchFamily="34" charset="0"/>
            </a:endParaRPr>
          </a:p>
        </p:txBody>
      </p:sp>
      <p:grpSp>
        <p:nvGrpSpPr>
          <p:cNvPr id="6" name="Group 5"/>
          <p:cNvGrpSpPr/>
          <p:nvPr/>
        </p:nvGrpSpPr>
        <p:grpSpPr>
          <a:xfrm>
            <a:off x="2567608" y="1482307"/>
            <a:ext cx="6552728" cy="4685396"/>
            <a:chOff x="1043608" y="1482307"/>
            <a:chExt cx="6552728" cy="4685396"/>
          </a:xfrm>
        </p:grpSpPr>
        <p:sp>
          <p:nvSpPr>
            <p:cNvPr id="7" name="Shape 6"/>
            <p:cNvSpPr/>
            <p:nvPr/>
          </p:nvSpPr>
          <p:spPr>
            <a:xfrm>
              <a:off x="1259632" y="1484783"/>
              <a:ext cx="1328642" cy="1424087"/>
            </a:xfrm>
            <a:prstGeom prst="gear9">
              <a:avLst/>
            </a:prstGeom>
          </p:spPr>
          <p:style>
            <a:lnRef idx="0">
              <a:schemeClr val="accent3"/>
            </a:lnRef>
            <a:fillRef idx="3">
              <a:schemeClr val="accent3"/>
            </a:fillRef>
            <a:effectRef idx="3">
              <a:schemeClr val="accent3"/>
            </a:effectRef>
            <a:fontRef idx="minor">
              <a:schemeClr val="lt1"/>
            </a:fontRef>
          </p:style>
        </p:sp>
        <p:sp>
          <p:nvSpPr>
            <p:cNvPr id="8" name="Shape 7"/>
            <p:cNvSpPr/>
            <p:nvPr/>
          </p:nvSpPr>
          <p:spPr>
            <a:xfrm rot="818418">
              <a:off x="2469550" y="1499047"/>
              <a:ext cx="1328643" cy="1398377"/>
            </a:xfrm>
            <a:prstGeom prst="gear9">
              <a:avLst/>
            </a:prstGeom>
            <a:gradFill>
              <a:gsLst>
                <a:gs pos="0">
                  <a:schemeClr val="bg1">
                    <a:lumMod val="85000"/>
                  </a:schemeClr>
                </a:gs>
                <a:gs pos="0">
                  <a:schemeClr val="accent6">
                    <a:satMod val="110000"/>
                    <a:lumMod val="100000"/>
                    <a:shade val="100000"/>
                  </a:schemeClr>
                </a:gs>
                <a:gs pos="100000">
                  <a:schemeClr val="bg2">
                    <a:lumMod val="90000"/>
                  </a:schemeClr>
                </a:gs>
              </a:gsLst>
            </a:gradFill>
          </p:spPr>
          <p:style>
            <a:lnRef idx="0">
              <a:schemeClr val="accent6"/>
            </a:lnRef>
            <a:fillRef idx="3">
              <a:schemeClr val="accent6"/>
            </a:fillRef>
            <a:effectRef idx="3">
              <a:schemeClr val="accent6"/>
            </a:effectRef>
            <a:fontRef idx="minor">
              <a:schemeClr val="lt1"/>
            </a:fontRef>
          </p:style>
        </p:sp>
        <p:sp>
          <p:nvSpPr>
            <p:cNvPr id="9" name="Shape 8"/>
            <p:cNvSpPr/>
            <p:nvPr/>
          </p:nvSpPr>
          <p:spPr>
            <a:xfrm>
              <a:off x="3707904" y="1485679"/>
              <a:ext cx="1328642" cy="1429475"/>
            </a:xfrm>
            <a:prstGeom prst="gear9">
              <a:avLst/>
            </a:prstGeom>
            <a:gradFill>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gradFill>
          </p:spPr>
          <p:style>
            <a:lnRef idx="0">
              <a:schemeClr val="accent5"/>
            </a:lnRef>
            <a:fillRef idx="3">
              <a:schemeClr val="accent5"/>
            </a:fillRef>
            <a:effectRef idx="3">
              <a:schemeClr val="accent5"/>
            </a:effectRef>
            <a:fontRef idx="minor">
              <a:schemeClr val="lt1"/>
            </a:fontRef>
          </p:style>
        </p:sp>
        <p:sp>
          <p:nvSpPr>
            <p:cNvPr id="10" name="Shape 9"/>
            <p:cNvSpPr/>
            <p:nvPr/>
          </p:nvSpPr>
          <p:spPr>
            <a:xfrm rot="1187163">
              <a:off x="4913427" y="1542911"/>
              <a:ext cx="1328642" cy="1393932"/>
            </a:xfrm>
            <a:prstGeom prst="gear9">
              <a:avLst/>
            </a:prstGeom>
            <a:gradFill>
              <a:gsLst>
                <a:gs pos="0">
                  <a:srgbClr val="CC4744"/>
                </a:gs>
                <a:gs pos="80000">
                  <a:schemeClr val="accent2">
                    <a:shade val="93000"/>
                    <a:satMod val="130000"/>
                  </a:schemeClr>
                </a:gs>
                <a:gs pos="100000">
                  <a:schemeClr val="accent2">
                    <a:shade val="94000"/>
                    <a:satMod val="135000"/>
                  </a:schemeClr>
                </a:gs>
              </a:gsLst>
            </a:gradFill>
          </p:spPr>
          <p:style>
            <a:lnRef idx="0">
              <a:schemeClr val="accent2"/>
            </a:lnRef>
            <a:fillRef idx="3">
              <a:schemeClr val="accent2"/>
            </a:fillRef>
            <a:effectRef idx="3">
              <a:schemeClr val="accent2"/>
            </a:effectRef>
            <a:fontRef idx="minor">
              <a:schemeClr val="lt1"/>
            </a:fontRef>
          </p:style>
        </p:sp>
        <p:sp>
          <p:nvSpPr>
            <p:cNvPr id="11" name="Shape 10"/>
            <p:cNvSpPr/>
            <p:nvPr/>
          </p:nvSpPr>
          <p:spPr>
            <a:xfrm>
              <a:off x="6156176" y="1482307"/>
              <a:ext cx="1328642" cy="1374961"/>
            </a:xfrm>
            <a:prstGeom prst="gear9">
              <a:avLst/>
            </a:prstGeom>
            <a:solidFill>
              <a:srgbClr val="9751CB">
                <a:alpha val="71765"/>
              </a:srgbClr>
            </a:solidFill>
          </p:spPr>
          <p:style>
            <a:lnRef idx="0">
              <a:schemeClr val="accent4"/>
            </a:lnRef>
            <a:fillRef idx="3">
              <a:schemeClr val="accent4"/>
            </a:fillRef>
            <a:effectRef idx="3">
              <a:schemeClr val="accent4"/>
            </a:effectRef>
            <a:fontRef idx="minor">
              <a:schemeClr val="lt1"/>
            </a:fontRef>
          </p:style>
        </p:sp>
        <p:sp>
          <p:nvSpPr>
            <p:cNvPr id="12" name="TextBox 11"/>
            <p:cNvSpPr txBox="1"/>
            <p:nvPr/>
          </p:nvSpPr>
          <p:spPr>
            <a:xfrm>
              <a:off x="1339317" y="1927211"/>
              <a:ext cx="1169272" cy="430887"/>
            </a:xfrm>
            <a:prstGeom prst="rect">
              <a:avLst/>
            </a:prstGeom>
            <a:noFill/>
          </p:spPr>
          <p:txBody>
            <a:bodyPr wrap="square" rtlCol="0">
              <a:spAutoFit/>
            </a:bodyPr>
            <a:lstStyle/>
            <a:p>
              <a:pPr algn="ctr"/>
              <a:r>
                <a:rPr lang="en-ZA" sz="1100" b="1" dirty="0"/>
                <a:t>Loan Pricing/ Interest Margin</a:t>
              </a:r>
            </a:p>
          </p:txBody>
        </p:sp>
        <p:sp>
          <p:nvSpPr>
            <p:cNvPr id="13" name="TextBox 12"/>
            <p:cNvSpPr txBox="1"/>
            <p:nvPr/>
          </p:nvSpPr>
          <p:spPr>
            <a:xfrm>
              <a:off x="2537983" y="1835314"/>
              <a:ext cx="1169272" cy="907941"/>
            </a:xfrm>
            <a:prstGeom prst="rect">
              <a:avLst/>
            </a:prstGeom>
            <a:noFill/>
          </p:spPr>
          <p:txBody>
            <a:bodyPr wrap="square" rtlCol="0">
              <a:spAutoFit/>
            </a:bodyPr>
            <a:lstStyle/>
            <a:p>
              <a:pPr algn="ctr"/>
              <a:r>
                <a:rPr lang="en-ZA" sz="1100" b="1" dirty="0"/>
                <a:t>Loan Book </a:t>
              </a:r>
            </a:p>
            <a:p>
              <a:pPr algn="ctr"/>
              <a:r>
                <a:rPr lang="en-ZA" sz="1100" b="1" dirty="0"/>
                <a:t>Growth &amp; Quality</a:t>
              </a:r>
              <a:r>
                <a:rPr lang="en-ZA" sz="1000" b="1" dirty="0"/>
                <a:t> </a:t>
              </a:r>
              <a:r>
                <a:rPr lang="en-ZA" sz="1000" dirty="0"/>
                <a:t>(growth &amp; credit loss ratio etc.)</a:t>
              </a:r>
            </a:p>
          </p:txBody>
        </p:sp>
        <p:sp>
          <p:nvSpPr>
            <p:cNvPr id="14" name="TextBox 13"/>
            <p:cNvSpPr txBox="1"/>
            <p:nvPr/>
          </p:nvSpPr>
          <p:spPr>
            <a:xfrm>
              <a:off x="3787589" y="1927211"/>
              <a:ext cx="1169272" cy="584775"/>
            </a:xfrm>
            <a:prstGeom prst="rect">
              <a:avLst/>
            </a:prstGeom>
            <a:noFill/>
          </p:spPr>
          <p:txBody>
            <a:bodyPr wrap="square" rtlCol="0">
              <a:spAutoFit/>
            </a:bodyPr>
            <a:lstStyle/>
            <a:p>
              <a:pPr algn="ctr"/>
              <a:r>
                <a:rPr lang="en-ZA" sz="1100" b="1" dirty="0"/>
                <a:t>Operational Efficiency</a:t>
              </a:r>
            </a:p>
            <a:p>
              <a:pPr algn="ctr"/>
              <a:r>
                <a:rPr lang="en-ZA" sz="1000" dirty="0"/>
                <a:t>(cost to income)</a:t>
              </a:r>
            </a:p>
          </p:txBody>
        </p:sp>
        <p:sp>
          <p:nvSpPr>
            <p:cNvPr id="15" name="TextBox 14"/>
            <p:cNvSpPr txBox="1"/>
            <p:nvPr/>
          </p:nvSpPr>
          <p:spPr>
            <a:xfrm>
              <a:off x="4937648" y="1927211"/>
              <a:ext cx="1323006" cy="723275"/>
            </a:xfrm>
            <a:prstGeom prst="rect">
              <a:avLst/>
            </a:prstGeom>
            <a:noFill/>
            <a:effectLst/>
          </p:spPr>
          <p:txBody>
            <a:bodyPr wrap="square" rtlCol="0">
              <a:spAutoFit/>
            </a:bodyPr>
            <a:lstStyle/>
            <a:p>
              <a:pPr algn="ctr"/>
              <a:r>
                <a:rPr lang="en-ZA" sz="1100" b="1" dirty="0"/>
                <a:t>Capital Allocation</a:t>
              </a:r>
              <a:r>
                <a:rPr lang="en-ZA" sz="1000" b="1" dirty="0"/>
                <a:t> </a:t>
              </a:r>
            </a:p>
            <a:p>
              <a:pPr algn="ctr"/>
              <a:r>
                <a:rPr lang="en-ZA" sz="1000" b="1" dirty="0"/>
                <a:t>- </a:t>
              </a:r>
              <a:r>
                <a:rPr lang="en-ZA" sz="1000" dirty="0"/>
                <a:t>Loan/Portfolio </a:t>
              </a:r>
            </a:p>
            <a:p>
              <a:pPr algn="ctr"/>
              <a:r>
                <a:rPr lang="en-ZA" sz="1000" dirty="0"/>
                <a:t>Mix</a:t>
              </a:r>
            </a:p>
            <a:p>
              <a:pPr algn="ctr"/>
              <a:r>
                <a:rPr lang="en-ZA" sz="1000" dirty="0"/>
                <a:t>(portfolio mix)</a:t>
              </a:r>
            </a:p>
          </p:txBody>
        </p:sp>
        <p:sp>
          <p:nvSpPr>
            <p:cNvPr id="16" name="TextBox 15"/>
            <p:cNvSpPr txBox="1"/>
            <p:nvPr/>
          </p:nvSpPr>
          <p:spPr>
            <a:xfrm>
              <a:off x="6084168" y="1927211"/>
              <a:ext cx="1512168" cy="569387"/>
            </a:xfrm>
            <a:prstGeom prst="rect">
              <a:avLst/>
            </a:prstGeom>
            <a:noFill/>
          </p:spPr>
          <p:txBody>
            <a:bodyPr wrap="square" rtlCol="0">
              <a:spAutoFit/>
            </a:bodyPr>
            <a:lstStyle/>
            <a:p>
              <a:pPr algn="ctr"/>
              <a:r>
                <a:rPr lang="en-ZA" sz="1100" b="1" dirty="0"/>
                <a:t>Capital Structure</a:t>
              </a:r>
            </a:p>
            <a:p>
              <a:pPr algn="ctr"/>
              <a:r>
                <a:rPr lang="en-ZA" sz="1000" dirty="0"/>
                <a:t>- Debt to Equity</a:t>
              </a:r>
            </a:p>
            <a:p>
              <a:pPr algn="ctr"/>
              <a:r>
                <a:rPr lang="en-ZA" sz="1000" dirty="0"/>
                <a:t>- Cost Of Funding</a:t>
              </a:r>
            </a:p>
          </p:txBody>
        </p:sp>
        <p:sp>
          <p:nvSpPr>
            <p:cNvPr id="17" name="Rounded Rectangle 16"/>
            <p:cNvSpPr/>
            <p:nvPr/>
          </p:nvSpPr>
          <p:spPr>
            <a:xfrm>
              <a:off x="1043608" y="3445642"/>
              <a:ext cx="6552728" cy="92410"/>
            </a:xfrm>
            <a:prstGeom prst="roundRect">
              <a:avLst/>
            </a:prstGeom>
            <a:solidFill>
              <a:schemeClr val="bg1">
                <a:lumMod val="75000"/>
              </a:schemeClr>
            </a:solidFill>
            <a:ln cap="rnd">
              <a:solidFill>
                <a:schemeClr val="bg1">
                  <a:lumMod val="85000"/>
                </a:schemeClr>
              </a:solidFill>
              <a:round/>
            </a:ln>
            <a:effectLst>
              <a:reflection blurRad="6350" stA="50000" endA="300" endPos="55500" dist="50800" dir="5400000" sy="-100000" algn="bl" rotWithShape="0"/>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8" name="Down Arrow 17"/>
            <p:cNvSpPr/>
            <p:nvPr/>
          </p:nvSpPr>
          <p:spPr>
            <a:xfrm>
              <a:off x="1795321" y="3031591"/>
              <a:ext cx="257264" cy="293451"/>
            </a:xfrm>
            <a:prstGeom prst="downArrow">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sz="1600" dirty="0"/>
            </a:p>
          </p:txBody>
        </p:sp>
        <p:sp>
          <p:nvSpPr>
            <p:cNvPr id="19" name="Down Arrow 18"/>
            <p:cNvSpPr/>
            <p:nvPr/>
          </p:nvSpPr>
          <p:spPr>
            <a:xfrm>
              <a:off x="3015437" y="3050898"/>
              <a:ext cx="257264" cy="293451"/>
            </a:xfrm>
            <a:prstGeom prst="downArrow">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sz="1600" dirty="0"/>
            </a:p>
          </p:txBody>
        </p:sp>
        <p:sp>
          <p:nvSpPr>
            <p:cNvPr id="20" name="Down Arrow 19"/>
            <p:cNvSpPr/>
            <p:nvPr/>
          </p:nvSpPr>
          <p:spPr>
            <a:xfrm>
              <a:off x="4243593" y="3042116"/>
              <a:ext cx="257264" cy="293451"/>
            </a:xfrm>
            <a:prstGeom prst="downArrow">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sz="1600" dirty="0"/>
            </a:p>
          </p:txBody>
        </p:sp>
        <p:sp>
          <p:nvSpPr>
            <p:cNvPr id="21" name="Down Arrow 20"/>
            <p:cNvSpPr/>
            <p:nvPr/>
          </p:nvSpPr>
          <p:spPr>
            <a:xfrm>
              <a:off x="5505232" y="3050898"/>
              <a:ext cx="257264" cy="293451"/>
            </a:xfrm>
            <a:prstGeom prst="downArrow">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sz="1600" dirty="0"/>
            </a:p>
          </p:txBody>
        </p:sp>
        <p:sp>
          <p:nvSpPr>
            <p:cNvPr id="22" name="Down Arrow 21"/>
            <p:cNvSpPr/>
            <p:nvPr/>
          </p:nvSpPr>
          <p:spPr>
            <a:xfrm>
              <a:off x="6691865" y="3050898"/>
              <a:ext cx="257264" cy="293451"/>
            </a:xfrm>
            <a:prstGeom prst="downArrow">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sz="1600" dirty="0"/>
            </a:p>
          </p:txBody>
        </p:sp>
        <p:sp>
          <p:nvSpPr>
            <p:cNvPr id="23" name="Down Arrow 22"/>
            <p:cNvSpPr/>
            <p:nvPr/>
          </p:nvSpPr>
          <p:spPr>
            <a:xfrm>
              <a:off x="4243593" y="3733436"/>
              <a:ext cx="300401" cy="260328"/>
            </a:xfrm>
            <a:prstGeom prst="downArrow">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sz="1600" dirty="0"/>
            </a:p>
          </p:txBody>
        </p:sp>
        <p:sp>
          <p:nvSpPr>
            <p:cNvPr id="24" name="Flowchart: Manual Operation 57"/>
            <p:cNvSpPr/>
            <p:nvPr/>
          </p:nvSpPr>
          <p:spPr>
            <a:xfrm>
              <a:off x="3037940" y="5519631"/>
              <a:ext cx="3012107" cy="64807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9747 w 9747"/>
                <a:gd name="connsiteY0" fmla="*/ 0 h 10000"/>
                <a:gd name="connsiteX1" fmla="*/ 7747 w 9747"/>
                <a:gd name="connsiteY1" fmla="*/ 10000 h 10000"/>
                <a:gd name="connsiteX2" fmla="*/ 1747 w 9747"/>
                <a:gd name="connsiteY2" fmla="*/ 10000 h 10000"/>
                <a:gd name="connsiteX3" fmla="*/ 0 w 9747"/>
                <a:gd name="connsiteY3" fmla="*/ 1411 h 10000"/>
              </a:gdLst>
              <a:ahLst/>
              <a:cxnLst>
                <a:cxn ang="0">
                  <a:pos x="connsiteX0" y="connsiteY0"/>
                </a:cxn>
                <a:cxn ang="0">
                  <a:pos x="connsiteX1" y="connsiteY1"/>
                </a:cxn>
                <a:cxn ang="0">
                  <a:pos x="connsiteX2" y="connsiteY2"/>
                </a:cxn>
                <a:cxn ang="0">
                  <a:pos x="connsiteX3" y="connsiteY3"/>
                </a:cxn>
              </a:cxnLst>
              <a:rect l="l" t="t" r="r" b="b"/>
              <a:pathLst>
                <a:path w="9747" h="10000">
                  <a:moveTo>
                    <a:pt x="9747" y="0"/>
                  </a:moveTo>
                  <a:lnTo>
                    <a:pt x="7747" y="10000"/>
                  </a:lnTo>
                  <a:lnTo>
                    <a:pt x="1747" y="10000"/>
                  </a:lnTo>
                  <a:cubicBezTo>
                    <a:pt x="1080" y="6667"/>
                    <a:pt x="0" y="1411"/>
                    <a:pt x="0" y="1411"/>
                  </a:cubicBezTo>
                </a:path>
              </a:pathLst>
            </a:custGeom>
            <a:noFill/>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5" name="Flowchart: Decision 24"/>
            <p:cNvSpPr/>
            <p:nvPr/>
          </p:nvSpPr>
          <p:spPr>
            <a:xfrm rot="20691191">
              <a:off x="4209169" y="5856032"/>
              <a:ext cx="249767" cy="268849"/>
            </a:xfrm>
            <a:prstGeom prst="flowChartDecision">
              <a:avLst/>
            </a:prstGeom>
            <a:gradFill flip="none" rotWithShape="1">
              <a:gsLst>
                <a:gs pos="0">
                  <a:schemeClr val="tx2">
                    <a:lumMod val="75000"/>
                  </a:schemeClr>
                </a:gs>
                <a:gs pos="41000">
                  <a:srgbClr val="85C2FF"/>
                </a:gs>
                <a:gs pos="54000">
                  <a:srgbClr val="C4D6EB"/>
                </a:gs>
                <a:gs pos="100000">
                  <a:srgbClr val="FFEBFA">
                    <a:lumMod val="34000"/>
                    <a:lumOff val="66000"/>
                  </a:srgbClr>
                </a:gs>
              </a:gsLst>
              <a:lin ang="16200000" scaled="1"/>
              <a:tileRect/>
            </a:gradFill>
            <a:ln>
              <a:solidFill>
                <a:schemeClr val="accent5">
                  <a:lumMod val="60000"/>
                  <a:lumOff val="40000"/>
                </a:schemeClr>
              </a:solidFill>
            </a:ln>
            <a:effectLst>
              <a:outerShdw blurRad="76200" dist="12700" dir="8100000" sy="-23000" kx="800400" algn="br" rotWithShape="0">
                <a:prstClr val="black">
                  <a:alpha val="20000"/>
                </a:prstClr>
              </a:outerShdw>
            </a:effectLst>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6" name="Flowchart: Decision 25"/>
            <p:cNvSpPr/>
            <p:nvPr/>
          </p:nvSpPr>
          <p:spPr>
            <a:xfrm>
              <a:off x="3587855" y="5852909"/>
              <a:ext cx="249767" cy="268849"/>
            </a:xfrm>
            <a:prstGeom prst="flowChartDecision">
              <a:avLst/>
            </a:prstGeom>
            <a:gradFill flip="none" rotWithShape="1">
              <a:gsLst>
                <a:gs pos="0">
                  <a:schemeClr val="tx2">
                    <a:lumMod val="75000"/>
                  </a:schemeClr>
                </a:gs>
                <a:gs pos="41000">
                  <a:srgbClr val="85C2FF"/>
                </a:gs>
                <a:gs pos="54000">
                  <a:srgbClr val="C4D6EB"/>
                </a:gs>
                <a:gs pos="100000">
                  <a:srgbClr val="FFEBFA">
                    <a:lumMod val="34000"/>
                    <a:lumOff val="66000"/>
                  </a:srgbClr>
                </a:gs>
              </a:gsLst>
              <a:lin ang="16200000" scaled="1"/>
              <a:tileRect/>
            </a:gradFill>
            <a:ln>
              <a:solidFill>
                <a:schemeClr val="accent5">
                  <a:lumMod val="60000"/>
                  <a:lumOff val="40000"/>
                </a:schemeClr>
              </a:solidFill>
            </a:ln>
            <a:effectLst>
              <a:outerShdw blurRad="76200" dist="12700" dir="8100000" sy="-23000" kx="800400" algn="br" rotWithShape="0">
                <a:prstClr val="black">
                  <a:alpha val="20000"/>
                </a:prstClr>
              </a:outerShdw>
            </a:effectLst>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7" name="Flowchart: Decision 26"/>
            <p:cNvSpPr/>
            <p:nvPr/>
          </p:nvSpPr>
          <p:spPr>
            <a:xfrm rot="1815810">
              <a:off x="3983935" y="5861967"/>
              <a:ext cx="249767" cy="268849"/>
            </a:xfrm>
            <a:prstGeom prst="flowChartDecision">
              <a:avLst/>
            </a:prstGeom>
            <a:gradFill flip="none" rotWithShape="1">
              <a:gsLst>
                <a:gs pos="0">
                  <a:schemeClr val="tx2">
                    <a:lumMod val="75000"/>
                  </a:schemeClr>
                </a:gs>
                <a:gs pos="41000">
                  <a:srgbClr val="85C2FF"/>
                </a:gs>
                <a:gs pos="54000">
                  <a:srgbClr val="C4D6EB"/>
                </a:gs>
                <a:gs pos="100000">
                  <a:srgbClr val="FFEBFA">
                    <a:lumMod val="34000"/>
                    <a:lumOff val="66000"/>
                  </a:srgbClr>
                </a:gs>
              </a:gsLst>
              <a:lin ang="16200000" scaled="1"/>
              <a:tileRect/>
            </a:gradFill>
            <a:ln>
              <a:solidFill>
                <a:schemeClr val="accent5">
                  <a:lumMod val="60000"/>
                  <a:lumOff val="40000"/>
                </a:schemeClr>
              </a:solidFill>
            </a:ln>
            <a:effectLst>
              <a:outerShdw blurRad="76200" dist="12700" dir="8100000" sy="-23000" kx="800400" algn="br" rotWithShape="0">
                <a:prstClr val="black">
                  <a:alpha val="20000"/>
                </a:prstClr>
              </a:outerShdw>
            </a:effectLst>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8" name="Flowchart: Decision 27"/>
            <p:cNvSpPr/>
            <p:nvPr/>
          </p:nvSpPr>
          <p:spPr>
            <a:xfrm rot="19062343">
              <a:off x="4613758" y="5921660"/>
              <a:ext cx="292984" cy="229192"/>
            </a:xfrm>
            <a:prstGeom prst="flowChartDecision">
              <a:avLst/>
            </a:prstGeom>
            <a:gradFill flip="none" rotWithShape="1">
              <a:gsLst>
                <a:gs pos="0">
                  <a:schemeClr val="tx2">
                    <a:lumMod val="75000"/>
                  </a:schemeClr>
                </a:gs>
                <a:gs pos="41000">
                  <a:srgbClr val="85C2FF"/>
                </a:gs>
                <a:gs pos="54000">
                  <a:srgbClr val="C4D6EB"/>
                </a:gs>
                <a:gs pos="100000">
                  <a:srgbClr val="FFEBFA">
                    <a:lumMod val="34000"/>
                    <a:lumOff val="66000"/>
                  </a:srgbClr>
                </a:gs>
              </a:gsLst>
              <a:lin ang="16200000" scaled="1"/>
              <a:tileRect/>
            </a:gradFill>
            <a:ln>
              <a:solidFill>
                <a:schemeClr val="accent5">
                  <a:lumMod val="60000"/>
                  <a:lumOff val="40000"/>
                </a:schemeClr>
              </a:solidFill>
            </a:ln>
            <a:effectLst>
              <a:outerShdw blurRad="76200" dist="12700" dir="8100000" sy="-23000" kx="800400" algn="br" rotWithShape="0">
                <a:prstClr val="black">
                  <a:alpha val="20000"/>
                </a:prstClr>
              </a:outerShdw>
            </a:effectLst>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29" name="Flowchart: Decision 28"/>
            <p:cNvSpPr/>
            <p:nvPr/>
          </p:nvSpPr>
          <p:spPr>
            <a:xfrm rot="1509726">
              <a:off x="4934857" y="5852036"/>
              <a:ext cx="249766" cy="268849"/>
            </a:xfrm>
            <a:prstGeom prst="flowChartDecision">
              <a:avLst/>
            </a:prstGeom>
            <a:gradFill flip="none" rotWithShape="1">
              <a:gsLst>
                <a:gs pos="0">
                  <a:schemeClr val="tx2">
                    <a:lumMod val="75000"/>
                  </a:schemeClr>
                </a:gs>
                <a:gs pos="41000">
                  <a:srgbClr val="85C2FF"/>
                </a:gs>
                <a:gs pos="54000">
                  <a:srgbClr val="C4D6EB"/>
                </a:gs>
                <a:gs pos="100000">
                  <a:srgbClr val="FFEBFA">
                    <a:lumMod val="34000"/>
                    <a:lumOff val="66000"/>
                  </a:srgbClr>
                </a:gs>
              </a:gsLst>
              <a:lin ang="16200000" scaled="1"/>
              <a:tileRect/>
            </a:gradFill>
            <a:ln>
              <a:solidFill>
                <a:schemeClr val="accent5">
                  <a:lumMod val="60000"/>
                  <a:lumOff val="40000"/>
                </a:schemeClr>
              </a:solidFill>
            </a:ln>
            <a:effectLst>
              <a:outerShdw blurRad="76200" dist="12700" dir="8100000" sy="-23000" kx="800400" algn="br" rotWithShape="0">
                <a:prstClr val="black">
                  <a:alpha val="20000"/>
                </a:prstClr>
              </a:outerShdw>
            </a:effectLst>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30" name="Flowchart: Decision 29"/>
            <p:cNvSpPr/>
            <p:nvPr/>
          </p:nvSpPr>
          <p:spPr>
            <a:xfrm>
              <a:off x="5226810" y="5898854"/>
              <a:ext cx="249767" cy="268849"/>
            </a:xfrm>
            <a:prstGeom prst="flowChartDecision">
              <a:avLst/>
            </a:prstGeom>
            <a:gradFill flip="none" rotWithShape="1">
              <a:gsLst>
                <a:gs pos="0">
                  <a:schemeClr val="tx2">
                    <a:lumMod val="75000"/>
                  </a:schemeClr>
                </a:gs>
                <a:gs pos="41000">
                  <a:srgbClr val="85C2FF"/>
                </a:gs>
                <a:gs pos="54000">
                  <a:srgbClr val="C4D6EB"/>
                </a:gs>
                <a:gs pos="100000">
                  <a:srgbClr val="FFEBFA">
                    <a:lumMod val="34000"/>
                    <a:lumOff val="66000"/>
                  </a:srgbClr>
                </a:gs>
              </a:gsLst>
              <a:lin ang="16200000" scaled="1"/>
              <a:tileRect/>
            </a:gradFill>
            <a:ln>
              <a:solidFill>
                <a:schemeClr val="accent5">
                  <a:lumMod val="60000"/>
                  <a:lumOff val="40000"/>
                </a:schemeClr>
              </a:solidFill>
            </a:ln>
            <a:effectLst>
              <a:outerShdw blurRad="76200" dist="12700" dir="8100000" sy="-23000" kx="800400" algn="br" rotWithShape="0">
                <a:prstClr val="black">
                  <a:alpha val="20000"/>
                </a:prstClr>
              </a:outerShdw>
            </a:effectLst>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31" name="Flowchart: Decision 30"/>
            <p:cNvSpPr/>
            <p:nvPr/>
          </p:nvSpPr>
          <p:spPr>
            <a:xfrm rot="19893262">
              <a:off x="3818648" y="5705903"/>
              <a:ext cx="249767" cy="268849"/>
            </a:xfrm>
            <a:prstGeom prst="flowChartDecision">
              <a:avLst/>
            </a:prstGeom>
            <a:gradFill flip="none" rotWithShape="1">
              <a:gsLst>
                <a:gs pos="0">
                  <a:schemeClr val="tx2">
                    <a:lumMod val="75000"/>
                  </a:schemeClr>
                </a:gs>
                <a:gs pos="41000">
                  <a:srgbClr val="85C2FF"/>
                </a:gs>
                <a:gs pos="54000">
                  <a:srgbClr val="C4D6EB"/>
                </a:gs>
                <a:gs pos="100000">
                  <a:srgbClr val="FFEBFA">
                    <a:lumMod val="34000"/>
                    <a:lumOff val="66000"/>
                  </a:srgbClr>
                </a:gs>
              </a:gsLst>
              <a:lin ang="16200000" scaled="1"/>
              <a:tileRect/>
            </a:gradFill>
            <a:ln>
              <a:solidFill>
                <a:schemeClr val="accent5">
                  <a:lumMod val="60000"/>
                  <a:lumOff val="40000"/>
                </a:schemeClr>
              </a:solidFill>
            </a:ln>
            <a:effectLst>
              <a:outerShdw blurRad="76200" dist="12700" dir="8100000" sy="-23000" kx="800400" algn="br" rotWithShape="0">
                <a:prstClr val="black">
                  <a:alpha val="20000"/>
                </a:prstClr>
              </a:outerShdw>
            </a:effectLst>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32" name="Flowchart: Decision 31"/>
            <p:cNvSpPr/>
            <p:nvPr/>
          </p:nvSpPr>
          <p:spPr>
            <a:xfrm rot="19770220">
              <a:off x="4051789" y="5659143"/>
              <a:ext cx="292984" cy="229193"/>
            </a:xfrm>
            <a:prstGeom prst="flowChartDecision">
              <a:avLst/>
            </a:prstGeom>
            <a:gradFill flip="none" rotWithShape="1">
              <a:gsLst>
                <a:gs pos="0">
                  <a:schemeClr val="tx2">
                    <a:lumMod val="75000"/>
                  </a:schemeClr>
                </a:gs>
                <a:gs pos="41000">
                  <a:srgbClr val="85C2FF"/>
                </a:gs>
                <a:gs pos="54000">
                  <a:srgbClr val="C4D6EB"/>
                </a:gs>
                <a:gs pos="100000">
                  <a:srgbClr val="FFEBFA">
                    <a:lumMod val="34000"/>
                    <a:lumOff val="66000"/>
                  </a:srgbClr>
                </a:gs>
              </a:gsLst>
              <a:lin ang="16200000" scaled="1"/>
              <a:tileRect/>
            </a:gradFill>
            <a:ln>
              <a:solidFill>
                <a:schemeClr val="accent5">
                  <a:lumMod val="60000"/>
                  <a:lumOff val="40000"/>
                </a:schemeClr>
              </a:solidFill>
            </a:ln>
            <a:effectLst>
              <a:outerShdw blurRad="76200" dist="12700" dir="8100000" sy="-23000" kx="800400" algn="br" rotWithShape="0">
                <a:prstClr val="black">
                  <a:alpha val="20000"/>
                </a:prstClr>
              </a:outerShdw>
            </a:effectLst>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33" name="Flowchart: Decision 32"/>
            <p:cNvSpPr/>
            <p:nvPr/>
          </p:nvSpPr>
          <p:spPr>
            <a:xfrm rot="945623">
              <a:off x="4455113" y="5792367"/>
              <a:ext cx="249767" cy="268849"/>
            </a:xfrm>
            <a:prstGeom prst="flowChartDecision">
              <a:avLst/>
            </a:prstGeom>
            <a:gradFill flip="none" rotWithShape="1">
              <a:gsLst>
                <a:gs pos="0">
                  <a:schemeClr val="tx2">
                    <a:lumMod val="75000"/>
                  </a:schemeClr>
                </a:gs>
                <a:gs pos="41000">
                  <a:srgbClr val="85C2FF"/>
                </a:gs>
                <a:gs pos="54000">
                  <a:srgbClr val="C4D6EB"/>
                </a:gs>
                <a:gs pos="100000">
                  <a:srgbClr val="FFEBFA">
                    <a:lumMod val="34000"/>
                    <a:lumOff val="66000"/>
                  </a:srgbClr>
                </a:gs>
              </a:gsLst>
              <a:lin ang="16200000" scaled="1"/>
              <a:tileRect/>
            </a:gradFill>
            <a:ln>
              <a:solidFill>
                <a:schemeClr val="accent5">
                  <a:lumMod val="60000"/>
                  <a:lumOff val="40000"/>
                </a:schemeClr>
              </a:solidFill>
            </a:ln>
            <a:effectLst>
              <a:outerShdw blurRad="76200" dist="12700" dir="8100000" sy="-23000" kx="800400" algn="br" rotWithShape="0">
                <a:prstClr val="black">
                  <a:alpha val="20000"/>
                </a:prstClr>
              </a:outerShdw>
            </a:effectLst>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34" name="Flowchart: Decision 33"/>
            <p:cNvSpPr/>
            <p:nvPr/>
          </p:nvSpPr>
          <p:spPr>
            <a:xfrm rot="2636217">
              <a:off x="4764670" y="5668584"/>
              <a:ext cx="249767" cy="268849"/>
            </a:xfrm>
            <a:prstGeom prst="flowChartDecision">
              <a:avLst/>
            </a:prstGeom>
            <a:gradFill flip="none" rotWithShape="1">
              <a:gsLst>
                <a:gs pos="0">
                  <a:schemeClr val="tx2">
                    <a:lumMod val="75000"/>
                  </a:schemeClr>
                </a:gs>
                <a:gs pos="41000">
                  <a:srgbClr val="85C2FF"/>
                </a:gs>
                <a:gs pos="54000">
                  <a:srgbClr val="C4D6EB"/>
                </a:gs>
                <a:gs pos="100000">
                  <a:srgbClr val="FFEBFA">
                    <a:lumMod val="34000"/>
                    <a:lumOff val="66000"/>
                  </a:srgbClr>
                </a:gs>
              </a:gsLst>
              <a:lin ang="16200000" scaled="1"/>
              <a:tileRect/>
            </a:gradFill>
            <a:ln>
              <a:solidFill>
                <a:schemeClr val="accent5">
                  <a:lumMod val="60000"/>
                  <a:lumOff val="40000"/>
                </a:schemeClr>
              </a:solidFill>
            </a:ln>
            <a:effectLst>
              <a:outerShdw blurRad="76200" dist="12700" dir="8100000" sy="-23000" kx="800400" algn="br" rotWithShape="0">
                <a:prstClr val="black">
                  <a:alpha val="20000"/>
                </a:prstClr>
              </a:outerShdw>
            </a:effectLst>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35" name="Flowchart: Decision 34"/>
            <p:cNvSpPr/>
            <p:nvPr/>
          </p:nvSpPr>
          <p:spPr>
            <a:xfrm>
              <a:off x="5072756" y="5705904"/>
              <a:ext cx="249767" cy="268849"/>
            </a:xfrm>
            <a:prstGeom prst="flowChartDecision">
              <a:avLst/>
            </a:prstGeom>
            <a:gradFill flip="none" rotWithShape="1">
              <a:gsLst>
                <a:gs pos="0">
                  <a:schemeClr val="tx2">
                    <a:lumMod val="75000"/>
                  </a:schemeClr>
                </a:gs>
                <a:gs pos="41000">
                  <a:srgbClr val="85C2FF"/>
                </a:gs>
                <a:gs pos="54000">
                  <a:srgbClr val="C4D6EB"/>
                </a:gs>
                <a:gs pos="100000">
                  <a:srgbClr val="FFEBFA">
                    <a:lumMod val="34000"/>
                    <a:lumOff val="66000"/>
                  </a:srgbClr>
                </a:gs>
              </a:gsLst>
              <a:lin ang="16200000" scaled="1"/>
              <a:tileRect/>
            </a:gradFill>
            <a:ln>
              <a:solidFill>
                <a:schemeClr val="accent5">
                  <a:lumMod val="60000"/>
                  <a:lumOff val="40000"/>
                </a:schemeClr>
              </a:solidFill>
            </a:ln>
            <a:effectLst>
              <a:outerShdw blurRad="76200" dist="12700" dir="8100000" sy="-23000" kx="800400" algn="br" rotWithShape="0">
                <a:prstClr val="black">
                  <a:alpha val="20000"/>
                </a:prstClr>
              </a:outerShdw>
            </a:effectLst>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pic>
          <p:nvPicPr>
            <p:cNvPr id="36" name="Picture 35"/>
            <p:cNvPicPr>
              <a:picLocks noChangeAspect="1"/>
            </p:cNvPicPr>
            <p:nvPr/>
          </p:nvPicPr>
          <p:blipFill rotWithShape="1">
            <a:blip r:embed="rId3">
              <a:extLst>
                <a:ext uri="{28A0092B-C50C-407E-A947-70E740481C1C}">
                  <a14:useLocalDpi xmlns:a14="http://schemas.microsoft.com/office/drawing/2010/main" val="0"/>
                </a:ext>
              </a:extLst>
            </a:blip>
            <a:srcRect t="3739" r="59644" b="10317"/>
            <a:stretch/>
          </p:blipFill>
          <p:spPr>
            <a:xfrm>
              <a:off x="3481893" y="4008951"/>
              <a:ext cx="2015656" cy="1132081"/>
            </a:xfrm>
            <a:prstGeom prst="rect">
              <a:avLst/>
            </a:prstGeom>
          </p:spPr>
        </p:pic>
        <p:sp>
          <p:nvSpPr>
            <p:cNvPr id="37" name="Flowchart: Decision 36"/>
            <p:cNvSpPr/>
            <p:nvPr/>
          </p:nvSpPr>
          <p:spPr>
            <a:xfrm rot="945623">
              <a:off x="4319032" y="5071334"/>
              <a:ext cx="249767" cy="268849"/>
            </a:xfrm>
            <a:prstGeom prst="flowChartDecision">
              <a:avLst/>
            </a:prstGeom>
            <a:gradFill flip="none" rotWithShape="1">
              <a:gsLst>
                <a:gs pos="0">
                  <a:schemeClr val="tx2">
                    <a:lumMod val="75000"/>
                  </a:schemeClr>
                </a:gs>
                <a:gs pos="41000">
                  <a:srgbClr val="85C2FF"/>
                </a:gs>
                <a:gs pos="54000">
                  <a:srgbClr val="C4D6EB"/>
                </a:gs>
                <a:gs pos="100000">
                  <a:srgbClr val="FFEBFA">
                    <a:lumMod val="34000"/>
                    <a:lumOff val="66000"/>
                  </a:srgbClr>
                </a:gs>
              </a:gsLst>
              <a:lin ang="16200000" scaled="1"/>
              <a:tileRect/>
            </a:gradFill>
            <a:ln>
              <a:solidFill>
                <a:schemeClr val="accent5">
                  <a:lumMod val="60000"/>
                  <a:lumOff val="40000"/>
                </a:schemeClr>
              </a:solidFill>
            </a:ln>
            <a:effectLst>
              <a:outerShdw blurRad="76200" dist="12700" dir="8100000" sy="-23000" kx="800400" algn="br" rotWithShape="0">
                <a:prstClr val="black">
                  <a:alpha val="20000"/>
                </a:prstClr>
              </a:outerShdw>
            </a:effectLst>
            <a:scene3d>
              <a:camera prst="orthographicFront"/>
              <a:lightRig rig="threePt" dir="t"/>
            </a:scene3d>
            <a:sp3d>
              <a:bevelT prst="convex"/>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pic>
          <p:nvPicPr>
            <p:cNvPr id="38" name="Picture 3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5882514">
              <a:off x="2783561" y="3280915"/>
              <a:ext cx="551211" cy="1232483"/>
            </a:xfrm>
            <a:prstGeom prst="rect">
              <a:avLst/>
            </a:prstGeom>
          </p:spPr>
        </p:pic>
        <p:pic>
          <p:nvPicPr>
            <p:cNvPr id="39" name="Picture 3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6017524">
              <a:off x="5370773" y="3332109"/>
              <a:ext cx="551211" cy="1232483"/>
            </a:xfrm>
            <a:prstGeom prst="rect">
              <a:avLst/>
            </a:prstGeom>
          </p:spPr>
        </p:pic>
        <p:sp>
          <p:nvSpPr>
            <p:cNvPr id="40" name="TextBox 39"/>
            <p:cNvSpPr txBox="1"/>
            <p:nvPr/>
          </p:nvSpPr>
          <p:spPr>
            <a:xfrm rot="378389">
              <a:off x="2410408" y="3682263"/>
              <a:ext cx="952105" cy="415498"/>
            </a:xfrm>
            <a:prstGeom prst="rect">
              <a:avLst/>
            </a:prstGeom>
            <a:noFill/>
          </p:spPr>
          <p:txBody>
            <a:bodyPr wrap="square" rtlCol="0">
              <a:spAutoFit/>
            </a:bodyPr>
            <a:lstStyle/>
            <a:p>
              <a:pPr algn="ctr"/>
              <a:r>
                <a:rPr lang="en-ZA" sz="1050" b="1" dirty="0"/>
                <a:t>Business</a:t>
              </a:r>
            </a:p>
            <a:p>
              <a:pPr algn="ctr"/>
              <a:r>
                <a:rPr lang="en-ZA" sz="1050" b="1" dirty="0"/>
                <a:t>Environment</a:t>
              </a:r>
            </a:p>
          </p:txBody>
        </p:sp>
        <p:sp>
          <p:nvSpPr>
            <p:cNvPr id="41" name="TextBox 40"/>
            <p:cNvSpPr txBox="1"/>
            <p:nvPr/>
          </p:nvSpPr>
          <p:spPr>
            <a:xfrm rot="21380161">
              <a:off x="5421026" y="3719956"/>
              <a:ext cx="792953" cy="415498"/>
            </a:xfrm>
            <a:prstGeom prst="rect">
              <a:avLst/>
            </a:prstGeom>
            <a:noFill/>
          </p:spPr>
          <p:txBody>
            <a:bodyPr wrap="square" rtlCol="0">
              <a:spAutoFit/>
            </a:bodyPr>
            <a:lstStyle/>
            <a:p>
              <a:pPr algn="ctr"/>
              <a:r>
                <a:rPr lang="en-ZA" sz="1050" b="1" dirty="0"/>
                <a:t>Business</a:t>
              </a:r>
            </a:p>
            <a:p>
              <a:pPr algn="ctr"/>
              <a:r>
                <a:rPr lang="en-ZA" sz="1050" b="1" dirty="0"/>
                <a:t>Strategy</a:t>
              </a:r>
            </a:p>
          </p:txBody>
        </p:sp>
        <p:sp>
          <p:nvSpPr>
            <p:cNvPr id="42" name="Oval 41"/>
            <p:cNvSpPr/>
            <p:nvPr/>
          </p:nvSpPr>
          <p:spPr>
            <a:xfrm>
              <a:off x="3707255" y="4210544"/>
              <a:ext cx="45719" cy="45719"/>
            </a:xfrm>
            <a:prstGeom prst="ellipse">
              <a:avLst/>
            </a:prstGeom>
            <a:solidFill>
              <a:schemeClr val="bg2">
                <a:lumMod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43" name="Oval 42"/>
            <p:cNvSpPr/>
            <p:nvPr/>
          </p:nvSpPr>
          <p:spPr>
            <a:xfrm>
              <a:off x="3769695" y="4111984"/>
              <a:ext cx="45719" cy="45719"/>
            </a:xfrm>
            <a:prstGeom prst="ellipse">
              <a:avLst/>
            </a:prstGeom>
            <a:solidFill>
              <a:schemeClr val="bg2">
                <a:lumMod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44" name="Oval 43"/>
            <p:cNvSpPr/>
            <p:nvPr/>
          </p:nvSpPr>
          <p:spPr>
            <a:xfrm>
              <a:off x="4922866" y="4113905"/>
              <a:ext cx="45719" cy="45719"/>
            </a:xfrm>
            <a:prstGeom prst="ellipse">
              <a:avLst/>
            </a:prstGeom>
            <a:solidFill>
              <a:schemeClr val="bg2">
                <a:lumMod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45" name="Oval 44"/>
            <p:cNvSpPr/>
            <p:nvPr/>
          </p:nvSpPr>
          <p:spPr>
            <a:xfrm>
              <a:off x="4865423" y="4201003"/>
              <a:ext cx="45719" cy="45719"/>
            </a:xfrm>
            <a:prstGeom prst="ellipse">
              <a:avLst/>
            </a:prstGeom>
            <a:solidFill>
              <a:schemeClr val="bg2">
                <a:lumMod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46" name="Oval 45"/>
            <p:cNvSpPr/>
            <p:nvPr/>
          </p:nvSpPr>
          <p:spPr>
            <a:xfrm>
              <a:off x="3650527" y="4097581"/>
              <a:ext cx="45719" cy="45719"/>
            </a:xfrm>
            <a:prstGeom prst="ellipse">
              <a:avLst/>
            </a:prstGeom>
            <a:solidFill>
              <a:schemeClr val="bg2">
                <a:lumMod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47" name="Oval 46"/>
            <p:cNvSpPr/>
            <p:nvPr/>
          </p:nvSpPr>
          <p:spPr>
            <a:xfrm>
              <a:off x="4987143" y="4008951"/>
              <a:ext cx="45719" cy="45719"/>
            </a:xfrm>
            <a:prstGeom prst="ellipse">
              <a:avLst/>
            </a:prstGeom>
            <a:solidFill>
              <a:schemeClr val="bg2">
                <a:lumMod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48" name="Oval 47"/>
            <p:cNvSpPr/>
            <p:nvPr/>
          </p:nvSpPr>
          <p:spPr>
            <a:xfrm>
              <a:off x="5016382" y="4074721"/>
              <a:ext cx="45719" cy="45719"/>
            </a:xfrm>
            <a:prstGeom prst="ellipse">
              <a:avLst/>
            </a:prstGeom>
            <a:solidFill>
              <a:schemeClr val="bg2">
                <a:lumMod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49" name="Oval 48"/>
            <p:cNvSpPr/>
            <p:nvPr/>
          </p:nvSpPr>
          <p:spPr>
            <a:xfrm>
              <a:off x="4911142" y="4261962"/>
              <a:ext cx="45719" cy="45719"/>
            </a:xfrm>
            <a:prstGeom prst="ellipse">
              <a:avLst/>
            </a:prstGeom>
            <a:solidFill>
              <a:schemeClr val="bg2">
                <a:lumMod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grpSp>
      <p:cxnSp>
        <p:nvCxnSpPr>
          <p:cNvPr id="5" name="Straight Connector 4"/>
          <p:cNvCxnSpPr/>
          <p:nvPr/>
        </p:nvCxnSpPr>
        <p:spPr>
          <a:xfrm flipV="1">
            <a:off x="2546194" y="3479588"/>
            <a:ext cx="2651192" cy="9405"/>
          </a:xfrm>
          <a:prstGeom prst="line">
            <a:avLst/>
          </a:prstGeom>
          <a:ln w="19050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5203766" y="3491573"/>
            <a:ext cx="1336616" cy="3315"/>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6534002" y="3489856"/>
            <a:ext cx="2661136" cy="4332"/>
          </a:xfrm>
          <a:prstGeom prst="line">
            <a:avLst/>
          </a:prstGeom>
          <a:ln w="1905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79298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15070" y="8734"/>
            <a:ext cx="12192001" cy="805723"/>
          </a:xfrm>
          <a:prstGeom prst="rect">
            <a:avLst/>
          </a:prstGeom>
          <a:solidFill>
            <a:srgbClr val="00266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rtlCol="0" anchor="ctr">
            <a:noAutofit/>
            <a:scene3d>
              <a:camera prst="orthographicFront"/>
              <a:lightRig rig="soft" dir="t"/>
            </a:scene3d>
            <a:sp3d prstMaterial="softEdge">
              <a:bevelT w="25400" h="25400"/>
            </a:sp3d>
          </a:bodyPr>
          <a:lstStyle>
            <a:lvl1pPr algn="r" rtl="0" eaLnBrk="1" latinLnBrk="0" hangingPunct="1">
              <a:spcBef>
                <a:spcPct val="0"/>
              </a:spcBef>
              <a:buNone/>
              <a:defRPr kumimoji="0" sz="3200" b="1" kern="1200">
                <a:solidFill>
                  <a:srgbClr val="9A9B9C"/>
                </a:solidFill>
                <a:effectLst>
                  <a:outerShdw blurRad="31750" dist="25400" dir="5400000" algn="tl" rotWithShape="0">
                    <a:srgbClr val="000000">
                      <a:alpha val="25000"/>
                    </a:srgbClr>
                  </a:outerShdw>
                </a:effectLst>
                <a:latin typeface="+mn-lt"/>
                <a:ea typeface="+mj-ea"/>
                <a:cs typeface="+mj-cs"/>
              </a:defRPr>
            </a:lvl1pPr>
            <a:lvl2pPr>
              <a:defRPr/>
            </a:lvl2pPr>
            <a:lvl3pPr>
              <a:defRPr/>
            </a:lvl3pPr>
            <a:lvl4pPr>
              <a:defRPr/>
            </a:lvl4pPr>
            <a:lvl5pPr>
              <a:defRPr/>
            </a:lvl5pPr>
            <a:lvl6pPr>
              <a:defRPr/>
            </a:lvl6pPr>
            <a:lvl7pPr>
              <a:defRPr/>
            </a:lvl7pPr>
            <a:lvl8pPr>
              <a:defRPr/>
            </a:lvl8pPr>
            <a:lvl9pPr>
              <a:defRPr/>
            </a:lvl9pPr>
            <a:extLst/>
          </a:lstStyle>
          <a:p>
            <a:pPr marL="354013" indent="7938" algn="l"/>
            <a:r>
              <a:rPr lang="en-ZA" sz="2400" kern="0" dirty="0">
                <a:solidFill>
                  <a:prstClr val="white"/>
                </a:solidFill>
              </a:rPr>
              <a:t>BUDGET ASSUMPTIONS FY2018-FY2024</a:t>
            </a:r>
            <a:endParaRPr lang="en-GB" sz="2400" kern="0" dirty="0">
              <a:solidFill>
                <a:prstClr val="white"/>
              </a:solidFill>
            </a:endParaRPr>
          </a:p>
        </p:txBody>
      </p:sp>
      <p:sp>
        <p:nvSpPr>
          <p:cNvPr id="8" name="Parallelogram 7"/>
          <p:cNvSpPr/>
          <p:nvPr/>
        </p:nvSpPr>
        <p:spPr>
          <a:xfrm>
            <a:off x="-2" y="6519067"/>
            <a:ext cx="9871077" cy="335757"/>
          </a:xfrm>
          <a:custGeom>
            <a:avLst/>
            <a:gdLst>
              <a:gd name="connsiteX0" fmla="*/ 0 w 10188575"/>
              <a:gd name="connsiteY0" fmla="*/ 166915 h 166915"/>
              <a:gd name="connsiteX1" fmla="*/ 41729 w 10188575"/>
              <a:gd name="connsiteY1" fmla="*/ 0 h 166915"/>
              <a:gd name="connsiteX2" fmla="*/ 10188575 w 10188575"/>
              <a:gd name="connsiteY2" fmla="*/ 0 h 166915"/>
              <a:gd name="connsiteX3" fmla="*/ 10146846 w 10188575"/>
              <a:gd name="connsiteY3" fmla="*/ 166915 h 166915"/>
              <a:gd name="connsiteX4" fmla="*/ 0 w 10188575"/>
              <a:gd name="connsiteY4" fmla="*/ 166915 h 166915"/>
              <a:gd name="connsiteX0" fmla="*/ 17802 w 10146846"/>
              <a:gd name="connsiteY0" fmla="*/ 166915 h 166915"/>
              <a:gd name="connsiteX1" fmla="*/ 0 w 10146846"/>
              <a:gd name="connsiteY1" fmla="*/ 0 h 166915"/>
              <a:gd name="connsiteX2" fmla="*/ 10146846 w 10146846"/>
              <a:gd name="connsiteY2" fmla="*/ 0 h 166915"/>
              <a:gd name="connsiteX3" fmla="*/ 10105117 w 10146846"/>
              <a:gd name="connsiteY3" fmla="*/ 166915 h 166915"/>
              <a:gd name="connsiteX4" fmla="*/ 17802 w 10146846"/>
              <a:gd name="connsiteY4" fmla="*/ 166915 h 166915"/>
              <a:gd name="connsiteX0" fmla="*/ 3514 w 10132558"/>
              <a:gd name="connsiteY0" fmla="*/ 166915 h 166915"/>
              <a:gd name="connsiteX1" fmla="*/ 0 w 10132558"/>
              <a:gd name="connsiteY1" fmla="*/ 2381 h 166915"/>
              <a:gd name="connsiteX2" fmla="*/ 10132558 w 10132558"/>
              <a:gd name="connsiteY2" fmla="*/ 0 h 166915"/>
              <a:gd name="connsiteX3" fmla="*/ 10090829 w 10132558"/>
              <a:gd name="connsiteY3" fmla="*/ 166915 h 166915"/>
              <a:gd name="connsiteX4" fmla="*/ 3514 w 10132558"/>
              <a:gd name="connsiteY4" fmla="*/ 166915 h 166915"/>
              <a:gd name="connsiteX0" fmla="*/ 154 w 10129198"/>
              <a:gd name="connsiteY0" fmla="*/ 166915 h 166915"/>
              <a:gd name="connsiteX1" fmla="*/ 3784 w 10129198"/>
              <a:gd name="connsiteY1" fmla="*/ 0 h 166915"/>
              <a:gd name="connsiteX2" fmla="*/ 10129198 w 10129198"/>
              <a:gd name="connsiteY2" fmla="*/ 0 h 166915"/>
              <a:gd name="connsiteX3" fmla="*/ 10087469 w 10129198"/>
              <a:gd name="connsiteY3" fmla="*/ 166915 h 166915"/>
              <a:gd name="connsiteX4" fmla="*/ 154 w 10129198"/>
              <a:gd name="connsiteY4" fmla="*/ 166915 h 166915"/>
              <a:gd name="connsiteX0" fmla="*/ 239 w 10126902"/>
              <a:gd name="connsiteY0" fmla="*/ 169296 h 169296"/>
              <a:gd name="connsiteX1" fmla="*/ 1488 w 10126902"/>
              <a:gd name="connsiteY1" fmla="*/ 0 h 169296"/>
              <a:gd name="connsiteX2" fmla="*/ 10126902 w 10126902"/>
              <a:gd name="connsiteY2" fmla="*/ 0 h 169296"/>
              <a:gd name="connsiteX3" fmla="*/ 10085173 w 10126902"/>
              <a:gd name="connsiteY3" fmla="*/ 166915 h 169296"/>
              <a:gd name="connsiteX4" fmla="*/ 239 w 10126902"/>
              <a:gd name="connsiteY4" fmla="*/ 169296 h 169296"/>
              <a:gd name="connsiteX0" fmla="*/ 239 w 10425352"/>
              <a:gd name="connsiteY0" fmla="*/ 175887 h 175887"/>
              <a:gd name="connsiteX1" fmla="*/ 1488 w 10425352"/>
              <a:gd name="connsiteY1" fmla="*/ 6591 h 175887"/>
              <a:gd name="connsiteX2" fmla="*/ 10425352 w 10425352"/>
              <a:gd name="connsiteY2" fmla="*/ 0 h 175887"/>
              <a:gd name="connsiteX3" fmla="*/ 10085173 w 10425352"/>
              <a:gd name="connsiteY3" fmla="*/ 173506 h 175887"/>
              <a:gd name="connsiteX4" fmla="*/ 239 w 10425352"/>
              <a:gd name="connsiteY4" fmla="*/ 175887 h 175887"/>
              <a:gd name="connsiteX0" fmla="*/ 239 w 10635515"/>
              <a:gd name="connsiteY0" fmla="*/ 179182 h 179182"/>
              <a:gd name="connsiteX1" fmla="*/ 1488 w 10635515"/>
              <a:gd name="connsiteY1" fmla="*/ 9886 h 179182"/>
              <a:gd name="connsiteX2" fmla="*/ 10635515 w 10635515"/>
              <a:gd name="connsiteY2" fmla="*/ 0 h 179182"/>
              <a:gd name="connsiteX3" fmla="*/ 10085173 w 10635515"/>
              <a:gd name="connsiteY3" fmla="*/ 176801 h 179182"/>
              <a:gd name="connsiteX4" fmla="*/ 239 w 10635515"/>
              <a:gd name="connsiteY4" fmla="*/ 179182 h 179182"/>
              <a:gd name="connsiteX0" fmla="*/ 239 w 10635515"/>
              <a:gd name="connsiteY0" fmla="*/ 179182 h 179182"/>
              <a:gd name="connsiteX1" fmla="*/ 1488 w 10635515"/>
              <a:gd name="connsiteY1" fmla="*/ 9886 h 179182"/>
              <a:gd name="connsiteX2" fmla="*/ 10635515 w 10635515"/>
              <a:gd name="connsiteY2" fmla="*/ 0 h 179182"/>
              <a:gd name="connsiteX3" fmla="*/ 10224620 w 10635515"/>
              <a:gd name="connsiteY3" fmla="*/ 178449 h 179182"/>
              <a:gd name="connsiteX4" fmla="*/ 239 w 10635515"/>
              <a:gd name="connsiteY4" fmla="*/ 179182 h 179182"/>
              <a:gd name="connsiteX0" fmla="*/ 239 w 10635515"/>
              <a:gd name="connsiteY0" fmla="*/ 174239 h 174239"/>
              <a:gd name="connsiteX1" fmla="*/ 1488 w 10635515"/>
              <a:gd name="connsiteY1" fmla="*/ 4943 h 174239"/>
              <a:gd name="connsiteX2" fmla="*/ 10635515 w 10635515"/>
              <a:gd name="connsiteY2" fmla="*/ 0 h 174239"/>
              <a:gd name="connsiteX3" fmla="*/ 10224620 w 10635515"/>
              <a:gd name="connsiteY3" fmla="*/ 173506 h 174239"/>
              <a:gd name="connsiteX4" fmla="*/ 239 w 10635515"/>
              <a:gd name="connsiteY4" fmla="*/ 174239 h 174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35515" h="174239">
                <a:moveTo>
                  <a:pt x="239" y="174239"/>
                </a:moveTo>
                <a:cubicBezTo>
                  <a:pt x="-932" y="119394"/>
                  <a:pt x="2659" y="59788"/>
                  <a:pt x="1488" y="4943"/>
                </a:cubicBezTo>
                <a:lnTo>
                  <a:pt x="10635515" y="0"/>
                </a:lnTo>
                <a:lnTo>
                  <a:pt x="10224620" y="173506"/>
                </a:lnTo>
                <a:lnTo>
                  <a:pt x="239" y="174239"/>
                </a:lnTo>
                <a:close/>
              </a:path>
            </a:pathLst>
          </a:custGeom>
          <a:pattFill prst="pct70">
            <a:fgClr>
              <a:schemeClr val="bg1">
                <a:lumMod val="75000"/>
              </a:schemeClr>
            </a:fgClr>
            <a:bgClr>
              <a:schemeClr val="bg1"/>
            </a:bgClr>
          </a:patt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dirty="0"/>
          </a:p>
        </p:txBody>
      </p:sp>
      <p:sp>
        <p:nvSpPr>
          <p:cNvPr id="11" name="Parallelogram 10"/>
          <p:cNvSpPr/>
          <p:nvPr/>
        </p:nvSpPr>
        <p:spPr>
          <a:xfrm>
            <a:off x="10360480" y="6519067"/>
            <a:ext cx="1831520" cy="330199"/>
          </a:xfrm>
          <a:custGeom>
            <a:avLst/>
            <a:gdLst>
              <a:gd name="connsiteX0" fmla="*/ 0 w 1983938"/>
              <a:gd name="connsiteY0" fmla="*/ 166914 h 166914"/>
              <a:gd name="connsiteX1" fmla="*/ 41729 w 1983938"/>
              <a:gd name="connsiteY1" fmla="*/ 0 h 166914"/>
              <a:gd name="connsiteX2" fmla="*/ 1983938 w 1983938"/>
              <a:gd name="connsiteY2" fmla="*/ 0 h 166914"/>
              <a:gd name="connsiteX3" fmla="*/ 1942210 w 1983938"/>
              <a:gd name="connsiteY3" fmla="*/ 166914 h 166914"/>
              <a:gd name="connsiteX4" fmla="*/ 0 w 1983938"/>
              <a:gd name="connsiteY4" fmla="*/ 166914 h 166914"/>
              <a:gd name="connsiteX0" fmla="*/ 0 w 1942210"/>
              <a:gd name="connsiteY0" fmla="*/ 166914 h 166914"/>
              <a:gd name="connsiteX1" fmla="*/ 41729 w 1942210"/>
              <a:gd name="connsiteY1" fmla="*/ 0 h 166914"/>
              <a:gd name="connsiteX2" fmla="*/ 1910120 w 1942210"/>
              <a:gd name="connsiteY2" fmla="*/ 0 h 166914"/>
              <a:gd name="connsiteX3" fmla="*/ 1942210 w 1942210"/>
              <a:gd name="connsiteY3" fmla="*/ 166914 h 166914"/>
              <a:gd name="connsiteX4" fmla="*/ 0 w 1942210"/>
              <a:gd name="connsiteY4" fmla="*/ 166914 h 166914"/>
              <a:gd name="connsiteX0" fmla="*/ 0 w 1913635"/>
              <a:gd name="connsiteY0" fmla="*/ 166914 h 166914"/>
              <a:gd name="connsiteX1" fmla="*/ 41729 w 1913635"/>
              <a:gd name="connsiteY1" fmla="*/ 0 h 166914"/>
              <a:gd name="connsiteX2" fmla="*/ 1910120 w 1913635"/>
              <a:gd name="connsiteY2" fmla="*/ 0 h 166914"/>
              <a:gd name="connsiteX3" fmla="*/ 1913635 w 1913635"/>
              <a:gd name="connsiteY3" fmla="*/ 166914 h 166914"/>
              <a:gd name="connsiteX4" fmla="*/ 0 w 1913635"/>
              <a:gd name="connsiteY4" fmla="*/ 166914 h 166914"/>
              <a:gd name="connsiteX0" fmla="*/ 0 w 1913635"/>
              <a:gd name="connsiteY0" fmla="*/ 170187 h 170187"/>
              <a:gd name="connsiteX1" fmla="*/ 352879 w 1913635"/>
              <a:gd name="connsiteY1" fmla="*/ 0 h 170187"/>
              <a:gd name="connsiteX2" fmla="*/ 1910120 w 1913635"/>
              <a:gd name="connsiteY2" fmla="*/ 3273 h 170187"/>
              <a:gd name="connsiteX3" fmla="*/ 1913635 w 1913635"/>
              <a:gd name="connsiteY3" fmla="*/ 170187 h 170187"/>
              <a:gd name="connsiteX4" fmla="*/ 0 w 1913635"/>
              <a:gd name="connsiteY4" fmla="*/ 170187 h 1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635" h="170187">
                <a:moveTo>
                  <a:pt x="0" y="170187"/>
                </a:moveTo>
                <a:lnTo>
                  <a:pt x="352879" y="0"/>
                </a:lnTo>
                <a:lnTo>
                  <a:pt x="1910120" y="3273"/>
                </a:lnTo>
                <a:cubicBezTo>
                  <a:pt x="1911292" y="58911"/>
                  <a:pt x="1912463" y="114549"/>
                  <a:pt x="1913635" y="170187"/>
                </a:cubicBezTo>
                <a:lnTo>
                  <a:pt x="0" y="170187"/>
                </a:lnTo>
                <a:close/>
              </a:path>
            </a:pathLst>
          </a:custGeom>
          <a:pattFill prst="pct70">
            <a:fgClr>
              <a:schemeClr val="accent4"/>
            </a:fgClr>
            <a:bgClr>
              <a:schemeClr val="bg1"/>
            </a:bgClr>
          </a:patt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sp>
        <p:nvSpPr>
          <p:cNvPr id="13" name="Parallelogram 12"/>
          <p:cNvSpPr/>
          <p:nvPr/>
        </p:nvSpPr>
        <p:spPr>
          <a:xfrm>
            <a:off x="9680574" y="6524623"/>
            <a:ext cx="841376" cy="330201"/>
          </a:xfrm>
          <a:custGeom>
            <a:avLst/>
            <a:gdLst>
              <a:gd name="connsiteX0" fmla="*/ 0 w 812801"/>
              <a:gd name="connsiteY0" fmla="*/ 333376 h 333376"/>
              <a:gd name="connsiteX1" fmla="*/ 83344 w 812801"/>
              <a:gd name="connsiteY1" fmla="*/ 0 h 333376"/>
              <a:gd name="connsiteX2" fmla="*/ 812801 w 812801"/>
              <a:gd name="connsiteY2" fmla="*/ 0 h 333376"/>
              <a:gd name="connsiteX3" fmla="*/ 729457 w 812801"/>
              <a:gd name="connsiteY3" fmla="*/ 333376 h 333376"/>
              <a:gd name="connsiteX4" fmla="*/ 0 w 812801"/>
              <a:gd name="connsiteY4" fmla="*/ 333376 h 333376"/>
              <a:gd name="connsiteX0" fmla="*/ 0 w 1111251"/>
              <a:gd name="connsiteY0" fmla="*/ 330201 h 333376"/>
              <a:gd name="connsiteX1" fmla="*/ 381794 w 1111251"/>
              <a:gd name="connsiteY1" fmla="*/ 0 h 333376"/>
              <a:gd name="connsiteX2" fmla="*/ 1111251 w 1111251"/>
              <a:gd name="connsiteY2" fmla="*/ 0 h 333376"/>
              <a:gd name="connsiteX3" fmla="*/ 1027907 w 1111251"/>
              <a:gd name="connsiteY3" fmla="*/ 333376 h 333376"/>
              <a:gd name="connsiteX4" fmla="*/ 0 w 1111251"/>
              <a:gd name="connsiteY4" fmla="*/ 330201 h 333376"/>
              <a:gd name="connsiteX0" fmla="*/ 0 w 1111251"/>
              <a:gd name="connsiteY0" fmla="*/ 330201 h 330201"/>
              <a:gd name="connsiteX1" fmla="*/ 381794 w 1111251"/>
              <a:gd name="connsiteY1" fmla="*/ 0 h 330201"/>
              <a:gd name="connsiteX2" fmla="*/ 1111251 w 1111251"/>
              <a:gd name="connsiteY2" fmla="*/ 0 h 330201"/>
              <a:gd name="connsiteX3" fmla="*/ 805657 w 1111251"/>
              <a:gd name="connsiteY3" fmla="*/ 320676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815976"/>
              <a:gd name="connsiteY0" fmla="*/ 330201 h 330201"/>
              <a:gd name="connsiteX1" fmla="*/ 381794 w 815976"/>
              <a:gd name="connsiteY1" fmla="*/ 0 h 330201"/>
              <a:gd name="connsiteX2" fmla="*/ 815976 w 815976"/>
              <a:gd name="connsiteY2" fmla="*/ 0 h 330201"/>
              <a:gd name="connsiteX3" fmla="*/ 450057 w 815976"/>
              <a:gd name="connsiteY3" fmla="*/ 330201 h 330201"/>
              <a:gd name="connsiteX4" fmla="*/ 0 w 815976"/>
              <a:gd name="connsiteY4" fmla="*/ 330201 h 330201"/>
              <a:gd name="connsiteX0" fmla="*/ 0 w 841376"/>
              <a:gd name="connsiteY0" fmla="*/ 330201 h 330201"/>
              <a:gd name="connsiteX1" fmla="*/ 381794 w 841376"/>
              <a:gd name="connsiteY1" fmla="*/ 0 h 330201"/>
              <a:gd name="connsiteX2" fmla="*/ 841376 w 841376"/>
              <a:gd name="connsiteY2" fmla="*/ 0 h 330201"/>
              <a:gd name="connsiteX3" fmla="*/ 450057 w 841376"/>
              <a:gd name="connsiteY3" fmla="*/ 330201 h 330201"/>
              <a:gd name="connsiteX4" fmla="*/ 0 w 841376"/>
              <a:gd name="connsiteY4" fmla="*/ 330201 h 33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376" h="330201">
                <a:moveTo>
                  <a:pt x="0" y="330201"/>
                </a:moveTo>
                <a:lnTo>
                  <a:pt x="381794" y="0"/>
                </a:lnTo>
                <a:lnTo>
                  <a:pt x="841376" y="0"/>
                </a:lnTo>
                <a:lnTo>
                  <a:pt x="450057" y="330201"/>
                </a:lnTo>
                <a:lnTo>
                  <a:pt x="0" y="330201"/>
                </a:lnTo>
                <a:close/>
              </a:path>
            </a:pathLst>
          </a:custGeom>
          <a:pattFill prst="pct70">
            <a:fgClr>
              <a:schemeClr val="accent5">
                <a:lumMod val="50000"/>
              </a:schemeClr>
            </a:fgClr>
            <a:bgClr>
              <a:schemeClr val="bg1"/>
            </a:bgClr>
          </a:patt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p>
        </p:txBody>
      </p:sp>
      <p:sp>
        <p:nvSpPr>
          <p:cNvPr id="3" name="TextBox 2">
            <a:extLst>
              <a:ext uri="{FF2B5EF4-FFF2-40B4-BE49-F238E27FC236}">
                <a16:creationId xmlns:a16="http://schemas.microsoft.com/office/drawing/2014/main" id="{306EBDAB-6567-4BB5-A72D-B8C120B081C9}"/>
              </a:ext>
            </a:extLst>
          </p:cNvPr>
          <p:cNvSpPr txBox="1"/>
          <p:nvPr/>
        </p:nvSpPr>
        <p:spPr>
          <a:xfrm>
            <a:off x="30144" y="6484140"/>
            <a:ext cx="12161855" cy="373859"/>
          </a:xfrm>
          <a:prstGeom prst="rect">
            <a:avLst/>
          </a:prstGeom>
          <a:noFill/>
        </p:spPr>
        <p:txBody>
          <a:bodyPr wrap="square" rtlCol="0" anchor="ctr">
            <a:noAutofit/>
          </a:bodyPr>
          <a:lstStyle/>
          <a:p>
            <a:pPr indent="361950"/>
            <a:endParaRPr lang="en-ZA" sz="1000" b="1" dirty="0"/>
          </a:p>
        </p:txBody>
      </p:sp>
      <p:sp>
        <p:nvSpPr>
          <p:cNvPr id="5" name="Slide Number Placeholder 4">
            <a:extLst>
              <a:ext uri="{FF2B5EF4-FFF2-40B4-BE49-F238E27FC236}">
                <a16:creationId xmlns:a16="http://schemas.microsoft.com/office/drawing/2014/main" id="{A987B35D-F68B-4006-AC19-5A526609671C}"/>
              </a:ext>
            </a:extLst>
          </p:cNvPr>
          <p:cNvSpPr>
            <a:spLocks noGrp="1"/>
          </p:cNvSpPr>
          <p:nvPr>
            <p:ph type="sldNum" sz="quarter" idx="12"/>
          </p:nvPr>
        </p:nvSpPr>
        <p:spPr>
          <a:xfrm>
            <a:off x="9448800" y="6484141"/>
            <a:ext cx="2743200" cy="365125"/>
          </a:xfrm>
        </p:spPr>
        <p:txBody>
          <a:bodyPr anchor="ctr"/>
          <a:lstStyle/>
          <a:p>
            <a:fld id="{87102F09-8F7D-4EC1-9AE5-82CA77F49212}" type="slidenum">
              <a:rPr lang="en-ZA" b="1" smtClean="0">
                <a:solidFill>
                  <a:schemeClr val="tx1"/>
                </a:solidFill>
              </a:rPr>
              <a:t>25</a:t>
            </a:fld>
            <a:endParaRPr lang="en-ZA" b="1" dirty="0">
              <a:solidFill>
                <a:schemeClr val="tx1"/>
              </a:solidFill>
            </a:endParaRPr>
          </a:p>
        </p:txBody>
      </p:sp>
      <p:pic>
        <p:nvPicPr>
          <p:cNvPr id="9" name="Picture 8">
            <a:extLst>
              <a:ext uri="{FF2B5EF4-FFF2-40B4-BE49-F238E27FC236}">
                <a16:creationId xmlns:a16="http://schemas.microsoft.com/office/drawing/2014/main" id="{AEE76D8B-D68B-4E8B-A213-38E4153195A0}"/>
              </a:ext>
            </a:extLst>
          </p:cNvPr>
          <p:cNvPicPr>
            <a:picLocks noChangeAspect="1"/>
          </p:cNvPicPr>
          <p:nvPr/>
        </p:nvPicPr>
        <p:blipFill>
          <a:blip r:embed="rId2"/>
          <a:stretch>
            <a:fillRect/>
          </a:stretch>
        </p:blipFill>
        <p:spPr>
          <a:xfrm>
            <a:off x="199945" y="1000751"/>
            <a:ext cx="3544077" cy="1651407"/>
          </a:xfrm>
          <a:prstGeom prst="rect">
            <a:avLst/>
          </a:prstGeom>
        </p:spPr>
      </p:pic>
      <p:pic>
        <p:nvPicPr>
          <p:cNvPr id="10" name="Picture 9">
            <a:extLst>
              <a:ext uri="{FF2B5EF4-FFF2-40B4-BE49-F238E27FC236}">
                <a16:creationId xmlns:a16="http://schemas.microsoft.com/office/drawing/2014/main" id="{C239A719-6C95-43F4-A861-EEF33EABF217}"/>
              </a:ext>
            </a:extLst>
          </p:cNvPr>
          <p:cNvPicPr>
            <a:picLocks noChangeAspect="1"/>
          </p:cNvPicPr>
          <p:nvPr/>
        </p:nvPicPr>
        <p:blipFill>
          <a:blip r:embed="rId3"/>
          <a:stretch>
            <a:fillRect/>
          </a:stretch>
        </p:blipFill>
        <p:spPr>
          <a:xfrm>
            <a:off x="199945" y="2842613"/>
            <a:ext cx="5170033" cy="1651407"/>
          </a:xfrm>
          <a:prstGeom prst="rect">
            <a:avLst/>
          </a:prstGeom>
        </p:spPr>
      </p:pic>
      <p:pic>
        <p:nvPicPr>
          <p:cNvPr id="12" name="Picture 11">
            <a:extLst>
              <a:ext uri="{FF2B5EF4-FFF2-40B4-BE49-F238E27FC236}">
                <a16:creationId xmlns:a16="http://schemas.microsoft.com/office/drawing/2014/main" id="{8731A4F4-0316-46F8-909C-414040972736}"/>
              </a:ext>
            </a:extLst>
          </p:cNvPr>
          <p:cNvPicPr>
            <a:picLocks noChangeAspect="1"/>
          </p:cNvPicPr>
          <p:nvPr/>
        </p:nvPicPr>
        <p:blipFill>
          <a:blip r:embed="rId4"/>
          <a:stretch>
            <a:fillRect/>
          </a:stretch>
        </p:blipFill>
        <p:spPr>
          <a:xfrm>
            <a:off x="188533" y="4684475"/>
            <a:ext cx="3544077" cy="1384641"/>
          </a:xfrm>
          <a:prstGeom prst="rect">
            <a:avLst/>
          </a:prstGeom>
        </p:spPr>
      </p:pic>
      <p:pic>
        <p:nvPicPr>
          <p:cNvPr id="14" name="Picture 13">
            <a:extLst>
              <a:ext uri="{FF2B5EF4-FFF2-40B4-BE49-F238E27FC236}">
                <a16:creationId xmlns:a16="http://schemas.microsoft.com/office/drawing/2014/main" id="{F0A6710D-1052-4320-B48D-CC1A1D80BBF5}"/>
              </a:ext>
            </a:extLst>
          </p:cNvPr>
          <p:cNvPicPr>
            <a:picLocks noChangeAspect="1"/>
          </p:cNvPicPr>
          <p:nvPr/>
        </p:nvPicPr>
        <p:blipFill>
          <a:blip r:embed="rId5"/>
          <a:stretch>
            <a:fillRect/>
          </a:stretch>
        </p:blipFill>
        <p:spPr>
          <a:xfrm>
            <a:off x="4053488" y="984943"/>
            <a:ext cx="3544077" cy="1651407"/>
          </a:xfrm>
          <a:prstGeom prst="rect">
            <a:avLst/>
          </a:prstGeom>
        </p:spPr>
      </p:pic>
    </p:spTree>
    <p:extLst>
      <p:ext uri="{BB962C8B-B14F-4D97-AF65-F5344CB8AC3E}">
        <p14:creationId xmlns:p14="http://schemas.microsoft.com/office/powerpoint/2010/main" val="6029921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15070" y="8734"/>
            <a:ext cx="12192001" cy="805723"/>
          </a:xfrm>
          <a:prstGeom prst="rect">
            <a:avLst/>
          </a:prstGeom>
          <a:solidFill>
            <a:srgbClr val="00266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rtlCol="0" anchor="ctr">
            <a:noAutofit/>
            <a:scene3d>
              <a:camera prst="orthographicFront"/>
              <a:lightRig rig="soft" dir="t"/>
            </a:scene3d>
            <a:sp3d prstMaterial="softEdge">
              <a:bevelT w="25400" h="25400"/>
            </a:sp3d>
          </a:bodyPr>
          <a:lstStyle>
            <a:lvl1pPr algn="r" rtl="0" eaLnBrk="1" latinLnBrk="0" hangingPunct="1">
              <a:spcBef>
                <a:spcPct val="0"/>
              </a:spcBef>
              <a:buNone/>
              <a:defRPr kumimoji="0" sz="3200" b="1" kern="1200">
                <a:solidFill>
                  <a:srgbClr val="9A9B9C"/>
                </a:solidFill>
                <a:effectLst>
                  <a:outerShdw blurRad="31750" dist="25400" dir="5400000" algn="tl" rotWithShape="0">
                    <a:srgbClr val="000000">
                      <a:alpha val="25000"/>
                    </a:srgbClr>
                  </a:outerShdw>
                </a:effectLst>
                <a:latin typeface="+mn-lt"/>
                <a:ea typeface="+mj-ea"/>
                <a:cs typeface="+mj-cs"/>
              </a:defRPr>
            </a:lvl1pPr>
            <a:lvl2pPr>
              <a:defRPr/>
            </a:lvl2pPr>
            <a:lvl3pPr>
              <a:defRPr/>
            </a:lvl3pPr>
            <a:lvl4pPr>
              <a:defRPr/>
            </a:lvl4pPr>
            <a:lvl5pPr>
              <a:defRPr/>
            </a:lvl5pPr>
            <a:lvl6pPr>
              <a:defRPr/>
            </a:lvl6pPr>
            <a:lvl7pPr>
              <a:defRPr/>
            </a:lvl7pPr>
            <a:lvl8pPr>
              <a:defRPr/>
            </a:lvl8pPr>
            <a:lvl9pPr>
              <a:defRPr/>
            </a:lvl9pPr>
            <a:extLst/>
          </a:lstStyle>
          <a:p>
            <a:pPr marL="354013" indent="7938" algn="l"/>
            <a:r>
              <a:rPr lang="en-ZA" sz="2400" kern="0" dirty="0">
                <a:solidFill>
                  <a:prstClr val="white"/>
                </a:solidFill>
              </a:rPr>
              <a:t>GROUP FINANCIAL PERFORMANCE FY2018-FY2024</a:t>
            </a:r>
            <a:endParaRPr lang="en-GB" sz="2400" kern="0" dirty="0">
              <a:solidFill>
                <a:prstClr val="white"/>
              </a:solidFill>
            </a:endParaRPr>
          </a:p>
        </p:txBody>
      </p:sp>
      <p:sp>
        <p:nvSpPr>
          <p:cNvPr id="8" name="Parallelogram 7"/>
          <p:cNvSpPr/>
          <p:nvPr/>
        </p:nvSpPr>
        <p:spPr>
          <a:xfrm>
            <a:off x="-2" y="6519067"/>
            <a:ext cx="9871077" cy="335757"/>
          </a:xfrm>
          <a:custGeom>
            <a:avLst/>
            <a:gdLst>
              <a:gd name="connsiteX0" fmla="*/ 0 w 10188575"/>
              <a:gd name="connsiteY0" fmla="*/ 166915 h 166915"/>
              <a:gd name="connsiteX1" fmla="*/ 41729 w 10188575"/>
              <a:gd name="connsiteY1" fmla="*/ 0 h 166915"/>
              <a:gd name="connsiteX2" fmla="*/ 10188575 w 10188575"/>
              <a:gd name="connsiteY2" fmla="*/ 0 h 166915"/>
              <a:gd name="connsiteX3" fmla="*/ 10146846 w 10188575"/>
              <a:gd name="connsiteY3" fmla="*/ 166915 h 166915"/>
              <a:gd name="connsiteX4" fmla="*/ 0 w 10188575"/>
              <a:gd name="connsiteY4" fmla="*/ 166915 h 166915"/>
              <a:gd name="connsiteX0" fmla="*/ 17802 w 10146846"/>
              <a:gd name="connsiteY0" fmla="*/ 166915 h 166915"/>
              <a:gd name="connsiteX1" fmla="*/ 0 w 10146846"/>
              <a:gd name="connsiteY1" fmla="*/ 0 h 166915"/>
              <a:gd name="connsiteX2" fmla="*/ 10146846 w 10146846"/>
              <a:gd name="connsiteY2" fmla="*/ 0 h 166915"/>
              <a:gd name="connsiteX3" fmla="*/ 10105117 w 10146846"/>
              <a:gd name="connsiteY3" fmla="*/ 166915 h 166915"/>
              <a:gd name="connsiteX4" fmla="*/ 17802 w 10146846"/>
              <a:gd name="connsiteY4" fmla="*/ 166915 h 166915"/>
              <a:gd name="connsiteX0" fmla="*/ 3514 w 10132558"/>
              <a:gd name="connsiteY0" fmla="*/ 166915 h 166915"/>
              <a:gd name="connsiteX1" fmla="*/ 0 w 10132558"/>
              <a:gd name="connsiteY1" fmla="*/ 2381 h 166915"/>
              <a:gd name="connsiteX2" fmla="*/ 10132558 w 10132558"/>
              <a:gd name="connsiteY2" fmla="*/ 0 h 166915"/>
              <a:gd name="connsiteX3" fmla="*/ 10090829 w 10132558"/>
              <a:gd name="connsiteY3" fmla="*/ 166915 h 166915"/>
              <a:gd name="connsiteX4" fmla="*/ 3514 w 10132558"/>
              <a:gd name="connsiteY4" fmla="*/ 166915 h 166915"/>
              <a:gd name="connsiteX0" fmla="*/ 154 w 10129198"/>
              <a:gd name="connsiteY0" fmla="*/ 166915 h 166915"/>
              <a:gd name="connsiteX1" fmla="*/ 3784 w 10129198"/>
              <a:gd name="connsiteY1" fmla="*/ 0 h 166915"/>
              <a:gd name="connsiteX2" fmla="*/ 10129198 w 10129198"/>
              <a:gd name="connsiteY2" fmla="*/ 0 h 166915"/>
              <a:gd name="connsiteX3" fmla="*/ 10087469 w 10129198"/>
              <a:gd name="connsiteY3" fmla="*/ 166915 h 166915"/>
              <a:gd name="connsiteX4" fmla="*/ 154 w 10129198"/>
              <a:gd name="connsiteY4" fmla="*/ 166915 h 166915"/>
              <a:gd name="connsiteX0" fmla="*/ 239 w 10126902"/>
              <a:gd name="connsiteY0" fmla="*/ 169296 h 169296"/>
              <a:gd name="connsiteX1" fmla="*/ 1488 w 10126902"/>
              <a:gd name="connsiteY1" fmla="*/ 0 h 169296"/>
              <a:gd name="connsiteX2" fmla="*/ 10126902 w 10126902"/>
              <a:gd name="connsiteY2" fmla="*/ 0 h 169296"/>
              <a:gd name="connsiteX3" fmla="*/ 10085173 w 10126902"/>
              <a:gd name="connsiteY3" fmla="*/ 166915 h 169296"/>
              <a:gd name="connsiteX4" fmla="*/ 239 w 10126902"/>
              <a:gd name="connsiteY4" fmla="*/ 169296 h 169296"/>
              <a:gd name="connsiteX0" fmla="*/ 239 w 10425352"/>
              <a:gd name="connsiteY0" fmla="*/ 175887 h 175887"/>
              <a:gd name="connsiteX1" fmla="*/ 1488 w 10425352"/>
              <a:gd name="connsiteY1" fmla="*/ 6591 h 175887"/>
              <a:gd name="connsiteX2" fmla="*/ 10425352 w 10425352"/>
              <a:gd name="connsiteY2" fmla="*/ 0 h 175887"/>
              <a:gd name="connsiteX3" fmla="*/ 10085173 w 10425352"/>
              <a:gd name="connsiteY3" fmla="*/ 173506 h 175887"/>
              <a:gd name="connsiteX4" fmla="*/ 239 w 10425352"/>
              <a:gd name="connsiteY4" fmla="*/ 175887 h 175887"/>
              <a:gd name="connsiteX0" fmla="*/ 239 w 10635515"/>
              <a:gd name="connsiteY0" fmla="*/ 179182 h 179182"/>
              <a:gd name="connsiteX1" fmla="*/ 1488 w 10635515"/>
              <a:gd name="connsiteY1" fmla="*/ 9886 h 179182"/>
              <a:gd name="connsiteX2" fmla="*/ 10635515 w 10635515"/>
              <a:gd name="connsiteY2" fmla="*/ 0 h 179182"/>
              <a:gd name="connsiteX3" fmla="*/ 10085173 w 10635515"/>
              <a:gd name="connsiteY3" fmla="*/ 176801 h 179182"/>
              <a:gd name="connsiteX4" fmla="*/ 239 w 10635515"/>
              <a:gd name="connsiteY4" fmla="*/ 179182 h 179182"/>
              <a:gd name="connsiteX0" fmla="*/ 239 w 10635515"/>
              <a:gd name="connsiteY0" fmla="*/ 179182 h 179182"/>
              <a:gd name="connsiteX1" fmla="*/ 1488 w 10635515"/>
              <a:gd name="connsiteY1" fmla="*/ 9886 h 179182"/>
              <a:gd name="connsiteX2" fmla="*/ 10635515 w 10635515"/>
              <a:gd name="connsiteY2" fmla="*/ 0 h 179182"/>
              <a:gd name="connsiteX3" fmla="*/ 10224620 w 10635515"/>
              <a:gd name="connsiteY3" fmla="*/ 178449 h 179182"/>
              <a:gd name="connsiteX4" fmla="*/ 239 w 10635515"/>
              <a:gd name="connsiteY4" fmla="*/ 179182 h 179182"/>
              <a:gd name="connsiteX0" fmla="*/ 239 w 10635515"/>
              <a:gd name="connsiteY0" fmla="*/ 174239 h 174239"/>
              <a:gd name="connsiteX1" fmla="*/ 1488 w 10635515"/>
              <a:gd name="connsiteY1" fmla="*/ 4943 h 174239"/>
              <a:gd name="connsiteX2" fmla="*/ 10635515 w 10635515"/>
              <a:gd name="connsiteY2" fmla="*/ 0 h 174239"/>
              <a:gd name="connsiteX3" fmla="*/ 10224620 w 10635515"/>
              <a:gd name="connsiteY3" fmla="*/ 173506 h 174239"/>
              <a:gd name="connsiteX4" fmla="*/ 239 w 10635515"/>
              <a:gd name="connsiteY4" fmla="*/ 174239 h 174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35515" h="174239">
                <a:moveTo>
                  <a:pt x="239" y="174239"/>
                </a:moveTo>
                <a:cubicBezTo>
                  <a:pt x="-932" y="119394"/>
                  <a:pt x="2659" y="59788"/>
                  <a:pt x="1488" y="4943"/>
                </a:cubicBezTo>
                <a:lnTo>
                  <a:pt x="10635515" y="0"/>
                </a:lnTo>
                <a:lnTo>
                  <a:pt x="10224620" y="173506"/>
                </a:lnTo>
                <a:lnTo>
                  <a:pt x="239" y="174239"/>
                </a:lnTo>
                <a:close/>
              </a:path>
            </a:pathLst>
          </a:custGeom>
          <a:pattFill prst="pct70">
            <a:fgClr>
              <a:schemeClr val="bg1">
                <a:lumMod val="75000"/>
              </a:schemeClr>
            </a:fgClr>
            <a:bgClr>
              <a:schemeClr val="bg1"/>
            </a:bgClr>
          </a:patt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dirty="0"/>
          </a:p>
        </p:txBody>
      </p:sp>
      <p:sp>
        <p:nvSpPr>
          <p:cNvPr id="11" name="Parallelogram 10"/>
          <p:cNvSpPr/>
          <p:nvPr/>
        </p:nvSpPr>
        <p:spPr>
          <a:xfrm>
            <a:off x="10360480" y="6519067"/>
            <a:ext cx="1831520" cy="330199"/>
          </a:xfrm>
          <a:custGeom>
            <a:avLst/>
            <a:gdLst>
              <a:gd name="connsiteX0" fmla="*/ 0 w 1983938"/>
              <a:gd name="connsiteY0" fmla="*/ 166914 h 166914"/>
              <a:gd name="connsiteX1" fmla="*/ 41729 w 1983938"/>
              <a:gd name="connsiteY1" fmla="*/ 0 h 166914"/>
              <a:gd name="connsiteX2" fmla="*/ 1983938 w 1983938"/>
              <a:gd name="connsiteY2" fmla="*/ 0 h 166914"/>
              <a:gd name="connsiteX3" fmla="*/ 1942210 w 1983938"/>
              <a:gd name="connsiteY3" fmla="*/ 166914 h 166914"/>
              <a:gd name="connsiteX4" fmla="*/ 0 w 1983938"/>
              <a:gd name="connsiteY4" fmla="*/ 166914 h 166914"/>
              <a:gd name="connsiteX0" fmla="*/ 0 w 1942210"/>
              <a:gd name="connsiteY0" fmla="*/ 166914 h 166914"/>
              <a:gd name="connsiteX1" fmla="*/ 41729 w 1942210"/>
              <a:gd name="connsiteY1" fmla="*/ 0 h 166914"/>
              <a:gd name="connsiteX2" fmla="*/ 1910120 w 1942210"/>
              <a:gd name="connsiteY2" fmla="*/ 0 h 166914"/>
              <a:gd name="connsiteX3" fmla="*/ 1942210 w 1942210"/>
              <a:gd name="connsiteY3" fmla="*/ 166914 h 166914"/>
              <a:gd name="connsiteX4" fmla="*/ 0 w 1942210"/>
              <a:gd name="connsiteY4" fmla="*/ 166914 h 166914"/>
              <a:gd name="connsiteX0" fmla="*/ 0 w 1913635"/>
              <a:gd name="connsiteY0" fmla="*/ 166914 h 166914"/>
              <a:gd name="connsiteX1" fmla="*/ 41729 w 1913635"/>
              <a:gd name="connsiteY1" fmla="*/ 0 h 166914"/>
              <a:gd name="connsiteX2" fmla="*/ 1910120 w 1913635"/>
              <a:gd name="connsiteY2" fmla="*/ 0 h 166914"/>
              <a:gd name="connsiteX3" fmla="*/ 1913635 w 1913635"/>
              <a:gd name="connsiteY3" fmla="*/ 166914 h 166914"/>
              <a:gd name="connsiteX4" fmla="*/ 0 w 1913635"/>
              <a:gd name="connsiteY4" fmla="*/ 166914 h 166914"/>
              <a:gd name="connsiteX0" fmla="*/ 0 w 1913635"/>
              <a:gd name="connsiteY0" fmla="*/ 170187 h 170187"/>
              <a:gd name="connsiteX1" fmla="*/ 352879 w 1913635"/>
              <a:gd name="connsiteY1" fmla="*/ 0 h 170187"/>
              <a:gd name="connsiteX2" fmla="*/ 1910120 w 1913635"/>
              <a:gd name="connsiteY2" fmla="*/ 3273 h 170187"/>
              <a:gd name="connsiteX3" fmla="*/ 1913635 w 1913635"/>
              <a:gd name="connsiteY3" fmla="*/ 170187 h 170187"/>
              <a:gd name="connsiteX4" fmla="*/ 0 w 1913635"/>
              <a:gd name="connsiteY4" fmla="*/ 170187 h 1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635" h="170187">
                <a:moveTo>
                  <a:pt x="0" y="170187"/>
                </a:moveTo>
                <a:lnTo>
                  <a:pt x="352879" y="0"/>
                </a:lnTo>
                <a:lnTo>
                  <a:pt x="1910120" y="3273"/>
                </a:lnTo>
                <a:cubicBezTo>
                  <a:pt x="1911292" y="58911"/>
                  <a:pt x="1912463" y="114549"/>
                  <a:pt x="1913635" y="170187"/>
                </a:cubicBezTo>
                <a:lnTo>
                  <a:pt x="0" y="170187"/>
                </a:lnTo>
                <a:close/>
              </a:path>
            </a:pathLst>
          </a:custGeom>
          <a:pattFill prst="pct70">
            <a:fgClr>
              <a:schemeClr val="accent4"/>
            </a:fgClr>
            <a:bgClr>
              <a:schemeClr val="bg1"/>
            </a:bgClr>
          </a:patt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sp>
        <p:nvSpPr>
          <p:cNvPr id="13" name="Parallelogram 12"/>
          <p:cNvSpPr/>
          <p:nvPr/>
        </p:nvSpPr>
        <p:spPr>
          <a:xfrm>
            <a:off x="9680574" y="6524623"/>
            <a:ext cx="841376" cy="330201"/>
          </a:xfrm>
          <a:custGeom>
            <a:avLst/>
            <a:gdLst>
              <a:gd name="connsiteX0" fmla="*/ 0 w 812801"/>
              <a:gd name="connsiteY0" fmla="*/ 333376 h 333376"/>
              <a:gd name="connsiteX1" fmla="*/ 83344 w 812801"/>
              <a:gd name="connsiteY1" fmla="*/ 0 h 333376"/>
              <a:gd name="connsiteX2" fmla="*/ 812801 w 812801"/>
              <a:gd name="connsiteY2" fmla="*/ 0 h 333376"/>
              <a:gd name="connsiteX3" fmla="*/ 729457 w 812801"/>
              <a:gd name="connsiteY3" fmla="*/ 333376 h 333376"/>
              <a:gd name="connsiteX4" fmla="*/ 0 w 812801"/>
              <a:gd name="connsiteY4" fmla="*/ 333376 h 333376"/>
              <a:gd name="connsiteX0" fmla="*/ 0 w 1111251"/>
              <a:gd name="connsiteY0" fmla="*/ 330201 h 333376"/>
              <a:gd name="connsiteX1" fmla="*/ 381794 w 1111251"/>
              <a:gd name="connsiteY1" fmla="*/ 0 h 333376"/>
              <a:gd name="connsiteX2" fmla="*/ 1111251 w 1111251"/>
              <a:gd name="connsiteY2" fmla="*/ 0 h 333376"/>
              <a:gd name="connsiteX3" fmla="*/ 1027907 w 1111251"/>
              <a:gd name="connsiteY3" fmla="*/ 333376 h 333376"/>
              <a:gd name="connsiteX4" fmla="*/ 0 w 1111251"/>
              <a:gd name="connsiteY4" fmla="*/ 330201 h 333376"/>
              <a:gd name="connsiteX0" fmla="*/ 0 w 1111251"/>
              <a:gd name="connsiteY0" fmla="*/ 330201 h 330201"/>
              <a:gd name="connsiteX1" fmla="*/ 381794 w 1111251"/>
              <a:gd name="connsiteY1" fmla="*/ 0 h 330201"/>
              <a:gd name="connsiteX2" fmla="*/ 1111251 w 1111251"/>
              <a:gd name="connsiteY2" fmla="*/ 0 h 330201"/>
              <a:gd name="connsiteX3" fmla="*/ 805657 w 1111251"/>
              <a:gd name="connsiteY3" fmla="*/ 320676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815976"/>
              <a:gd name="connsiteY0" fmla="*/ 330201 h 330201"/>
              <a:gd name="connsiteX1" fmla="*/ 381794 w 815976"/>
              <a:gd name="connsiteY1" fmla="*/ 0 h 330201"/>
              <a:gd name="connsiteX2" fmla="*/ 815976 w 815976"/>
              <a:gd name="connsiteY2" fmla="*/ 0 h 330201"/>
              <a:gd name="connsiteX3" fmla="*/ 450057 w 815976"/>
              <a:gd name="connsiteY3" fmla="*/ 330201 h 330201"/>
              <a:gd name="connsiteX4" fmla="*/ 0 w 815976"/>
              <a:gd name="connsiteY4" fmla="*/ 330201 h 330201"/>
              <a:gd name="connsiteX0" fmla="*/ 0 w 841376"/>
              <a:gd name="connsiteY0" fmla="*/ 330201 h 330201"/>
              <a:gd name="connsiteX1" fmla="*/ 381794 w 841376"/>
              <a:gd name="connsiteY1" fmla="*/ 0 h 330201"/>
              <a:gd name="connsiteX2" fmla="*/ 841376 w 841376"/>
              <a:gd name="connsiteY2" fmla="*/ 0 h 330201"/>
              <a:gd name="connsiteX3" fmla="*/ 450057 w 841376"/>
              <a:gd name="connsiteY3" fmla="*/ 330201 h 330201"/>
              <a:gd name="connsiteX4" fmla="*/ 0 w 841376"/>
              <a:gd name="connsiteY4" fmla="*/ 330201 h 33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376" h="330201">
                <a:moveTo>
                  <a:pt x="0" y="330201"/>
                </a:moveTo>
                <a:lnTo>
                  <a:pt x="381794" y="0"/>
                </a:lnTo>
                <a:lnTo>
                  <a:pt x="841376" y="0"/>
                </a:lnTo>
                <a:lnTo>
                  <a:pt x="450057" y="330201"/>
                </a:lnTo>
                <a:lnTo>
                  <a:pt x="0" y="330201"/>
                </a:lnTo>
                <a:close/>
              </a:path>
            </a:pathLst>
          </a:custGeom>
          <a:pattFill prst="pct70">
            <a:fgClr>
              <a:schemeClr val="accent5">
                <a:lumMod val="50000"/>
              </a:schemeClr>
            </a:fgClr>
            <a:bgClr>
              <a:schemeClr val="bg1"/>
            </a:bgClr>
          </a:patt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p>
        </p:txBody>
      </p:sp>
      <p:sp>
        <p:nvSpPr>
          <p:cNvPr id="3" name="TextBox 2">
            <a:extLst>
              <a:ext uri="{FF2B5EF4-FFF2-40B4-BE49-F238E27FC236}">
                <a16:creationId xmlns:a16="http://schemas.microsoft.com/office/drawing/2014/main" id="{306EBDAB-6567-4BB5-A72D-B8C120B081C9}"/>
              </a:ext>
            </a:extLst>
          </p:cNvPr>
          <p:cNvSpPr txBox="1"/>
          <p:nvPr/>
        </p:nvSpPr>
        <p:spPr>
          <a:xfrm>
            <a:off x="30144" y="6484140"/>
            <a:ext cx="12161855" cy="373859"/>
          </a:xfrm>
          <a:prstGeom prst="rect">
            <a:avLst/>
          </a:prstGeom>
          <a:noFill/>
        </p:spPr>
        <p:txBody>
          <a:bodyPr wrap="square" rtlCol="0" anchor="ctr">
            <a:noAutofit/>
          </a:bodyPr>
          <a:lstStyle/>
          <a:p>
            <a:pPr indent="361950"/>
            <a:endParaRPr lang="en-ZA" sz="1000" b="1" dirty="0"/>
          </a:p>
        </p:txBody>
      </p:sp>
      <p:sp>
        <p:nvSpPr>
          <p:cNvPr id="5" name="Slide Number Placeholder 4">
            <a:extLst>
              <a:ext uri="{FF2B5EF4-FFF2-40B4-BE49-F238E27FC236}">
                <a16:creationId xmlns:a16="http://schemas.microsoft.com/office/drawing/2014/main" id="{A987B35D-F68B-4006-AC19-5A526609671C}"/>
              </a:ext>
            </a:extLst>
          </p:cNvPr>
          <p:cNvSpPr>
            <a:spLocks noGrp="1"/>
          </p:cNvSpPr>
          <p:nvPr>
            <p:ph type="sldNum" sz="quarter" idx="12"/>
          </p:nvPr>
        </p:nvSpPr>
        <p:spPr>
          <a:xfrm>
            <a:off x="9448800" y="6484141"/>
            <a:ext cx="2743200" cy="365125"/>
          </a:xfrm>
        </p:spPr>
        <p:txBody>
          <a:bodyPr anchor="ctr"/>
          <a:lstStyle/>
          <a:p>
            <a:fld id="{87102F09-8F7D-4EC1-9AE5-82CA77F49212}" type="slidenum">
              <a:rPr lang="en-ZA" b="1" smtClean="0">
                <a:solidFill>
                  <a:schemeClr val="tx1"/>
                </a:solidFill>
              </a:rPr>
              <a:t>26</a:t>
            </a:fld>
            <a:endParaRPr lang="en-ZA" b="1" dirty="0">
              <a:solidFill>
                <a:schemeClr val="tx1"/>
              </a:solidFill>
            </a:endParaRPr>
          </a:p>
        </p:txBody>
      </p:sp>
      <p:pic>
        <p:nvPicPr>
          <p:cNvPr id="4" name="Picture 3">
            <a:extLst>
              <a:ext uri="{FF2B5EF4-FFF2-40B4-BE49-F238E27FC236}">
                <a16:creationId xmlns:a16="http://schemas.microsoft.com/office/drawing/2014/main" id="{31A1B13B-3EA2-4170-9AD3-20D486B6F72E}"/>
              </a:ext>
            </a:extLst>
          </p:cNvPr>
          <p:cNvPicPr>
            <a:picLocks noChangeAspect="1"/>
          </p:cNvPicPr>
          <p:nvPr/>
        </p:nvPicPr>
        <p:blipFill>
          <a:blip r:embed="rId2"/>
          <a:stretch>
            <a:fillRect/>
          </a:stretch>
        </p:blipFill>
        <p:spPr>
          <a:xfrm>
            <a:off x="406698" y="974228"/>
            <a:ext cx="10869542" cy="4696480"/>
          </a:xfrm>
          <a:prstGeom prst="rect">
            <a:avLst/>
          </a:prstGeom>
        </p:spPr>
      </p:pic>
    </p:spTree>
    <p:extLst>
      <p:ext uri="{BB962C8B-B14F-4D97-AF65-F5344CB8AC3E}">
        <p14:creationId xmlns:p14="http://schemas.microsoft.com/office/powerpoint/2010/main" val="35536549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15070" y="8734"/>
            <a:ext cx="12192001" cy="805723"/>
          </a:xfrm>
          <a:prstGeom prst="rect">
            <a:avLst/>
          </a:prstGeom>
          <a:solidFill>
            <a:srgbClr val="00266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rtlCol="0" anchor="ctr">
            <a:noAutofit/>
            <a:scene3d>
              <a:camera prst="orthographicFront"/>
              <a:lightRig rig="soft" dir="t"/>
            </a:scene3d>
            <a:sp3d prstMaterial="softEdge">
              <a:bevelT w="25400" h="25400"/>
            </a:sp3d>
          </a:bodyPr>
          <a:lstStyle>
            <a:lvl1pPr algn="r" rtl="0" eaLnBrk="1" latinLnBrk="0" hangingPunct="1">
              <a:spcBef>
                <a:spcPct val="0"/>
              </a:spcBef>
              <a:buNone/>
              <a:defRPr kumimoji="0" sz="3200" b="1" kern="1200">
                <a:solidFill>
                  <a:srgbClr val="9A9B9C"/>
                </a:solidFill>
                <a:effectLst>
                  <a:outerShdw blurRad="31750" dist="25400" dir="5400000" algn="tl" rotWithShape="0">
                    <a:srgbClr val="000000">
                      <a:alpha val="25000"/>
                    </a:srgbClr>
                  </a:outerShdw>
                </a:effectLst>
                <a:latin typeface="+mn-lt"/>
                <a:ea typeface="+mj-ea"/>
                <a:cs typeface="+mj-cs"/>
              </a:defRPr>
            </a:lvl1pPr>
            <a:lvl2pPr>
              <a:defRPr/>
            </a:lvl2pPr>
            <a:lvl3pPr>
              <a:defRPr/>
            </a:lvl3pPr>
            <a:lvl4pPr>
              <a:defRPr/>
            </a:lvl4pPr>
            <a:lvl5pPr>
              <a:defRPr/>
            </a:lvl5pPr>
            <a:lvl6pPr>
              <a:defRPr/>
            </a:lvl6pPr>
            <a:lvl7pPr>
              <a:defRPr/>
            </a:lvl7pPr>
            <a:lvl8pPr>
              <a:defRPr/>
            </a:lvl8pPr>
            <a:lvl9pPr>
              <a:defRPr/>
            </a:lvl9pPr>
            <a:extLst/>
          </a:lstStyle>
          <a:p>
            <a:pPr marL="354013" indent="7938" algn="l"/>
            <a:r>
              <a:rPr lang="en-ZA" sz="2400" kern="0" dirty="0">
                <a:solidFill>
                  <a:prstClr val="white"/>
                </a:solidFill>
              </a:rPr>
              <a:t>GROUP FINANCIAL POSITION  FY2018-FY2024</a:t>
            </a:r>
            <a:endParaRPr lang="en-GB" sz="2400" kern="0" dirty="0">
              <a:solidFill>
                <a:prstClr val="white"/>
              </a:solidFill>
            </a:endParaRPr>
          </a:p>
        </p:txBody>
      </p:sp>
      <p:sp>
        <p:nvSpPr>
          <p:cNvPr id="8" name="Parallelogram 7"/>
          <p:cNvSpPr/>
          <p:nvPr/>
        </p:nvSpPr>
        <p:spPr>
          <a:xfrm>
            <a:off x="-2" y="6519067"/>
            <a:ext cx="9871077" cy="335757"/>
          </a:xfrm>
          <a:custGeom>
            <a:avLst/>
            <a:gdLst>
              <a:gd name="connsiteX0" fmla="*/ 0 w 10188575"/>
              <a:gd name="connsiteY0" fmla="*/ 166915 h 166915"/>
              <a:gd name="connsiteX1" fmla="*/ 41729 w 10188575"/>
              <a:gd name="connsiteY1" fmla="*/ 0 h 166915"/>
              <a:gd name="connsiteX2" fmla="*/ 10188575 w 10188575"/>
              <a:gd name="connsiteY2" fmla="*/ 0 h 166915"/>
              <a:gd name="connsiteX3" fmla="*/ 10146846 w 10188575"/>
              <a:gd name="connsiteY3" fmla="*/ 166915 h 166915"/>
              <a:gd name="connsiteX4" fmla="*/ 0 w 10188575"/>
              <a:gd name="connsiteY4" fmla="*/ 166915 h 166915"/>
              <a:gd name="connsiteX0" fmla="*/ 17802 w 10146846"/>
              <a:gd name="connsiteY0" fmla="*/ 166915 h 166915"/>
              <a:gd name="connsiteX1" fmla="*/ 0 w 10146846"/>
              <a:gd name="connsiteY1" fmla="*/ 0 h 166915"/>
              <a:gd name="connsiteX2" fmla="*/ 10146846 w 10146846"/>
              <a:gd name="connsiteY2" fmla="*/ 0 h 166915"/>
              <a:gd name="connsiteX3" fmla="*/ 10105117 w 10146846"/>
              <a:gd name="connsiteY3" fmla="*/ 166915 h 166915"/>
              <a:gd name="connsiteX4" fmla="*/ 17802 w 10146846"/>
              <a:gd name="connsiteY4" fmla="*/ 166915 h 166915"/>
              <a:gd name="connsiteX0" fmla="*/ 3514 w 10132558"/>
              <a:gd name="connsiteY0" fmla="*/ 166915 h 166915"/>
              <a:gd name="connsiteX1" fmla="*/ 0 w 10132558"/>
              <a:gd name="connsiteY1" fmla="*/ 2381 h 166915"/>
              <a:gd name="connsiteX2" fmla="*/ 10132558 w 10132558"/>
              <a:gd name="connsiteY2" fmla="*/ 0 h 166915"/>
              <a:gd name="connsiteX3" fmla="*/ 10090829 w 10132558"/>
              <a:gd name="connsiteY3" fmla="*/ 166915 h 166915"/>
              <a:gd name="connsiteX4" fmla="*/ 3514 w 10132558"/>
              <a:gd name="connsiteY4" fmla="*/ 166915 h 166915"/>
              <a:gd name="connsiteX0" fmla="*/ 154 w 10129198"/>
              <a:gd name="connsiteY0" fmla="*/ 166915 h 166915"/>
              <a:gd name="connsiteX1" fmla="*/ 3784 w 10129198"/>
              <a:gd name="connsiteY1" fmla="*/ 0 h 166915"/>
              <a:gd name="connsiteX2" fmla="*/ 10129198 w 10129198"/>
              <a:gd name="connsiteY2" fmla="*/ 0 h 166915"/>
              <a:gd name="connsiteX3" fmla="*/ 10087469 w 10129198"/>
              <a:gd name="connsiteY3" fmla="*/ 166915 h 166915"/>
              <a:gd name="connsiteX4" fmla="*/ 154 w 10129198"/>
              <a:gd name="connsiteY4" fmla="*/ 166915 h 166915"/>
              <a:gd name="connsiteX0" fmla="*/ 239 w 10126902"/>
              <a:gd name="connsiteY0" fmla="*/ 169296 h 169296"/>
              <a:gd name="connsiteX1" fmla="*/ 1488 w 10126902"/>
              <a:gd name="connsiteY1" fmla="*/ 0 h 169296"/>
              <a:gd name="connsiteX2" fmla="*/ 10126902 w 10126902"/>
              <a:gd name="connsiteY2" fmla="*/ 0 h 169296"/>
              <a:gd name="connsiteX3" fmla="*/ 10085173 w 10126902"/>
              <a:gd name="connsiteY3" fmla="*/ 166915 h 169296"/>
              <a:gd name="connsiteX4" fmla="*/ 239 w 10126902"/>
              <a:gd name="connsiteY4" fmla="*/ 169296 h 169296"/>
              <a:gd name="connsiteX0" fmla="*/ 239 w 10425352"/>
              <a:gd name="connsiteY0" fmla="*/ 175887 h 175887"/>
              <a:gd name="connsiteX1" fmla="*/ 1488 w 10425352"/>
              <a:gd name="connsiteY1" fmla="*/ 6591 h 175887"/>
              <a:gd name="connsiteX2" fmla="*/ 10425352 w 10425352"/>
              <a:gd name="connsiteY2" fmla="*/ 0 h 175887"/>
              <a:gd name="connsiteX3" fmla="*/ 10085173 w 10425352"/>
              <a:gd name="connsiteY3" fmla="*/ 173506 h 175887"/>
              <a:gd name="connsiteX4" fmla="*/ 239 w 10425352"/>
              <a:gd name="connsiteY4" fmla="*/ 175887 h 175887"/>
              <a:gd name="connsiteX0" fmla="*/ 239 w 10635515"/>
              <a:gd name="connsiteY0" fmla="*/ 179182 h 179182"/>
              <a:gd name="connsiteX1" fmla="*/ 1488 w 10635515"/>
              <a:gd name="connsiteY1" fmla="*/ 9886 h 179182"/>
              <a:gd name="connsiteX2" fmla="*/ 10635515 w 10635515"/>
              <a:gd name="connsiteY2" fmla="*/ 0 h 179182"/>
              <a:gd name="connsiteX3" fmla="*/ 10085173 w 10635515"/>
              <a:gd name="connsiteY3" fmla="*/ 176801 h 179182"/>
              <a:gd name="connsiteX4" fmla="*/ 239 w 10635515"/>
              <a:gd name="connsiteY4" fmla="*/ 179182 h 179182"/>
              <a:gd name="connsiteX0" fmla="*/ 239 w 10635515"/>
              <a:gd name="connsiteY0" fmla="*/ 179182 h 179182"/>
              <a:gd name="connsiteX1" fmla="*/ 1488 w 10635515"/>
              <a:gd name="connsiteY1" fmla="*/ 9886 h 179182"/>
              <a:gd name="connsiteX2" fmla="*/ 10635515 w 10635515"/>
              <a:gd name="connsiteY2" fmla="*/ 0 h 179182"/>
              <a:gd name="connsiteX3" fmla="*/ 10224620 w 10635515"/>
              <a:gd name="connsiteY3" fmla="*/ 178449 h 179182"/>
              <a:gd name="connsiteX4" fmla="*/ 239 w 10635515"/>
              <a:gd name="connsiteY4" fmla="*/ 179182 h 179182"/>
              <a:gd name="connsiteX0" fmla="*/ 239 w 10635515"/>
              <a:gd name="connsiteY0" fmla="*/ 174239 h 174239"/>
              <a:gd name="connsiteX1" fmla="*/ 1488 w 10635515"/>
              <a:gd name="connsiteY1" fmla="*/ 4943 h 174239"/>
              <a:gd name="connsiteX2" fmla="*/ 10635515 w 10635515"/>
              <a:gd name="connsiteY2" fmla="*/ 0 h 174239"/>
              <a:gd name="connsiteX3" fmla="*/ 10224620 w 10635515"/>
              <a:gd name="connsiteY3" fmla="*/ 173506 h 174239"/>
              <a:gd name="connsiteX4" fmla="*/ 239 w 10635515"/>
              <a:gd name="connsiteY4" fmla="*/ 174239 h 174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35515" h="174239">
                <a:moveTo>
                  <a:pt x="239" y="174239"/>
                </a:moveTo>
                <a:cubicBezTo>
                  <a:pt x="-932" y="119394"/>
                  <a:pt x="2659" y="59788"/>
                  <a:pt x="1488" y="4943"/>
                </a:cubicBezTo>
                <a:lnTo>
                  <a:pt x="10635515" y="0"/>
                </a:lnTo>
                <a:lnTo>
                  <a:pt x="10224620" y="173506"/>
                </a:lnTo>
                <a:lnTo>
                  <a:pt x="239" y="174239"/>
                </a:lnTo>
                <a:close/>
              </a:path>
            </a:pathLst>
          </a:custGeom>
          <a:pattFill prst="pct70">
            <a:fgClr>
              <a:schemeClr val="bg1">
                <a:lumMod val="75000"/>
              </a:schemeClr>
            </a:fgClr>
            <a:bgClr>
              <a:schemeClr val="bg1"/>
            </a:bgClr>
          </a:patt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dirty="0"/>
          </a:p>
        </p:txBody>
      </p:sp>
      <p:sp>
        <p:nvSpPr>
          <p:cNvPr id="11" name="Parallelogram 10"/>
          <p:cNvSpPr/>
          <p:nvPr/>
        </p:nvSpPr>
        <p:spPr>
          <a:xfrm>
            <a:off x="10360480" y="6519067"/>
            <a:ext cx="1831520" cy="330199"/>
          </a:xfrm>
          <a:custGeom>
            <a:avLst/>
            <a:gdLst>
              <a:gd name="connsiteX0" fmla="*/ 0 w 1983938"/>
              <a:gd name="connsiteY0" fmla="*/ 166914 h 166914"/>
              <a:gd name="connsiteX1" fmla="*/ 41729 w 1983938"/>
              <a:gd name="connsiteY1" fmla="*/ 0 h 166914"/>
              <a:gd name="connsiteX2" fmla="*/ 1983938 w 1983938"/>
              <a:gd name="connsiteY2" fmla="*/ 0 h 166914"/>
              <a:gd name="connsiteX3" fmla="*/ 1942210 w 1983938"/>
              <a:gd name="connsiteY3" fmla="*/ 166914 h 166914"/>
              <a:gd name="connsiteX4" fmla="*/ 0 w 1983938"/>
              <a:gd name="connsiteY4" fmla="*/ 166914 h 166914"/>
              <a:gd name="connsiteX0" fmla="*/ 0 w 1942210"/>
              <a:gd name="connsiteY0" fmla="*/ 166914 h 166914"/>
              <a:gd name="connsiteX1" fmla="*/ 41729 w 1942210"/>
              <a:gd name="connsiteY1" fmla="*/ 0 h 166914"/>
              <a:gd name="connsiteX2" fmla="*/ 1910120 w 1942210"/>
              <a:gd name="connsiteY2" fmla="*/ 0 h 166914"/>
              <a:gd name="connsiteX3" fmla="*/ 1942210 w 1942210"/>
              <a:gd name="connsiteY3" fmla="*/ 166914 h 166914"/>
              <a:gd name="connsiteX4" fmla="*/ 0 w 1942210"/>
              <a:gd name="connsiteY4" fmla="*/ 166914 h 166914"/>
              <a:gd name="connsiteX0" fmla="*/ 0 w 1913635"/>
              <a:gd name="connsiteY0" fmla="*/ 166914 h 166914"/>
              <a:gd name="connsiteX1" fmla="*/ 41729 w 1913635"/>
              <a:gd name="connsiteY1" fmla="*/ 0 h 166914"/>
              <a:gd name="connsiteX2" fmla="*/ 1910120 w 1913635"/>
              <a:gd name="connsiteY2" fmla="*/ 0 h 166914"/>
              <a:gd name="connsiteX3" fmla="*/ 1913635 w 1913635"/>
              <a:gd name="connsiteY3" fmla="*/ 166914 h 166914"/>
              <a:gd name="connsiteX4" fmla="*/ 0 w 1913635"/>
              <a:gd name="connsiteY4" fmla="*/ 166914 h 166914"/>
              <a:gd name="connsiteX0" fmla="*/ 0 w 1913635"/>
              <a:gd name="connsiteY0" fmla="*/ 170187 h 170187"/>
              <a:gd name="connsiteX1" fmla="*/ 352879 w 1913635"/>
              <a:gd name="connsiteY1" fmla="*/ 0 h 170187"/>
              <a:gd name="connsiteX2" fmla="*/ 1910120 w 1913635"/>
              <a:gd name="connsiteY2" fmla="*/ 3273 h 170187"/>
              <a:gd name="connsiteX3" fmla="*/ 1913635 w 1913635"/>
              <a:gd name="connsiteY3" fmla="*/ 170187 h 170187"/>
              <a:gd name="connsiteX4" fmla="*/ 0 w 1913635"/>
              <a:gd name="connsiteY4" fmla="*/ 170187 h 1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635" h="170187">
                <a:moveTo>
                  <a:pt x="0" y="170187"/>
                </a:moveTo>
                <a:lnTo>
                  <a:pt x="352879" y="0"/>
                </a:lnTo>
                <a:lnTo>
                  <a:pt x="1910120" y="3273"/>
                </a:lnTo>
                <a:cubicBezTo>
                  <a:pt x="1911292" y="58911"/>
                  <a:pt x="1912463" y="114549"/>
                  <a:pt x="1913635" y="170187"/>
                </a:cubicBezTo>
                <a:lnTo>
                  <a:pt x="0" y="170187"/>
                </a:lnTo>
                <a:close/>
              </a:path>
            </a:pathLst>
          </a:custGeom>
          <a:pattFill prst="pct70">
            <a:fgClr>
              <a:schemeClr val="accent4"/>
            </a:fgClr>
            <a:bgClr>
              <a:schemeClr val="bg1"/>
            </a:bgClr>
          </a:patt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sp>
        <p:nvSpPr>
          <p:cNvPr id="13" name="Parallelogram 12"/>
          <p:cNvSpPr/>
          <p:nvPr/>
        </p:nvSpPr>
        <p:spPr>
          <a:xfrm>
            <a:off x="9680574" y="6524623"/>
            <a:ext cx="841376" cy="330201"/>
          </a:xfrm>
          <a:custGeom>
            <a:avLst/>
            <a:gdLst>
              <a:gd name="connsiteX0" fmla="*/ 0 w 812801"/>
              <a:gd name="connsiteY0" fmla="*/ 333376 h 333376"/>
              <a:gd name="connsiteX1" fmla="*/ 83344 w 812801"/>
              <a:gd name="connsiteY1" fmla="*/ 0 h 333376"/>
              <a:gd name="connsiteX2" fmla="*/ 812801 w 812801"/>
              <a:gd name="connsiteY2" fmla="*/ 0 h 333376"/>
              <a:gd name="connsiteX3" fmla="*/ 729457 w 812801"/>
              <a:gd name="connsiteY3" fmla="*/ 333376 h 333376"/>
              <a:gd name="connsiteX4" fmla="*/ 0 w 812801"/>
              <a:gd name="connsiteY4" fmla="*/ 333376 h 333376"/>
              <a:gd name="connsiteX0" fmla="*/ 0 w 1111251"/>
              <a:gd name="connsiteY0" fmla="*/ 330201 h 333376"/>
              <a:gd name="connsiteX1" fmla="*/ 381794 w 1111251"/>
              <a:gd name="connsiteY1" fmla="*/ 0 h 333376"/>
              <a:gd name="connsiteX2" fmla="*/ 1111251 w 1111251"/>
              <a:gd name="connsiteY2" fmla="*/ 0 h 333376"/>
              <a:gd name="connsiteX3" fmla="*/ 1027907 w 1111251"/>
              <a:gd name="connsiteY3" fmla="*/ 333376 h 333376"/>
              <a:gd name="connsiteX4" fmla="*/ 0 w 1111251"/>
              <a:gd name="connsiteY4" fmla="*/ 330201 h 333376"/>
              <a:gd name="connsiteX0" fmla="*/ 0 w 1111251"/>
              <a:gd name="connsiteY0" fmla="*/ 330201 h 330201"/>
              <a:gd name="connsiteX1" fmla="*/ 381794 w 1111251"/>
              <a:gd name="connsiteY1" fmla="*/ 0 h 330201"/>
              <a:gd name="connsiteX2" fmla="*/ 1111251 w 1111251"/>
              <a:gd name="connsiteY2" fmla="*/ 0 h 330201"/>
              <a:gd name="connsiteX3" fmla="*/ 805657 w 1111251"/>
              <a:gd name="connsiteY3" fmla="*/ 320676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815976"/>
              <a:gd name="connsiteY0" fmla="*/ 330201 h 330201"/>
              <a:gd name="connsiteX1" fmla="*/ 381794 w 815976"/>
              <a:gd name="connsiteY1" fmla="*/ 0 h 330201"/>
              <a:gd name="connsiteX2" fmla="*/ 815976 w 815976"/>
              <a:gd name="connsiteY2" fmla="*/ 0 h 330201"/>
              <a:gd name="connsiteX3" fmla="*/ 450057 w 815976"/>
              <a:gd name="connsiteY3" fmla="*/ 330201 h 330201"/>
              <a:gd name="connsiteX4" fmla="*/ 0 w 815976"/>
              <a:gd name="connsiteY4" fmla="*/ 330201 h 330201"/>
              <a:gd name="connsiteX0" fmla="*/ 0 w 841376"/>
              <a:gd name="connsiteY0" fmla="*/ 330201 h 330201"/>
              <a:gd name="connsiteX1" fmla="*/ 381794 w 841376"/>
              <a:gd name="connsiteY1" fmla="*/ 0 h 330201"/>
              <a:gd name="connsiteX2" fmla="*/ 841376 w 841376"/>
              <a:gd name="connsiteY2" fmla="*/ 0 h 330201"/>
              <a:gd name="connsiteX3" fmla="*/ 450057 w 841376"/>
              <a:gd name="connsiteY3" fmla="*/ 330201 h 330201"/>
              <a:gd name="connsiteX4" fmla="*/ 0 w 841376"/>
              <a:gd name="connsiteY4" fmla="*/ 330201 h 33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376" h="330201">
                <a:moveTo>
                  <a:pt x="0" y="330201"/>
                </a:moveTo>
                <a:lnTo>
                  <a:pt x="381794" y="0"/>
                </a:lnTo>
                <a:lnTo>
                  <a:pt x="841376" y="0"/>
                </a:lnTo>
                <a:lnTo>
                  <a:pt x="450057" y="330201"/>
                </a:lnTo>
                <a:lnTo>
                  <a:pt x="0" y="330201"/>
                </a:lnTo>
                <a:close/>
              </a:path>
            </a:pathLst>
          </a:custGeom>
          <a:pattFill prst="pct70">
            <a:fgClr>
              <a:schemeClr val="accent5">
                <a:lumMod val="50000"/>
              </a:schemeClr>
            </a:fgClr>
            <a:bgClr>
              <a:schemeClr val="bg1"/>
            </a:bgClr>
          </a:patt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p>
        </p:txBody>
      </p:sp>
      <p:sp>
        <p:nvSpPr>
          <p:cNvPr id="3" name="TextBox 2">
            <a:extLst>
              <a:ext uri="{FF2B5EF4-FFF2-40B4-BE49-F238E27FC236}">
                <a16:creationId xmlns:a16="http://schemas.microsoft.com/office/drawing/2014/main" id="{306EBDAB-6567-4BB5-A72D-B8C120B081C9}"/>
              </a:ext>
            </a:extLst>
          </p:cNvPr>
          <p:cNvSpPr txBox="1"/>
          <p:nvPr/>
        </p:nvSpPr>
        <p:spPr>
          <a:xfrm>
            <a:off x="30144" y="6484140"/>
            <a:ext cx="12161855" cy="373859"/>
          </a:xfrm>
          <a:prstGeom prst="rect">
            <a:avLst/>
          </a:prstGeom>
          <a:noFill/>
        </p:spPr>
        <p:txBody>
          <a:bodyPr wrap="square" rtlCol="0" anchor="ctr">
            <a:noAutofit/>
          </a:bodyPr>
          <a:lstStyle/>
          <a:p>
            <a:pPr indent="361950"/>
            <a:endParaRPr lang="en-ZA" sz="1000" b="1" dirty="0"/>
          </a:p>
        </p:txBody>
      </p:sp>
      <p:sp>
        <p:nvSpPr>
          <p:cNvPr id="5" name="Slide Number Placeholder 4">
            <a:extLst>
              <a:ext uri="{FF2B5EF4-FFF2-40B4-BE49-F238E27FC236}">
                <a16:creationId xmlns:a16="http://schemas.microsoft.com/office/drawing/2014/main" id="{A987B35D-F68B-4006-AC19-5A526609671C}"/>
              </a:ext>
            </a:extLst>
          </p:cNvPr>
          <p:cNvSpPr>
            <a:spLocks noGrp="1"/>
          </p:cNvSpPr>
          <p:nvPr>
            <p:ph type="sldNum" sz="quarter" idx="12"/>
          </p:nvPr>
        </p:nvSpPr>
        <p:spPr>
          <a:xfrm>
            <a:off x="9448800" y="6484141"/>
            <a:ext cx="2743200" cy="365125"/>
          </a:xfrm>
        </p:spPr>
        <p:txBody>
          <a:bodyPr anchor="ctr"/>
          <a:lstStyle/>
          <a:p>
            <a:fld id="{87102F09-8F7D-4EC1-9AE5-82CA77F49212}" type="slidenum">
              <a:rPr lang="en-ZA" b="1" smtClean="0">
                <a:solidFill>
                  <a:schemeClr val="tx1"/>
                </a:solidFill>
              </a:rPr>
              <a:t>27</a:t>
            </a:fld>
            <a:endParaRPr lang="en-ZA" b="1" dirty="0">
              <a:solidFill>
                <a:schemeClr val="tx1"/>
              </a:solidFill>
            </a:endParaRPr>
          </a:p>
        </p:txBody>
      </p:sp>
      <p:pic>
        <p:nvPicPr>
          <p:cNvPr id="6" name="Picture 5">
            <a:extLst>
              <a:ext uri="{FF2B5EF4-FFF2-40B4-BE49-F238E27FC236}">
                <a16:creationId xmlns:a16="http://schemas.microsoft.com/office/drawing/2014/main" id="{B5C77460-6DB6-492E-9E62-330C2076B2E8}"/>
              </a:ext>
            </a:extLst>
          </p:cNvPr>
          <p:cNvPicPr>
            <a:picLocks noChangeAspect="1"/>
          </p:cNvPicPr>
          <p:nvPr/>
        </p:nvPicPr>
        <p:blipFill>
          <a:blip r:embed="rId2"/>
          <a:stretch>
            <a:fillRect/>
          </a:stretch>
        </p:blipFill>
        <p:spPr>
          <a:xfrm>
            <a:off x="437326" y="1048094"/>
            <a:ext cx="10253281" cy="4571471"/>
          </a:xfrm>
          <a:prstGeom prst="rect">
            <a:avLst/>
          </a:prstGeom>
        </p:spPr>
      </p:pic>
    </p:spTree>
    <p:extLst>
      <p:ext uri="{BB962C8B-B14F-4D97-AF65-F5344CB8AC3E}">
        <p14:creationId xmlns:p14="http://schemas.microsoft.com/office/powerpoint/2010/main" val="13449390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1" y="5646"/>
            <a:ext cx="12192001" cy="805723"/>
          </a:xfrm>
          <a:prstGeom prst="rect">
            <a:avLst/>
          </a:prstGeom>
          <a:solidFill>
            <a:srgbClr val="00266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rtlCol="0" anchor="ctr">
            <a:noAutofit/>
            <a:scene3d>
              <a:camera prst="orthographicFront"/>
              <a:lightRig rig="soft" dir="t"/>
            </a:scene3d>
            <a:sp3d prstMaterial="softEdge">
              <a:bevelT w="25400" h="25400"/>
            </a:sp3d>
          </a:bodyPr>
          <a:lstStyle>
            <a:lvl1pPr algn="r" rtl="0" eaLnBrk="1" latinLnBrk="0" hangingPunct="1">
              <a:spcBef>
                <a:spcPct val="0"/>
              </a:spcBef>
              <a:buNone/>
              <a:defRPr kumimoji="0" sz="3200" b="1" kern="1200">
                <a:solidFill>
                  <a:srgbClr val="9A9B9C"/>
                </a:solidFill>
                <a:effectLst>
                  <a:outerShdw blurRad="31750" dist="25400" dir="5400000" algn="tl" rotWithShape="0">
                    <a:srgbClr val="000000">
                      <a:alpha val="25000"/>
                    </a:srgbClr>
                  </a:outerShdw>
                </a:effectLst>
                <a:latin typeface="+mn-lt"/>
                <a:ea typeface="+mj-ea"/>
                <a:cs typeface="+mj-cs"/>
              </a:defRPr>
            </a:lvl1pPr>
            <a:lvl2pPr>
              <a:defRPr/>
            </a:lvl2pPr>
            <a:lvl3pPr>
              <a:defRPr/>
            </a:lvl3pPr>
            <a:lvl4pPr>
              <a:defRPr/>
            </a:lvl4pPr>
            <a:lvl5pPr>
              <a:defRPr/>
            </a:lvl5pPr>
            <a:lvl6pPr>
              <a:defRPr/>
            </a:lvl6pPr>
            <a:lvl7pPr>
              <a:defRPr/>
            </a:lvl7pPr>
            <a:lvl8pPr>
              <a:defRPr/>
            </a:lvl8pPr>
            <a:lvl9pPr>
              <a:defRPr/>
            </a:lvl9pPr>
            <a:extLst/>
          </a:lstStyle>
          <a:p>
            <a:pPr marL="354013" indent="7938" algn="l"/>
            <a:r>
              <a:rPr lang="en-ZA" sz="2400" kern="0" dirty="0">
                <a:solidFill>
                  <a:prstClr val="white"/>
                </a:solidFill>
              </a:rPr>
              <a:t>KEY PEFORMANCE INDICATORS </a:t>
            </a:r>
            <a:endParaRPr lang="en-GB" sz="2400" kern="0" dirty="0">
              <a:solidFill>
                <a:prstClr val="white"/>
              </a:solidFill>
            </a:endParaRPr>
          </a:p>
        </p:txBody>
      </p:sp>
      <p:sp>
        <p:nvSpPr>
          <p:cNvPr id="8" name="Parallelogram 7"/>
          <p:cNvSpPr/>
          <p:nvPr/>
        </p:nvSpPr>
        <p:spPr>
          <a:xfrm>
            <a:off x="-2" y="6519067"/>
            <a:ext cx="9871077" cy="335757"/>
          </a:xfrm>
          <a:custGeom>
            <a:avLst/>
            <a:gdLst>
              <a:gd name="connsiteX0" fmla="*/ 0 w 10188575"/>
              <a:gd name="connsiteY0" fmla="*/ 166915 h 166915"/>
              <a:gd name="connsiteX1" fmla="*/ 41729 w 10188575"/>
              <a:gd name="connsiteY1" fmla="*/ 0 h 166915"/>
              <a:gd name="connsiteX2" fmla="*/ 10188575 w 10188575"/>
              <a:gd name="connsiteY2" fmla="*/ 0 h 166915"/>
              <a:gd name="connsiteX3" fmla="*/ 10146846 w 10188575"/>
              <a:gd name="connsiteY3" fmla="*/ 166915 h 166915"/>
              <a:gd name="connsiteX4" fmla="*/ 0 w 10188575"/>
              <a:gd name="connsiteY4" fmla="*/ 166915 h 166915"/>
              <a:gd name="connsiteX0" fmla="*/ 17802 w 10146846"/>
              <a:gd name="connsiteY0" fmla="*/ 166915 h 166915"/>
              <a:gd name="connsiteX1" fmla="*/ 0 w 10146846"/>
              <a:gd name="connsiteY1" fmla="*/ 0 h 166915"/>
              <a:gd name="connsiteX2" fmla="*/ 10146846 w 10146846"/>
              <a:gd name="connsiteY2" fmla="*/ 0 h 166915"/>
              <a:gd name="connsiteX3" fmla="*/ 10105117 w 10146846"/>
              <a:gd name="connsiteY3" fmla="*/ 166915 h 166915"/>
              <a:gd name="connsiteX4" fmla="*/ 17802 w 10146846"/>
              <a:gd name="connsiteY4" fmla="*/ 166915 h 166915"/>
              <a:gd name="connsiteX0" fmla="*/ 3514 w 10132558"/>
              <a:gd name="connsiteY0" fmla="*/ 166915 h 166915"/>
              <a:gd name="connsiteX1" fmla="*/ 0 w 10132558"/>
              <a:gd name="connsiteY1" fmla="*/ 2381 h 166915"/>
              <a:gd name="connsiteX2" fmla="*/ 10132558 w 10132558"/>
              <a:gd name="connsiteY2" fmla="*/ 0 h 166915"/>
              <a:gd name="connsiteX3" fmla="*/ 10090829 w 10132558"/>
              <a:gd name="connsiteY3" fmla="*/ 166915 h 166915"/>
              <a:gd name="connsiteX4" fmla="*/ 3514 w 10132558"/>
              <a:gd name="connsiteY4" fmla="*/ 166915 h 166915"/>
              <a:gd name="connsiteX0" fmla="*/ 154 w 10129198"/>
              <a:gd name="connsiteY0" fmla="*/ 166915 h 166915"/>
              <a:gd name="connsiteX1" fmla="*/ 3784 w 10129198"/>
              <a:gd name="connsiteY1" fmla="*/ 0 h 166915"/>
              <a:gd name="connsiteX2" fmla="*/ 10129198 w 10129198"/>
              <a:gd name="connsiteY2" fmla="*/ 0 h 166915"/>
              <a:gd name="connsiteX3" fmla="*/ 10087469 w 10129198"/>
              <a:gd name="connsiteY3" fmla="*/ 166915 h 166915"/>
              <a:gd name="connsiteX4" fmla="*/ 154 w 10129198"/>
              <a:gd name="connsiteY4" fmla="*/ 166915 h 166915"/>
              <a:gd name="connsiteX0" fmla="*/ 239 w 10126902"/>
              <a:gd name="connsiteY0" fmla="*/ 169296 h 169296"/>
              <a:gd name="connsiteX1" fmla="*/ 1488 w 10126902"/>
              <a:gd name="connsiteY1" fmla="*/ 0 h 169296"/>
              <a:gd name="connsiteX2" fmla="*/ 10126902 w 10126902"/>
              <a:gd name="connsiteY2" fmla="*/ 0 h 169296"/>
              <a:gd name="connsiteX3" fmla="*/ 10085173 w 10126902"/>
              <a:gd name="connsiteY3" fmla="*/ 166915 h 169296"/>
              <a:gd name="connsiteX4" fmla="*/ 239 w 10126902"/>
              <a:gd name="connsiteY4" fmla="*/ 169296 h 169296"/>
              <a:gd name="connsiteX0" fmla="*/ 239 w 10425352"/>
              <a:gd name="connsiteY0" fmla="*/ 175887 h 175887"/>
              <a:gd name="connsiteX1" fmla="*/ 1488 w 10425352"/>
              <a:gd name="connsiteY1" fmla="*/ 6591 h 175887"/>
              <a:gd name="connsiteX2" fmla="*/ 10425352 w 10425352"/>
              <a:gd name="connsiteY2" fmla="*/ 0 h 175887"/>
              <a:gd name="connsiteX3" fmla="*/ 10085173 w 10425352"/>
              <a:gd name="connsiteY3" fmla="*/ 173506 h 175887"/>
              <a:gd name="connsiteX4" fmla="*/ 239 w 10425352"/>
              <a:gd name="connsiteY4" fmla="*/ 175887 h 175887"/>
              <a:gd name="connsiteX0" fmla="*/ 239 w 10635515"/>
              <a:gd name="connsiteY0" fmla="*/ 179182 h 179182"/>
              <a:gd name="connsiteX1" fmla="*/ 1488 w 10635515"/>
              <a:gd name="connsiteY1" fmla="*/ 9886 h 179182"/>
              <a:gd name="connsiteX2" fmla="*/ 10635515 w 10635515"/>
              <a:gd name="connsiteY2" fmla="*/ 0 h 179182"/>
              <a:gd name="connsiteX3" fmla="*/ 10085173 w 10635515"/>
              <a:gd name="connsiteY3" fmla="*/ 176801 h 179182"/>
              <a:gd name="connsiteX4" fmla="*/ 239 w 10635515"/>
              <a:gd name="connsiteY4" fmla="*/ 179182 h 179182"/>
              <a:gd name="connsiteX0" fmla="*/ 239 w 10635515"/>
              <a:gd name="connsiteY0" fmla="*/ 179182 h 179182"/>
              <a:gd name="connsiteX1" fmla="*/ 1488 w 10635515"/>
              <a:gd name="connsiteY1" fmla="*/ 9886 h 179182"/>
              <a:gd name="connsiteX2" fmla="*/ 10635515 w 10635515"/>
              <a:gd name="connsiteY2" fmla="*/ 0 h 179182"/>
              <a:gd name="connsiteX3" fmla="*/ 10224620 w 10635515"/>
              <a:gd name="connsiteY3" fmla="*/ 178449 h 179182"/>
              <a:gd name="connsiteX4" fmla="*/ 239 w 10635515"/>
              <a:gd name="connsiteY4" fmla="*/ 179182 h 179182"/>
              <a:gd name="connsiteX0" fmla="*/ 239 w 10635515"/>
              <a:gd name="connsiteY0" fmla="*/ 174239 h 174239"/>
              <a:gd name="connsiteX1" fmla="*/ 1488 w 10635515"/>
              <a:gd name="connsiteY1" fmla="*/ 4943 h 174239"/>
              <a:gd name="connsiteX2" fmla="*/ 10635515 w 10635515"/>
              <a:gd name="connsiteY2" fmla="*/ 0 h 174239"/>
              <a:gd name="connsiteX3" fmla="*/ 10224620 w 10635515"/>
              <a:gd name="connsiteY3" fmla="*/ 173506 h 174239"/>
              <a:gd name="connsiteX4" fmla="*/ 239 w 10635515"/>
              <a:gd name="connsiteY4" fmla="*/ 174239 h 174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35515" h="174239">
                <a:moveTo>
                  <a:pt x="239" y="174239"/>
                </a:moveTo>
                <a:cubicBezTo>
                  <a:pt x="-932" y="119394"/>
                  <a:pt x="2659" y="59788"/>
                  <a:pt x="1488" y="4943"/>
                </a:cubicBezTo>
                <a:lnTo>
                  <a:pt x="10635515" y="0"/>
                </a:lnTo>
                <a:lnTo>
                  <a:pt x="10224620" y="173506"/>
                </a:lnTo>
                <a:lnTo>
                  <a:pt x="239" y="174239"/>
                </a:lnTo>
                <a:close/>
              </a:path>
            </a:pathLst>
          </a:custGeom>
          <a:pattFill prst="pct70">
            <a:fgClr>
              <a:schemeClr val="bg1">
                <a:lumMod val="75000"/>
              </a:schemeClr>
            </a:fgClr>
            <a:bgClr>
              <a:schemeClr val="bg1"/>
            </a:bgClr>
          </a:patt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dirty="0"/>
          </a:p>
        </p:txBody>
      </p:sp>
      <p:sp>
        <p:nvSpPr>
          <p:cNvPr id="11" name="Parallelogram 10"/>
          <p:cNvSpPr/>
          <p:nvPr/>
        </p:nvSpPr>
        <p:spPr>
          <a:xfrm>
            <a:off x="10360480" y="6519067"/>
            <a:ext cx="1831520" cy="330199"/>
          </a:xfrm>
          <a:custGeom>
            <a:avLst/>
            <a:gdLst>
              <a:gd name="connsiteX0" fmla="*/ 0 w 1983938"/>
              <a:gd name="connsiteY0" fmla="*/ 166914 h 166914"/>
              <a:gd name="connsiteX1" fmla="*/ 41729 w 1983938"/>
              <a:gd name="connsiteY1" fmla="*/ 0 h 166914"/>
              <a:gd name="connsiteX2" fmla="*/ 1983938 w 1983938"/>
              <a:gd name="connsiteY2" fmla="*/ 0 h 166914"/>
              <a:gd name="connsiteX3" fmla="*/ 1942210 w 1983938"/>
              <a:gd name="connsiteY3" fmla="*/ 166914 h 166914"/>
              <a:gd name="connsiteX4" fmla="*/ 0 w 1983938"/>
              <a:gd name="connsiteY4" fmla="*/ 166914 h 166914"/>
              <a:gd name="connsiteX0" fmla="*/ 0 w 1942210"/>
              <a:gd name="connsiteY0" fmla="*/ 166914 h 166914"/>
              <a:gd name="connsiteX1" fmla="*/ 41729 w 1942210"/>
              <a:gd name="connsiteY1" fmla="*/ 0 h 166914"/>
              <a:gd name="connsiteX2" fmla="*/ 1910120 w 1942210"/>
              <a:gd name="connsiteY2" fmla="*/ 0 h 166914"/>
              <a:gd name="connsiteX3" fmla="*/ 1942210 w 1942210"/>
              <a:gd name="connsiteY3" fmla="*/ 166914 h 166914"/>
              <a:gd name="connsiteX4" fmla="*/ 0 w 1942210"/>
              <a:gd name="connsiteY4" fmla="*/ 166914 h 166914"/>
              <a:gd name="connsiteX0" fmla="*/ 0 w 1913635"/>
              <a:gd name="connsiteY0" fmla="*/ 166914 h 166914"/>
              <a:gd name="connsiteX1" fmla="*/ 41729 w 1913635"/>
              <a:gd name="connsiteY1" fmla="*/ 0 h 166914"/>
              <a:gd name="connsiteX2" fmla="*/ 1910120 w 1913635"/>
              <a:gd name="connsiteY2" fmla="*/ 0 h 166914"/>
              <a:gd name="connsiteX3" fmla="*/ 1913635 w 1913635"/>
              <a:gd name="connsiteY3" fmla="*/ 166914 h 166914"/>
              <a:gd name="connsiteX4" fmla="*/ 0 w 1913635"/>
              <a:gd name="connsiteY4" fmla="*/ 166914 h 166914"/>
              <a:gd name="connsiteX0" fmla="*/ 0 w 1913635"/>
              <a:gd name="connsiteY0" fmla="*/ 170187 h 170187"/>
              <a:gd name="connsiteX1" fmla="*/ 352879 w 1913635"/>
              <a:gd name="connsiteY1" fmla="*/ 0 h 170187"/>
              <a:gd name="connsiteX2" fmla="*/ 1910120 w 1913635"/>
              <a:gd name="connsiteY2" fmla="*/ 3273 h 170187"/>
              <a:gd name="connsiteX3" fmla="*/ 1913635 w 1913635"/>
              <a:gd name="connsiteY3" fmla="*/ 170187 h 170187"/>
              <a:gd name="connsiteX4" fmla="*/ 0 w 1913635"/>
              <a:gd name="connsiteY4" fmla="*/ 170187 h 1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635" h="170187">
                <a:moveTo>
                  <a:pt x="0" y="170187"/>
                </a:moveTo>
                <a:lnTo>
                  <a:pt x="352879" y="0"/>
                </a:lnTo>
                <a:lnTo>
                  <a:pt x="1910120" y="3273"/>
                </a:lnTo>
                <a:cubicBezTo>
                  <a:pt x="1911292" y="58911"/>
                  <a:pt x="1912463" y="114549"/>
                  <a:pt x="1913635" y="170187"/>
                </a:cubicBezTo>
                <a:lnTo>
                  <a:pt x="0" y="170187"/>
                </a:lnTo>
                <a:close/>
              </a:path>
            </a:pathLst>
          </a:custGeom>
          <a:pattFill prst="pct70">
            <a:fgClr>
              <a:schemeClr val="accent4"/>
            </a:fgClr>
            <a:bgClr>
              <a:schemeClr val="bg1"/>
            </a:bgClr>
          </a:patt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sp>
        <p:nvSpPr>
          <p:cNvPr id="13" name="Parallelogram 12"/>
          <p:cNvSpPr/>
          <p:nvPr/>
        </p:nvSpPr>
        <p:spPr>
          <a:xfrm>
            <a:off x="9680574" y="6524623"/>
            <a:ext cx="841376" cy="330201"/>
          </a:xfrm>
          <a:custGeom>
            <a:avLst/>
            <a:gdLst>
              <a:gd name="connsiteX0" fmla="*/ 0 w 812801"/>
              <a:gd name="connsiteY0" fmla="*/ 333376 h 333376"/>
              <a:gd name="connsiteX1" fmla="*/ 83344 w 812801"/>
              <a:gd name="connsiteY1" fmla="*/ 0 h 333376"/>
              <a:gd name="connsiteX2" fmla="*/ 812801 w 812801"/>
              <a:gd name="connsiteY2" fmla="*/ 0 h 333376"/>
              <a:gd name="connsiteX3" fmla="*/ 729457 w 812801"/>
              <a:gd name="connsiteY3" fmla="*/ 333376 h 333376"/>
              <a:gd name="connsiteX4" fmla="*/ 0 w 812801"/>
              <a:gd name="connsiteY4" fmla="*/ 333376 h 333376"/>
              <a:gd name="connsiteX0" fmla="*/ 0 w 1111251"/>
              <a:gd name="connsiteY0" fmla="*/ 330201 h 333376"/>
              <a:gd name="connsiteX1" fmla="*/ 381794 w 1111251"/>
              <a:gd name="connsiteY1" fmla="*/ 0 h 333376"/>
              <a:gd name="connsiteX2" fmla="*/ 1111251 w 1111251"/>
              <a:gd name="connsiteY2" fmla="*/ 0 h 333376"/>
              <a:gd name="connsiteX3" fmla="*/ 1027907 w 1111251"/>
              <a:gd name="connsiteY3" fmla="*/ 333376 h 333376"/>
              <a:gd name="connsiteX4" fmla="*/ 0 w 1111251"/>
              <a:gd name="connsiteY4" fmla="*/ 330201 h 333376"/>
              <a:gd name="connsiteX0" fmla="*/ 0 w 1111251"/>
              <a:gd name="connsiteY0" fmla="*/ 330201 h 330201"/>
              <a:gd name="connsiteX1" fmla="*/ 381794 w 1111251"/>
              <a:gd name="connsiteY1" fmla="*/ 0 h 330201"/>
              <a:gd name="connsiteX2" fmla="*/ 1111251 w 1111251"/>
              <a:gd name="connsiteY2" fmla="*/ 0 h 330201"/>
              <a:gd name="connsiteX3" fmla="*/ 805657 w 1111251"/>
              <a:gd name="connsiteY3" fmla="*/ 320676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815976"/>
              <a:gd name="connsiteY0" fmla="*/ 330201 h 330201"/>
              <a:gd name="connsiteX1" fmla="*/ 381794 w 815976"/>
              <a:gd name="connsiteY1" fmla="*/ 0 h 330201"/>
              <a:gd name="connsiteX2" fmla="*/ 815976 w 815976"/>
              <a:gd name="connsiteY2" fmla="*/ 0 h 330201"/>
              <a:gd name="connsiteX3" fmla="*/ 450057 w 815976"/>
              <a:gd name="connsiteY3" fmla="*/ 330201 h 330201"/>
              <a:gd name="connsiteX4" fmla="*/ 0 w 815976"/>
              <a:gd name="connsiteY4" fmla="*/ 330201 h 330201"/>
              <a:gd name="connsiteX0" fmla="*/ 0 w 841376"/>
              <a:gd name="connsiteY0" fmla="*/ 330201 h 330201"/>
              <a:gd name="connsiteX1" fmla="*/ 381794 w 841376"/>
              <a:gd name="connsiteY1" fmla="*/ 0 h 330201"/>
              <a:gd name="connsiteX2" fmla="*/ 841376 w 841376"/>
              <a:gd name="connsiteY2" fmla="*/ 0 h 330201"/>
              <a:gd name="connsiteX3" fmla="*/ 450057 w 841376"/>
              <a:gd name="connsiteY3" fmla="*/ 330201 h 330201"/>
              <a:gd name="connsiteX4" fmla="*/ 0 w 841376"/>
              <a:gd name="connsiteY4" fmla="*/ 330201 h 33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376" h="330201">
                <a:moveTo>
                  <a:pt x="0" y="330201"/>
                </a:moveTo>
                <a:lnTo>
                  <a:pt x="381794" y="0"/>
                </a:lnTo>
                <a:lnTo>
                  <a:pt x="841376" y="0"/>
                </a:lnTo>
                <a:lnTo>
                  <a:pt x="450057" y="330201"/>
                </a:lnTo>
                <a:lnTo>
                  <a:pt x="0" y="330201"/>
                </a:lnTo>
                <a:close/>
              </a:path>
            </a:pathLst>
          </a:custGeom>
          <a:pattFill prst="pct70">
            <a:fgClr>
              <a:schemeClr val="accent5">
                <a:lumMod val="50000"/>
              </a:schemeClr>
            </a:fgClr>
            <a:bgClr>
              <a:schemeClr val="bg1"/>
            </a:bgClr>
          </a:patt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p>
        </p:txBody>
      </p:sp>
      <p:sp>
        <p:nvSpPr>
          <p:cNvPr id="3" name="TextBox 2">
            <a:extLst>
              <a:ext uri="{FF2B5EF4-FFF2-40B4-BE49-F238E27FC236}">
                <a16:creationId xmlns:a16="http://schemas.microsoft.com/office/drawing/2014/main" id="{306EBDAB-6567-4BB5-A72D-B8C120B081C9}"/>
              </a:ext>
            </a:extLst>
          </p:cNvPr>
          <p:cNvSpPr txBox="1"/>
          <p:nvPr/>
        </p:nvSpPr>
        <p:spPr>
          <a:xfrm>
            <a:off x="30144" y="6484140"/>
            <a:ext cx="12161855" cy="373859"/>
          </a:xfrm>
          <a:prstGeom prst="rect">
            <a:avLst/>
          </a:prstGeom>
          <a:noFill/>
        </p:spPr>
        <p:txBody>
          <a:bodyPr wrap="square" rtlCol="0" anchor="ctr">
            <a:noAutofit/>
          </a:bodyPr>
          <a:lstStyle/>
          <a:p>
            <a:pPr indent="361950"/>
            <a:endParaRPr lang="en-ZA" sz="1000" b="1" dirty="0"/>
          </a:p>
        </p:txBody>
      </p:sp>
      <p:sp>
        <p:nvSpPr>
          <p:cNvPr id="5" name="Slide Number Placeholder 4">
            <a:extLst>
              <a:ext uri="{FF2B5EF4-FFF2-40B4-BE49-F238E27FC236}">
                <a16:creationId xmlns:a16="http://schemas.microsoft.com/office/drawing/2014/main" id="{A987B35D-F68B-4006-AC19-5A526609671C}"/>
              </a:ext>
            </a:extLst>
          </p:cNvPr>
          <p:cNvSpPr>
            <a:spLocks noGrp="1"/>
          </p:cNvSpPr>
          <p:nvPr>
            <p:ph type="sldNum" sz="quarter" idx="12"/>
          </p:nvPr>
        </p:nvSpPr>
        <p:spPr>
          <a:xfrm>
            <a:off x="9448800" y="6484141"/>
            <a:ext cx="2743200" cy="365125"/>
          </a:xfrm>
        </p:spPr>
        <p:txBody>
          <a:bodyPr anchor="ctr"/>
          <a:lstStyle/>
          <a:p>
            <a:fld id="{87102F09-8F7D-4EC1-9AE5-82CA77F49212}" type="slidenum">
              <a:rPr lang="en-ZA" b="1" smtClean="0">
                <a:solidFill>
                  <a:schemeClr val="tx1"/>
                </a:solidFill>
              </a:rPr>
              <a:t>28</a:t>
            </a:fld>
            <a:endParaRPr lang="en-ZA" b="1" dirty="0">
              <a:solidFill>
                <a:schemeClr val="tx1"/>
              </a:solidFill>
            </a:endParaRPr>
          </a:p>
        </p:txBody>
      </p:sp>
      <p:pic>
        <p:nvPicPr>
          <p:cNvPr id="12" name="Picture 11">
            <a:extLst>
              <a:ext uri="{FF2B5EF4-FFF2-40B4-BE49-F238E27FC236}">
                <a16:creationId xmlns:a16="http://schemas.microsoft.com/office/drawing/2014/main" id="{96037E7A-13DF-46C0-A19B-413D77C0FFE1}"/>
              </a:ext>
            </a:extLst>
          </p:cNvPr>
          <p:cNvPicPr>
            <a:picLocks noChangeAspect="1"/>
          </p:cNvPicPr>
          <p:nvPr/>
        </p:nvPicPr>
        <p:blipFill>
          <a:blip r:embed="rId2"/>
          <a:stretch>
            <a:fillRect/>
          </a:stretch>
        </p:blipFill>
        <p:spPr>
          <a:xfrm>
            <a:off x="553394" y="852127"/>
            <a:ext cx="6468843" cy="5264587"/>
          </a:xfrm>
          <a:prstGeom prst="rect">
            <a:avLst/>
          </a:prstGeom>
        </p:spPr>
      </p:pic>
    </p:spTree>
    <p:extLst>
      <p:ext uri="{BB962C8B-B14F-4D97-AF65-F5344CB8AC3E}">
        <p14:creationId xmlns:p14="http://schemas.microsoft.com/office/powerpoint/2010/main" val="42803028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87102F09-8F7D-4EC1-9AE5-82CA77F49212}" type="slidenum">
              <a:rPr lang="en-ZA" smtClean="0"/>
              <a:t>29</a:t>
            </a:fld>
            <a:endParaRPr lang="en-ZA" dirty="0"/>
          </a:p>
        </p:txBody>
      </p:sp>
      <p:graphicFrame>
        <p:nvGraphicFramePr>
          <p:cNvPr id="5" name="Table 4"/>
          <p:cNvGraphicFramePr>
            <a:graphicFrameLocks noGrp="1"/>
          </p:cNvGraphicFramePr>
          <p:nvPr>
            <p:extLst>
              <p:ext uri="{D42A27DB-BD31-4B8C-83A1-F6EECF244321}">
                <p14:modId xmlns:p14="http://schemas.microsoft.com/office/powerpoint/2010/main" val="1684232736"/>
              </p:ext>
            </p:extLst>
          </p:nvPr>
        </p:nvGraphicFramePr>
        <p:xfrm>
          <a:off x="81479" y="688065"/>
          <a:ext cx="12023003" cy="6225984"/>
        </p:xfrm>
        <a:graphic>
          <a:graphicData uri="http://schemas.openxmlformats.org/drawingml/2006/table">
            <a:tbl>
              <a:tblPr firstRow="1" firstCol="1" bandRow="1">
                <a:tableStyleId>{5C22544A-7EE6-4342-B048-85BDC9FD1C3A}</a:tableStyleId>
              </a:tblPr>
              <a:tblGrid>
                <a:gridCol w="2352607">
                  <a:extLst>
                    <a:ext uri="{9D8B030D-6E8A-4147-A177-3AD203B41FA5}">
                      <a16:colId xmlns:a16="http://schemas.microsoft.com/office/drawing/2014/main" val="20000"/>
                    </a:ext>
                  </a:extLst>
                </a:gridCol>
                <a:gridCol w="4356013">
                  <a:extLst>
                    <a:ext uri="{9D8B030D-6E8A-4147-A177-3AD203B41FA5}">
                      <a16:colId xmlns:a16="http://schemas.microsoft.com/office/drawing/2014/main" val="20001"/>
                    </a:ext>
                  </a:extLst>
                </a:gridCol>
                <a:gridCol w="5314383">
                  <a:extLst>
                    <a:ext uri="{9D8B030D-6E8A-4147-A177-3AD203B41FA5}">
                      <a16:colId xmlns:a16="http://schemas.microsoft.com/office/drawing/2014/main" val="20002"/>
                    </a:ext>
                  </a:extLst>
                </a:gridCol>
              </a:tblGrid>
              <a:tr h="265699">
                <a:tc>
                  <a:txBody>
                    <a:bodyPr/>
                    <a:lstStyle/>
                    <a:p>
                      <a:pPr algn="l">
                        <a:lnSpc>
                          <a:spcPct val="115000"/>
                        </a:lnSpc>
                        <a:spcAft>
                          <a:spcPts val="600"/>
                        </a:spcAft>
                      </a:pPr>
                      <a:r>
                        <a:rPr lang="en-GB" sz="1600" dirty="0">
                          <a:effectLst/>
                        </a:rPr>
                        <a:t>Outcome</a:t>
                      </a:r>
                      <a:endParaRPr lang="en-ZA" sz="1600" dirty="0">
                        <a:effectLst/>
                        <a:latin typeface="Calibri" panose="020F0502020204030204" pitchFamily="34" charset="0"/>
                        <a:ea typeface="MS Mincho"/>
                        <a:cs typeface="Times New Roman" panose="02020603050405020304" pitchFamily="18" charset="0"/>
                      </a:endParaRPr>
                    </a:p>
                  </a:txBody>
                  <a:tcPr marL="31595" marR="31595" marT="0" marB="0" anchor="ctr"/>
                </a:tc>
                <a:tc>
                  <a:txBody>
                    <a:bodyPr/>
                    <a:lstStyle/>
                    <a:p>
                      <a:pPr algn="l">
                        <a:lnSpc>
                          <a:spcPct val="115000"/>
                        </a:lnSpc>
                        <a:spcAft>
                          <a:spcPts val="600"/>
                        </a:spcAft>
                      </a:pPr>
                      <a:r>
                        <a:rPr lang="en-GB" sz="1600" dirty="0">
                          <a:effectLst/>
                        </a:rPr>
                        <a:t>Key Risk</a:t>
                      </a:r>
                      <a:endParaRPr lang="en-ZA" sz="1600" dirty="0">
                        <a:effectLst/>
                        <a:latin typeface="Calibri" panose="020F0502020204030204" pitchFamily="34" charset="0"/>
                        <a:ea typeface="MS Mincho"/>
                        <a:cs typeface="Times New Roman" panose="02020603050405020304" pitchFamily="18" charset="0"/>
                      </a:endParaRPr>
                    </a:p>
                  </a:txBody>
                  <a:tcPr marL="31595" marR="31595" marT="0" marB="0"/>
                </a:tc>
                <a:tc>
                  <a:txBody>
                    <a:bodyPr/>
                    <a:lstStyle/>
                    <a:p>
                      <a:pPr algn="l">
                        <a:lnSpc>
                          <a:spcPct val="115000"/>
                        </a:lnSpc>
                        <a:spcAft>
                          <a:spcPts val="600"/>
                        </a:spcAft>
                      </a:pPr>
                      <a:r>
                        <a:rPr lang="en-GB" sz="1600" dirty="0">
                          <a:effectLst/>
                        </a:rPr>
                        <a:t>Risk Mitigation</a:t>
                      </a:r>
                      <a:endParaRPr lang="en-ZA" sz="1600" dirty="0">
                        <a:effectLst/>
                        <a:latin typeface="Calibri" panose="020F0502020204030204" pitchFamily="34" charset="0"/>
                        <a:ea typeface="MS Mincho"/>
                        <a:cs typeface="Times New Roman" panose="02020603050405020304" pitchFamily="18" charset="0"/>
                      </a:endParaRPr>
                    </a:p>
                  </a:txBody>
                  <a:tcPr marL="31595" marR="31595" marT="0" marB="0"/>
                </a:tc>
                <a:extLst>
                  <a:ext uri="{0D108BD9-81ED-4DB2-BD59-A6C34878D82A}">
                    <a16:rowId xmlns:a16="http://schemas.microsoft.com/office/drawing/2014/main" val="10000"/>
                  </a:ext>
                </a:extLst>
              </a:tr>
              <a:tr h="531399">
                <a:tc rowSpan="3">
                  <a:txBody>
                    <a:bodyPr/>
                    <a:lstStyle/>
                    <a:p>
                      <a:pPr marL="342900" lvl="0" indent="-342900" algn="l" fontAlgn="auto">
                        <a:lnSpc>
                          <a:spcPct val="115000"/>
                        </a:lnSpc>
                        <a:spcAft>
                          <a:spcPts val="600"/>
                        </a:spcAft>
                        <a:buFont typeface="+mj-lt"/>
                        <a:buAutoNum type="arabicPeriod"/>
                      </a:pPr>
                      <a:r>
                        <a:rPr lang="en-GB" sz="1600" dirty="0">
                          <a:effectLst/>
                        </a:rPr>
                        <a:t>Functional, Efficient and Integrated Government</a:t>
                      </a:r>
                      <a:endParaRPr lang="en-ZA" sz="1600" dirty="0">
                        <a:effectLst/>
                        <a:latin typeface="Calibri" panose="020F0502020204030204" pitchFamily="34" charset="0"/>
                        <a:ea typeface="MS Mincho"/>
                        <a:cs typeface="Times New Roman" panose="02020603050405020304" pitchFamily="18" charset="0"/>
                      </a:endParaRPr>
                    </a:p>
                  </a:txBody>
                  <a:tcPr marL="61535" marR="61535" marT="0" marB="0"/>
                </a:tc>
                <a:tc>
                  <a:txBody>
                    <a:bodyPr/>
                    <a:lstStyle/>
                    <a:p>
                      <a:pPr marL="457200" lvl="1" indent="-342900" algn="l" defTabSz="914400" rtl="0" eaLnBrk="1" fontAlgn="auto" latinLnBrk="0" hangingPunct="1">
                        <a:lnSpc>
                          <a:spcPct val="115000"/>
                        </a:lnSpc>
                        <a:spcAft>
                          <a:spcPts val="600"/>
                        </a:spcAft>
                        <a:buFont typeface="Symbol" panose="05050102010706020507" pitchFamily="18" charset="2"/>
                        <a:buChar char=""/>
                      </a:pPr>
                      <a:r>
                        <a:rPr lang="en-ZA" sz="1600" kern="1200" dirty="0">
                          <a:solidFill>
                            <a:schemeClr val="dk1"/>
                          </a:solidFill>
                          <a:effectLst/>
                          <a:latin typeface="+mn-lt"/>
                          <a:ea typeface="+mn-ea"/>
                          <a:cs typeface="+mn-cs"/>
                        </a:rPr>
                        <a:t>Qualified audit opinion</a:t>
                      </a:r>
                    </a:p>
                  </a:txBody>
                  <a:tcPr marL="61535" marR="61535" marT="0" marB="0"/>
                </a:tc>
                <a:tc>
                  <a:txBody>
                    <a:bodyPr/>
                    <a:lstStyle/>
                    <a:p>
                      <a:pPr marL="457200" lvl="1" indent="-342900" algn="l" defTabSz="914400" rtl="0" eaLnBrk="1" fontAlgn="auto" latinLnBrk="0" hangingPunct="1">
                        <a:lnSpc>
                          <a:spcPct val="115000"/>
                        </a:lnSpc>
                        <a:spcAft>
                          <a:spcPts val="0"/>
                        </a:spcAft>
                        <a:buFont typeface="Symbol" panose="05050102010706020507" pitchFamily="18" charset="2"/>
                        <a:buChar char=""/>
                      </a:pPr>
                      <a:r>
                        <a:rPr lang="en-GB" sz="1600" kern="1200" dirty="0">
                          <a:solidFill>
                            <a:schemeClr val="dk1"/>
                          </a:solidFill>
                          <a:effectLst/>
                          <a:latin typeface="+mn-lt"/>
                          <a:ea typeface="+mn-ea"/>
                          <a:cs typeface="+mn-cs"/>
                        </a:rPr>
                        <a:t>Compliance with all applicable regulatory legislation; prescripts, guidelines and practises.  </a:t>
                      </a:r>
                      <a:endParaRPr lang="en-ZA" sz="1600" kern="1200" dirty="0">
                        <a:solidFill>
                          <a:schemeClr val="dk1"/>
                        </a:solidFill>
                        <a:effectLst/>
                        <a:latin typeface="+mn-lt"/>
                        <a:ea typeface="+mn-ea"/>
                        <a:cs typeface="+mn-cs"/>
                      </a:endParaRPr>
                    </a:p>
                  </a:txBody>
                  <a:tcPr marL="61535" marR="61535" marT="0" marB="0"/>
                </a:tc>
                <a:extLst>
                  <a:ext uri="{0D108BD9-81ED-4DB2-BD59-A6C34878D82A}">
                    <a16:rowId xmlns:a16="http://schemas.microsoft.com/office/drawing/2014/main" val="10001"/>
                  </a:ext>
                </a:extLst>
              </a:tr>
              <a:tr h="330647">
                <a:tc vMerge="1">
                  <a:txBody>
                    <a:bodyPr/>
                    <a:lstStyle/>
                    <a:p>
                      <a:endParaRPr lang="en-ZA"/>
                    </a:p>
                  </a:txBody>
                  <a:tcPr/>
                </a:tc>
                <a:tc>
                  <a:txBody>
                    <a:bodyPr/>
                    <a:lstStyle/>
                    <a:p>
                      <a:pPr marL="457200" lvl="1" indent="-342900" algn="l" defTabSz="914400" rtl="0" eaLnBrk="1" fontAlgn="auto" latinLnBrk="0" hangingPunct="1">
                        <a:lnSpc>
                          <a:spcPct val="115000"/>
                        </a:lnSpc>
                        <a:spcAft>
                          <a:spcPts val="600"/>
                        </a:spcAft>
                        <a:buFont typeface="Symbol" panose="05050102010706020507" pitchFamily="18" charset="2"/>
                        <a:buChar char=""/>
                      </a:pPr>
                      <a:r>
                        <a:rPr lang="en-GB" sz="1600" kern="1200" dirty="0">
                          <a:solidFill>
                            <a:schemeClr val="dk1"/>
                          </a:solidFill>
                          <a:effectLst/>
                          <a:latin typeface="+mn-lt"/>
                          <a:ea typeface="+mn-ea"/>
                          <a:cs typeface="+mn-cs"/>
                        </a:rPr>
                        <a:t>Delayed establishment of HSDB</a:t>
                      </a:r>
                      <a:endParaRPr lang="en-ZA" sz="1600" kern="1200" dirty="0">
                        <a:solidFill>
                          <a:schemeClr val="dk1"/>
                        </a:solidFill>
                        <a:effectLst/>
                        <a:latin typeface="+mn-lt"/>
                        <a:ea typeface="+mn-ea"/>
                        <a:cs typeface="+mn-cs"/>
                      </a:endParaRPr>
                    </a:p>
                  </a:txBody>
                  <a:tcPr marL="61535" marR="61535" marT="0" marB="0" anchor="ctr"/>
                </a:tc>
                <a:tc>
                  <a:txBody>
                    <a:bodyPr/>
                    <a:lstStyle/>
                    <a:p>
                      <a:pPr marL="457200" lvl="1" indent="-342900" algn="l" defTabSz="914400" rtl="0" eaLnBrk="1" fontAlgn="auto" latinLnBrk="0" hangingPunct="1">
                        <a:lnSpc>
                          <a:spcPct val="115000"/>
                        </a:lnSpc>
                        <a:spcAft>
                          <a:spcPts val="600"/>
                        </a:spcAft>
                        <a:buFont typeface="Symbol" panose="05050102010706020507" pitchFamily="18" charset="2"/>
                        <a:buChar char=""/>
                      </a:pPr>
                      <a:r>
                        <a:rPr lang="en-GB" sz="1600" kern="1200" dirty="0">
                          <a:solidFill>
                            <a:schemeClr val="dk1"/>
                          </a:solidFill>
                          <a:effectLst/>
                          <a:latin typeface="+mn-lt"/>
                          <a:ea typeface="+mn-ea"/>
                          <a:cs typeface="+mn-cs"/>
                        </a:rPr>
                        <a:t>Robust engagement with </a:t>
                      </a:r>
                      <a:r>
                        <a:rPr lang="en-GB" sz="1600" kern="1200" dirty="0" err="1">
                          <a:solidFill>
                            <a:schemeClr val="dk1"/>
                          </a:solidFill>
                          <a:effectLst/>
                          <a:latin typeface="+mn-lt"/>
                          <a:ea typeface="+mn-ea"/>
                          <a:cs typeface="+mn-cs"/>
                        </a:rPr>
                        <a:t>NDoHS</a:t>
                      </a:r>
                      <a:endParaRPr lang="en-ZA" sz="1600" kern="1200" dirty="0">
                        <a:solidFill>
                          <a:schemeClr val="dk1"/>
                        </a:solidFill>
                        <a:effectLst/>
                        <a:latin typeface="+mn-lt"/>
                        <a:ea typeface="+mn-ea"/>
                        <a:cs typeface="+mn-cs"/>
                      </a:endParaRPr>
                    </a:p>
                  </a:txBody>
                  <a:tcPr marL="61535" marR="61535" marT="0" marB="0" anchor="ctr"/>
                </a:tc>
                <a:extLst>
                  <a:ext uri="{0D108BD9-81ED-4DB2-BD59-A6C34878D82A}">
                    <a16:rowId xmlns:a16="http://schemas.microsoft.com/office/drawing/2014/main" val="10002"/>
                  </a:ext>
                </a:extLst>
              </a:tr>
              <a:tr h="1389755">
                <a:tc vMerge="1">
                  <a:txBody>
                    <a:bodyPr/>
                    <a:lstStyle/>
                    <a:p>
                      <a:endParaRPr lang="en-ZA"/>
                    </a:p>
                  </a:txBody>
                  <a:tcPr/>
                </a:tc>
                <a:tc>
                  <a:txBody>
                    <a:bodyPr/>
                    <a:lstStyle/>
                    <a:p>
                      <a:pPr marL="457200" lvl="1" indent="-342900" algn="l" defTabSz="914400" rtl="0" eaLnBrk="1" fontAlgn="auto" latinLnBrk="0" hangingPunct="1">
                        <a:lnSpc>
                          <a:spcPct val="115000"/>
                        </a:lnSpc>
                        <a:spcAft>
                          <a:spcPts val="600"/>
                        </a:spcAft>
                        <a:buFont typeface="Symbol" panose="05050102010706020507" pitchFamily="18" charset="2"/>
                        <a:buChar char=""/>
                      </a:pPr>
                      <a:r>
                        <a:rPr lang="en-GB" sz="1600" kern="1200" dirty="0">
                          <a:solidFill>
                            <a:schemeClr val="dk1"/>
                          </a:solidFill>
                          <a:effectLst/>
                          <a:latin typeface="+mn-lt"/>
                          <a:ea typeface="+mn-ea"/>
                          <a:cs typeface="+mn-cs"/>
                        </a:rPr>
                        <a:t>Challenge in balancing developmental mandate with financial sustainability</a:t>
                      </a:r>
                      <a:endParaRPr lang="en-ZA" sz="1600" kern="1200" dirty="0">
                        <a:solidFill>
                          <a:schemeClr val="dk1"/>
                        </a:solidFill>
                        <a:effectLst/>
                        <a:latin typeface="+mn-lt"/>
                        <a:ea typeface="+mn-ea"/>
                        <a:cs typeface="+mn-cs"/>
                      </a:endParaRPr>
                    </a:p>
                    <a:p>
                      <a:pPr marL="114300" lvl="1" indent="0" algn="l" defTabSz="914400" rtl="0" eaLnBrk="1" fontAlgn="auto" latinLnBrk="0" hangingPunct="1">
                        <a:lnSpc>
                          <a:spcPct val="115000"/>
                        </a:lnSpc>
                        <a:spcAft>
                          <a:spcPts val="600"/>
                        </a:spcAft>
                        <a:buFont typeface="Symbol" panose="05050102010706020507" pitchFamily="18" charset="2"/>
                        <a:buNone/>
                      </a:pPr>
                      <a:endParaRPr lang="en-ZA" sz="1600" kern="1200" dirty="0">
                        <a:solidFill>
                          <a:schemeClr val="dk1"/>
                        </a:solidFill>
                        <a:effectLst/>
                        <a:latin typeface="+mn-lt"/>
                        <a:ea typeface="+mn-ea"/>
                        <a:cs typeface="+mn-cs"/>
                      </a:endParaRPr>
                    </a:p>
                    <a:p>
                      <a:pPr marL="114300" lvl="1" indent="0" algn="l" defTabSz="914400" rtl="0" eaLnBrk="1" fontAlgn="auto" latinLnBrk="0" hangingPunct="1">
                        <a:lnSpc>
                          <a:spcPct val="115000"/>
                        </a:lnSpc>
                        <a:spcAft>
                          <a:spcPts val="600"/>
                        </a:spcAft>
                        <a:buFont typeface="Symbol" panose="05050102010706020507" pitchFamily="18" charset="2"/>
                        <a:buNone/>
                      </a:pPr>
                      <a:endParaRPr lang="en-ZA" sz="1600" kern="1200" dirty="0">
                        <a:solidFill>
                          <a:schemeClr val="dk1"/>
                        </a:solidFill>
                        <a:effectLst/>
                        <a:latin typeface="+mn-lt"/>
                        <a:ea typeface="+mn-ea"/>
                        <a:cs typeface="+mn-cs"/>
                      </a:endParaRPr>
                    </a:p>
                  </a:txBody>
                  <a:tcPr marL="61535" marR="61535" marT="0" marB="0"/>
                </a:tc>
                <a:tc>
                  <a:txBody>
                    <a:bodyPr/>
                    <a:lstStyle/>
                    <a:p>
                      <a:pPr marL="457200" lvl="1" indent="-342900" algn="l" defTabSz="914400" rtl="0" eaLnBrk="1" fontAlgn="auto" latinLnBrk="0" hangingPunct="1">
                        <a:lnSpc>
                          <a:spcPct val="115000"/>
                        </a:lnSpc>
                        <a:spcAft>
                          <a:spcPts val="600"/>
                        </a:spcAft>
                        <a:buFont typeface="Symbol" panose="05050102010706020507" pitchFamily="18" charset="2"/>
                        <a:buChar char=""/>
                      </a:pPr>
                      <a:r>
                        <a:rPr lang="en-GB" sz="1600" kern="1200" dirty="0">
                          <a:solidFill>
                            <a:schemeClr val="dk1"/>
                          </a:solidFill>
                          <a:effectLst/>
                          <a:latin typeface="+mn-lt"/>
                          <a:ea typeface="+mn-ea"/>
                          <a:cs typeface="+mn-cs"/>
                        </a:rPr>
                        <a:t>Revise financial model</a:t>
                      </a:r>
                      <a:endParaRPr lang="en-ZA" sz="1600" kern="1200" dirty="0">
                        <a:solidFill>
                          <a:schemeClr val="dk1"/>
                        </a:solidFill>
                        <a:effectLst/>
                        <a:latin typeface="+mn-lt"/>
                        <a:ea typeface="+mn-ea"/>
                        <a:cs typeface="+mn-cs"/>
                      </a:endParaRPr>
                    </a:p>
                    <a:p>
                      <a:pPr marL="457200" lvl="1" indent="-342900" algn="l" defTabSz="914400" rtl="0" eaLnBrk="1" fontAlgn="auto" latinLnBrk="0" hangingPunct="1">
                        <a:lnSpc>
                          <a:spcPct val="100000"/>
                        </a:lnSpc>
                        <a:spcAft>
                          <a:spcPts val="0"/>
                        </a:spcAft>
                        <a:buFont typeface="Symbol" panose="05050102010706020507" pitchFamily="18" charset="2"/>
                        <a:buChar char=""/>
                      </a:pPr>
                      <a:r>
                        <a:rPr lang="en-GB" sz="1600" kern="1200" dirty="0">
                          <a:solidFill>
                            <a:schemeClr val="dk1"/>
                          </a:solidFill>
                          <a:effectLst/>
                          <a:latin typeface="+mn-lt"/>
                          <a:ea typeface="+mn-ea"/>
                          <a:cs typeface="+mn-cs"/>
                        </a:rPr>
                        <a:t>Develop and implement Business Continuity Plan</a:t>
                      </a:r>
                      <a:endParaRPr lang="en-ZA" sz="1600" kern="1200" dirty="0">
                        <a:solidFill>
                          <a:schemeClr val="dk1"/>
                        </a:solidFill>
                        <a:effectLst/>
                        <a:latin typeface="+mn-lt"/>
                        <a:ea typeface="+mn-ea"/>
                        <a:cs typeface="+mn-cs"/>
                      </a:endParaRPr>
                    </a:p>
                    <a:p>
                      <a:pPr marL="114300" lvl="1" indent="0" algn="l" defTabSz="914400" rtl="0" eaLnBrk="1" fontAlgn="auto" latinLnBrk="0" hangingPunct="1">
                        <a:lnSpc>
                          <a:spcPct val="100000"/>
                        </a:lnSpc>
                        <a:spcAft>
                          <a:spcPts val="0"/>
                        </a:spcAft>
                        <a:buFont typeface="Symbol" panose="05050102010706020507" pitchFamily="18" charset="2"/>
                        <a:buNone/>
                      </a:pPr>
                      <a:r>
                        <a:rPr lang="en-GB" sz="1600" kern="1200" dirty="0">
                          <a:solidFill>
                            <a:schemeClr val="dk1"/>
                          </a:solidFill>
                          <a:effectLst/>
                          <a:latin typeface="+mn-lt"/>
                          <a:ea typeface="+mn-ea"/>
                          <a:cs typeface="+mn-cs"/>
                        </a:rPr>
                        <a:t>       </a:t>
                      </a:r>
                      <a:r>
                        <a:rPr lang="en-GB" sz="1600" kern="1200" dirty="0" err="1">
                          <a:solidFill>
                            <a:schemeClr val="dk1"/>
                          </a:solidFill>
                          <a:effectLst/>
                          <a:latin typeface="+mn-lt"/>
                          <a:ea typeface="+mn-ea"/>
                          <a:cs typeface="+mn-cs"/>
                        </a:rPr>
                        <a:t>PoPI</a:t>
                      </a:r>
                      <a:r>
                        <a:rPr lang="en-GB" sz="1600" kern="1200" dirty="0">
                          <a:solidFill>
                            <a:schemeClr val="dk1"/>
                          </a:solidFill>
                          <a:effectLst/>
                          <a:latin typeface="+mn-lt"/>
                          <a:ea typeface="+mn-ea"/>
                          <a:cs typeface="+mn-cs"/>
                        </a:rPr>
                        <a:t> framework , IT strategy &amp; Governance Framework</a:t>
                      </a:r>
                      <a:endParaRPr lang="en-ZA" sz="1600" kern="1200" dirty="0">
                        <a:solidFill>
                          <a:schemeClr val="dk1"/>
                        </a:solidFill>
                        <a:effectLst/>
                        <a:latin typeface="+mn-lt"/>
                        <a:ea typeface="+mn-ea"/>
                        <a:cs typeface="+mn-cs"/>
                      </a:endParaRPr>
                    </a:p>
                    <a:p>
                      <a:pPr marL="457200" lvl="1" indent="-342900" algn="l" defTabSz="914400" rtl="0" eaLnBrk="1" fontAlgn="auto" latinLnBrk="0" hangingPunct="1">
                        <a:lnSpc>
                          <a:spcPct val="115000"/>
                        </a:lnSpc>
                        <a:spcAft>
                          <a:spcPts val="600"/>
                        </a:spcAft>
                        <a:buFont typeface="Symbol" panose="05050102010706020507" pitchFamily="18" charset="2"/>
                        <a:buChar char=""/>
                      </a:pPr>
                      <a:r>
                        <a:rPr lang="en-GB" sz="1600" kern="1200" dirty="0">
                          <a:solidFill>
                            <a:schemeClr val="dk1"/>
                          </a:solidFill>
                          <a:effectLst/>
                          <a:latin typeface="+mn-lt"/>
                          <a:ea typeface="+mn-ea"/>
                          <a:cs typeface="+mn-cs"/>
                        </a:rPr>
                        <a:t>Review</a:t>
                      </a:r>
                      <a:r>
                        <a:rPr lang="en-GB" sz="1600" kern="1200" baseline="0" dirty="0">
                          <a:solidFill>
                            <a:schemeClr val="dk1"/>
                          </a:solidFill>
                          <a:effectLst/>
                          <a:latin typeface="+mn-lt"/>
                          <a:ea typeface="+mn-ea"/>
                          <a:cs typeface="+mn-cs"/>
                        </a:rPr>
                        <a:t> </a:t>
                      </a:r>
                      <a:r>
                        <a:rPr lang="en-GB" sz="1600" kern="1200" dirty="0">
                          <a:solidFill>
                            <a:schemeClr val="dk1"/>
                          </a:solidFill>
                          <a:effectLst/>
                          <a:latin typeface="+mn-lt"/>
                          <a:ea typeface="+mn-ea"/>
                          <a:cs typeface="+mn-cs"/>
                        </a:rPr>
                        <a:t>and implement Risk Appetite statement,  Product Pricing policy and strategy</a:t>
                      </a:r>
                      <a:endParaRPr lang="en-ZA" sz="1600" kern="1200" dirty="0">
                        <a:solidFill>
                          <a:schemeClr val="dk1"/>
                        </a:solidFill>
                        <a:effectLst/>
                        <a:latin typeface="+mn-lt"/>
                        <a:ea typeface="+mn-ea"/>
                        <a:cs typeface="+mn-cs"/>
                      </a:endParaRPr>
                    </a:p>
                  </a:txBody>
                  <a:tcPr marL="61535" marR="61535" marT="0" marB="0"/>
                </a:tc>
                <a:extLst>
                  <a:ext uri="{0D108BD9-81ED-4DB2-BD59-A6C34878D82A}">
                    <a16:rowId xmlns:a16="http://schemas.microsoft.com/office/drawing/2014/main" val="10003"/>
                  </a:ext>
                </a:extLst>
              </a:tr>
              <a:tr h="789821">
                <a:tc>
                  <a:txBody>
                    <a:bodyPr/>
                    <a:lstStyle/>
                    <a:p>
                      <a:pPr marL="0" lvl="0" indent="0" algn="l" defTabSz="914400" rtl="0" eaLnBrk="1" fontAlgn="auto" latinLnBrk="0" hangingPunct="1">
                        <a:lnSpc>
                          <a:spcPct val="115000"/>
                        </a:lnSpc>
                        <a:spcAft>
                          <a:spcPts val="600"/>
                        </a:spcAft>
                        <a:buFont typeface="+mj-lt"/>
                        <a:buNone/>
                      </a:pPr>
                      <a:r>
                        <a:rPr lang="en-GB" sz="1600" b="1" kern="1200" dirty="0">
                          <a:solidFill>
                            <a:schemeClr val="lt1"/>
                          </a:solidFill>
                          <a:effectLst/>
                          <a:latin typeface="+mn-lt"/>
                          <a:ea typeface="+mn-ea"/>
                          <a:cs typeface="+mn-cs"/>
                        </a:rPr>
                        <a:t>2.    Improved delivery of  affordable housing</a:t>
                      </a:r>
                      <a:endParaRPr lang="en-ZA" sz="1600" b="1" kern="1200" dirty="0">
                        <a:solidFill>
                          <a:schemeClr val="lt1"/>
                        </a:solidFill>
                        <a:effectLst/>
                        <a:latin typeface="+mn-lt"/>
                        <a:ea typeface="+mn-ea"/>
                        <a:cs typeface="+mn-cs"/>
                      </a:endParaRPr>
                    </a:p>
                  </a:txBody>
                  <a:tcPr marL="68580" marR="68580" marT="0" marB="0"/>
                </a:tc>
                <a:tc>
                  <a:txBody>
                    <a:bodyPr/>
                    <a:lstStyle/>
                    <a:p>
                      <a:pPr marL="457200" lvl="1" indent="-342900" algn="l" defTabSz="914400" rtl="0" eaLnBrk="1" fontAlgn="auto" latinLnBrk="0" hangingPunct="1">
                        <a:lnSpc>
                          <a:spcPct val="115000"/>
                        </a:lnSpc>
                        <a:spcAft>
                          <a:spcPts val="600"/>
                        </a:spcAft>
                        <a:buFont typeface="Symbol" panose="05050102010706020507" pitchFamily="18" charset="2"/>
                        <a:buChar char=""/>
                      </a:pPr>
                      <a:r>
                        <a:rPr lang="en-GB" sz="1600" kern="1200" dirty="0">
                          <a:solidFill>
                            <a:schemeClr val="dk1"/>
                          </a:solidFill>
                          <a:effectLst/>
                          <a:latin typeface="+mn-lt"/>
                          <a:ea typeface="+mn-ea"/>
                          <a:cs typeface="+mn-cs"/>
                        </a:rPr>
                        <a:t>Failure to deliver on the targets in the shareholder's mandate</a:t>
                      </a:r>
                      <a:endParaRPr lang="en-ZA" sz="1600" kern="1200" dirty="0">
                        <a:solidFill>
                          <a:schemeClr val="dk1"/>
                        </a:solidFill>
                        <a:effectLst/>
                        <a:latin typeface="+mn-lt"/>
                        <a:ea typeface="+mn-ea"/>
                        <a:cs typeface="+mn-cs"/>
                      </a:endParaRPr>
                    </a:p>
                  </a:txBody>
                  <a:tcPr marL="68580" marR="68580" marT="0" marB="0"/>
                </a:tc>
                <a:tc>
                  <a:txBody>
                    <a:bodyPr/>
                    <a:lstStyle/>
                    <a:p>
                      <a:pPr marL="457200" lvl="1" indent="-342900" algn="l" defTabSz="914400" rtl="0" eaLnBrk="1" fontAlgn="auto" latinLnBrk="0" hangingPunct="1">
                        <a:lnSpc>
                          <a:spcPct val="115000"/>
                        </a:lnSpc>
                        <a:spcAft>
                          <a:spcPts val="600"/>
                        </a:spcAft>
                        <a:buFont typeface="Symbol" panose="05050102010706020507" pitchFamily="18" charset="2"/>
                        <a:buChar char=""/>
                      </a:pPr>
                      <a:r>
                        <a:rPr lang="en-GB" sz="1600" kern="1200" dirty="0">
                          <a:solidFill>
                            <a:schemeClr val="dk1"/>
                          </a:solidFill>
                          <a:effectLst/>
                          <a:latin typeface="+mn-lt"/>
                          <a:ea typeface="+mn-ea"/>
                          <a:cs typeface="+mn-cs"/>
                        </a:rPr>
                        <a:t>Semi-annual engagements with shareholder on the mandate and their expectations as per shareholder compact</a:t>
                      </a:r>
                      <a:endParaRPr lang="en-ZA" sz="1600" kern="1200" dirty="0">
                        <a:solidFill>
                          <a:schemeClr val="dk1"/>
                        </a:solidFill>
                        <a:effectLst/>
                        <a:latin typeface="+mn-lt"/>
                        <a:ea typeface="+mn-ea"/>
                        <a:cs typeface="+mn-cs"/>
                      </a:endParaRPr>
                    </a:p>
                  </a:txBody>
                  <a:tcPr marL="68580" marR="68580" marT="0" marB="0"/>
                </a:tc>
                <a:extLst>
                  <a:ext uri="{0D108BD9-81ED-4DB2-BD59-A6C34878D82A}">
                    <a16:rowId xmlns:a16="http://schemas.microsoft.com/office/drawing/2014/main" val="10004"/>
                  </a:ext>
                </a:extLst>
              </a:tr>
              <a:tr h="1472856">
                <a:tc>
                  <a:txBody>
                    <a:bodyPr/>
                    <a:lstStyle/>
                    <a:p>
                      <a:pPr marL="0" lvl="0" indent="0" algn="l" defTabSz="914400" rtl="0" eaLnBrk="1" fontAlgn="auto" latinLnBrk="0" hangingPunct="1">
                        <a:lnSpc>
                          <a:spcPct val="115000"/>
                        </a:lnSpc>
                        <a:spcAft>
                          <a:spcPts val="600"/>
                        </a:spcAft>
                        <a:buFont typeface="+mj-lt"/>
                        <a:buNone/>
                      </a:pPr>
                      <a:r>
                        <a:rPr lang="en-GB" sz="1600" b="1" kern="1200" dirty="0">
                          <a:solidFill>
                            <a:schemeClr val="lt1"/>
                          </a:solidFill>
                          <a:effectLst/>
                          <a:latin typeface="+mn-lt"/>
                          <a:ea typeface="+mn-ea"/>
                          <a:cs typeface="+mn-cs"/>
                        </a:rPr>
                        <a:t>3. Increased access to affordable finance that is spatially just to enable social cohesion</a:t>
                      </a:r>
                      <a:endParaRPr lang="en-ZA" sz="1600" b="1" kern="1200" dirty="0">
                        <a:solidFill>
                          <a:schemeClr val="lt1"/>
                        </a:solidFill>
                        <a:effectLst/>
                        <a:latin typeface="+mn-lt"/>
                        <a:ea typeface="+mn-ea"/>
                        <a:cs typeface="+mn-cs"/>
                      </a:endParaRPr>
                    </a:p>
                  </a:txBody>
                  <a:tcPr marL="68580" marR="68580" marT="0" marB="0"/>
                </a:tc>
                <a:tc>
                  <a:txBody>
                    <a:bodyPr/>
                    <a:lstStyle/>
                    <a:p>
                      <a:pPr marL="457200" lvl="1" indent="-342900" algn="l" defTabSz="914400" rtl="0" eaLnBrk="1" fontAlgn="auto" latinLnBrk="0" hangingPunct="1">
                        <a:lnSpc>
                          <a:spcPct val="115000"/>
                        </a:lnSpc>
                        <a:spcAft>
                          <a:spcPts val="600"/>
                        </a:spcAft>
                        <a:buFont typeface="Symbol" panose="05050102010706020507" pitchFamily="18" charset="2"/>
                        <a:buChar char=""/>
                      </a:pPr>
                      <a:r>
                        <a:rPr lang="en-GB" sz="1600" kern="1200" dirty="0">
                          <a:solidFill>
                            <a:schemeClr val="dk1"/>
                          </a:solidFill>
                          <a:effectLst/>
                          <a:latin typeface="+mn-lt"/>
                          <a:ea typeface="+mn-ea"/>
                          <a:cs typeface="+mn-cs"/>
                        </a:rPr>
                        <a:t>Inability to attract or establish suitable developers, retail intermediaries and funding partners</a:t>
                      </a:r>
                      <a:endParaRPr lang="en-ZA" sz="1600" kern="1200" dirty="0">
                        <a:solidFill>
                          <a:schemeClr val="dk1"/>
                        </a:solidFill>
                        <a:effectLst/>
                        <a:latin typeface="+mn-lt"/>
                        <a:ea typeface="+mn-ea"/>
                        <a:cs typeface="+mn-cs"/>
                      </a:endParaRPr>
                    </a:p>
                  </a:txBody>
                  <a:tcPr marL="68580" marR="68580" marT="0" marB="0"/>
                </a:tc>
                <a:tc>
                  <a:txBody>
                    <a:bodyPr/>
                    <a:lstStyle/>
                    <a:p>
                      <a:pPr marL="457200" lvl="1" indent="-342900" algn="l" defTabSz="914400" rtl="0" eaLnBrk="1" fontAlgn="auto" latinLnBrk="0" hangingPunct="1">
                        <a:lnSpc>
                          <a:spcPct val="115000"/>
                        </a:lnSpc>
                        <a:spcAft>
                          <a:spcPts val="600"/>
                        </a:spcAft>
                        <a:buFont typeface="Symbol" panose="05050102010706020507" pitchFamily="18" charset="2"/>
                        <a:buChar char=""/>
                      </a:pPr>
                      <a:r>
                        <a:rPr lang="en-GB" sz="1600" kern="1200" dirty="0">
                          <a:solidFill>
                            <a:schemeClr val="dk1"/>
                          </a:solidFill>
                          <a:effectLst/>
                          <a:latin typeface="+mn-lt"/>
                          <a:ea typeface="+mn-ea"/>
                          <a:cs typeface="+mn-cs"/>
                        </a:rPr>
                        <a:t>Update and implement targeted marketing, stakeholder engagement and communications strategy</a:t>
                      </a:r>
                      <a:endParaRPr lang="en-ZA" sz="1600" kern="1200" dirty="0">
                        <a:solidFill>
                          <a:schemeClr val="dk1"/>
                        </a:solidFill>
                        <a:effectLst/>
                        <a:latin typeface="+mn-lt"/>
                        <a:ea typeface="+mn-ea"/>
                        <a:cs typeface="+mn-cs"/>
                      </a:endParaRPr>
                    </a:p>
                    <a:p>
                      <a:pPr marL="457200" lvl="1" indent="-342900" algn="l" defTabSz="914400" rtl="0" eaLnBrk="1" fontAlgn="auto" latinLnBrk="0" hangingPunct="1">
                        <a:lnSpc>
                          <a:spcPct val="115000"/>
                        </a:lnSpc>
                        <a:spcAft>
                          <a:spcPts val="600"/>
                        </a:spcAft>
                        <a:buFont typeface="Symbol" panose="05050102010706020507" pitchFamily="18" charset="2"/>
                        <a:buChar char=""/>
                      </a:pPr>
                      <a:r>
                        <a:rPr lang="en-GB" sz="1600" kern="1200" dirty="0">
                          <a:solidFill>
                            <a:schemeClr val="dk1"/>
                          </a:solidFill>
                          <a:effectLst/>
                          <a:latin typeface="+mn-lt"/>
                          <a:ea typeface="+mn-ea"/>
                          <a:cs typeface="+mn-cs"/>
                        </a:rPr>
                        <a:t>Sign partnership agreement with research company</a:t>
                      </a:r>
                      <a:endParaRPr lang="en-ZA" sz="1600" kern="1200" dirty="0">
                        <a:solidFill>
                          <a:schemeClr val="dk1"/>
                        </a:solidFill>
                        <a:effectLst/>
                        <a:latin typeface="+mn-lt"/>
                        <a:ea typeface="+mn-ea"/>
                        <a:cs typeface="+mn-cs"/>
                      </a:endParaRPr>
                    </a:p>
                    <a:p>
                      <a:pPr marL="457200" lvl="1" indent="-342900" algn="l" defTabSz="914400" rtl="0" eaLnBrk="1" fontAlgn="auto" latinLnBrk="0" hangingPunct="1">
                        <a:lnSpc>
                          <a:spcPct val="115000"/>
                        </a:lnSpc>
                        <a:spcAft>
                          <a:spcPts val="600"/>
                        </a:spcAft>
                        <a:buFont typeface="Symbol" panose="05050102010706020507" pitchFamily="18" charset="2"/>
                        <a:buChar char=""/>
                      </a:pPr>
                      <a:r>
                        <a:rPr lang="en-GB" sz="1600" kern="1200" dirty="0">
                          <a:solidFill>
                            <a:schemeClr val="dk1"/>
                          </a:solidFill>
                          <a:effectLst/>
                          <a:latin typeface="+mn-lt"/>
                          <a:ea typeface="+mn-ea"/>
                          <a:cs typeface="+mn-cs"/>
                        </a:rPr>
                        <a:t>Develop and implement strategic partnership strategy and framework </a:t>
                      </a:r>
                      <a:endParaRPr lang="en-ZA" sz="1600" kern="1200" dirty="0">
                        <a:solidFill>
                          <a:schemeClr val="dk1"/>
                        </a:solidFill>
                        <a:effectLst/>
                        <a:latin typeface="+mn-lt"/>
                        <a:ea typeface="+mn-ea"/>
                        <a:cs typeface="+mn-cs"/>
                      </a:endParaRPr>
                    </a:p>
                  </a:txBody>
                  <a:tcPr marL="68580" marR="68580" marT="0" marB="0"/>
                </a:tc>
                <a:extLst>
                  <a:ext uri="{0D108BD9-81ED-4DB2-BD59-A6C34878D82A}">
                    <a16:rowId xmlns:a16="http://schemas.microsoft.com/office/drawing/2014/main" val="10005"/>
                  </a:ext>
                </a:extLst>
              </a:tr>
              <a:tr h="1253233">
                <a:tc>
                  <a:txBody>
                    <a:bodyPr/>
                    <a:lstStyle/>
                    <a:p>
                      <a:pPr marL="0" lvl="0" indent="0" algn="l" defTabSz="914400" rtl="0" eaLnBrk="1" fontAlgn="auto" latinLnBrk="0" hangingPunct="1">
                        <a:lnSpc>
                          <a:spcPct val="115000"/>
                        </a:lnSpc>
                        <a:spcAft>
                          <a:spcPts val="600"/>
                        </a:spcAft>
                        <a:buFont typeface="+mj-lt"/>
                        <a:buNone/>
                      </a:pPr>
                      <a:r>
                        <a:rPr lang="en-GB" sz="1600" kern="1200" dirty="0">
                          <a:solidFill>
                            <a:schemeClr val="bg1"/>
                          </a:solidFill>
                          <a:effectLst/>
                          <a:latin typeface="+mn-lt"/>
                          <a:ea typeface="+mn-ea"/>
                          <a:cs typeface="+mn-cs"/>
                        </a:rPr>
                        <a:t>4. </a:t>
                      </a:r>
                      <a:r>
                        <a:rPr lang="en-GB" sz="1600" b="1" kern="1200" dirty="0">
                          <a:solidFill>
                            <a:schemeClr val="bg1"/>
                          </a:solidFill>
                          <a:effectLst/>
                          <a:latin typeface="+mn-lt"/>
                          <a:ea typeface="+mn-ea"/>
                          <a:cs typeface="+mn-cs"/>
                        </a:rPr>
                        <a:t>Increased penetration and participation of low-to middle income market</a:t>
                      </a:r>
                      <a:endParaRPr lang="en-ZA" sz="1600" b="1" kern="1200" dirty="0">
                        <a:solidFill>
                          <a:schemeClr val="bg1"/>
                        </a:solidFill>
                        <a:effectLst/>
                        <a:latin typeface="+mn-lt"/>
                        <a:ea typeface="+mn-ea"/>
                        <a:cs typeface="+mn-cs"/>
                      </a:endParaRPr>
                    </a:p>
                  </a:txBody>
                  <a:tcPr marL="68580" marR="68580" marT="0" marB="0"/>
                </a:tc>
                <a:tc>
                  <a:txBody>
                    <a:bodyPr/>
                    <a:lstStyle/>
                    <a:p>
                      <a:pPr marL="457200" lvl="1" indent="-342900" algn="l" defTabSz="914400" rtl="0" eaLnBrk="1" fontAlgn="auto" latinLnBrk="0" hangingPunct="1">
                        <a:lnSpc>
                          <a:spcPct val="115000"/>
                        </a:lnSpc>
                        <a:spcAft>
                          <a:spcPts val="600"/>
                        </a:spcAft>
                        <a:buFont typeface="Symbol" panose="05050102010706020507" pitchFamily="18" charset="2"/>
                        <a:buChar char=""/>
                      </a:pPr>
                      <a:r>
                        <a:rPr lang="en-GB" sz="1600" kern="1200" dirty="0">
                          <a:solidFill>
                            <a:schemeClr val="dk1"/>
                          </a:solidFill>
                          <a:effectLst/>
                          <a:latin typeface="+mn-lt"/>
                          <a:ea typeface="+mn-ea"/>
                          <a:cs typeface="+mn-cs"/>
                        </a:rPr>
                        <a:t>Inability to increase participation due to limited knowledge and awareness of NHFC’s product offering</a:t>
                      </a:r>
                      <a:endParaRPr lang="en-ZA" sz="1600" kern="1200" dirty="0">
                        <a:solidFill>
                          <a:schemeClr val="dk1"/>
                        </a:solidFill>
                        <a:effectLst/>
                        <a:latin typeface="+mn-lt"/>
                        <a:ea typeface="+mn-ea"/>
                        <a:cs typeface="+mn-cs"/>
                      </a:endParaRPr>
                    </a:p>
                  </a:txBody>
                  <a:tcPr marL="68580" marR="68580" marT="0" marB="0"/>
                </a:tc>
                <a:tc>
                  <a:txBody>
                    <a:bodyPr/>
                    <a:lstStyle/>
                    <a:p>
                      <a:pPr marL="457200" lvl="1" indent="-342900" algn="l" defTabSz="914400" rtl="0" eaLnBrk="1" fontAlgn="auto" latinLnBrk="0" hangingPunct="1">
                        <a:lnSpc>
                          <a:spcPct val="115000"/>
                        </a:lnSpc>
                        <a:spcAft>
                          <a:spcPts val="600"/>
                        </a:spcAft>
                        <a:buFont typeface="Symbol" panose="05050102010706020507" pitchFamily="18" charset="2"/>
                        <a:buChar char=""/>
                      </a:pPr>
                      <a:r>
                        <a:rPr lang="en-GB" sz="1600" kern="1200" dirty="0">
                          <a:solidFill>
                            <a:schemeClr val="dk1"/>
                          </a:solidFill>
                          <a:effectLst/>
                          <a:latin typeface="+mn-lt"/>
                          <a:ea typeface="+mn-ea"/>
                          <a:cs typeface="+mn-cs"/>
                        </a:rPr>
                        <a:t>Update and implement targeted marketing and communications strategy</a:t>
                      </a:r>
                      <a:endParaRPr lang="en-ZA" sz="1600" kern="1200" dirty="0">
                        <a:solidFill>
                          <a:schemeClr val="dk1"/>
                        </a:solidFill>
                        <a:effectLst/>
                        <a:latin typeface="+mn-lt"/>
                        <a:ea typeface="+mn-ea"/>
                        <a:cs typeface="+mn-cs"/>
                      </a:endParaRPr>
                    </a:p>
                    <a:p>
                      <a:pPr marL="457200" lvl="1" indent="-342900" algn="l" defTabSz="914400" rtl="0" eaLnBrk="1" fontAlgn="auto" latinLnBrk="0" hangingPunct="1">
                        <a:lnSpc>
                          <a:spcPct val="115000"/>
                        </a:lnSpc>
                        <a:spcAft>
                          <a:spcPts val="600"/>
                        </a:spcAft>
                        <a:buFont typeface="Symbol" panose="05050102010706020507" pitchFamily="18" charset="2"/>
                        <a:buChar char=""/>
                      </a:pPr>
                      <a:r>
                        <a:rPr lang="en-GB" sz="1600" kern="1200" dirty="0">
                          <a:solidFill>
                            <a:schemeClr val="dk1"/>
                          </a:solidFill>
                          <a:effectLst/>
                          <a:latin typeface="+mn-lt"/>
                          <a:ea typeface="+mn-ea"/>
                          <a:cs typeface="+mn-cs"/>
                        </a:rPr>
                        <a:t>Develop and implement Consumer education strategy</a:t>
                      </a:r>
                      <a:endParaRPr lang="en-ZA" sz="1600" kern="1200" dirty="0">
                        <a:solidFill>
                          <a:schemeClr val="dk1"/>
                        </a:solidFill>
                        <a:effectLst/>
                        <a:latin typeface="+mn-lt"/>
                        <a:ea typeface="+mn-ea"/>
                        <a:cs typeface="+mn-cs"/>
                      </a:endParaRPr>
                    </a:p>
                  </a:txBody>
                  <a:tcPr marL="68580" marR="68580" marT="0" marB="0"/>
                </a:tc>
                <a:extLst>
                  <a:ext uri="{0D108BD9-81ED-4DB2-BD59-A6C34878D82A}">
                    <a16:rowId xmlns:a16="http://schemas.microsoft.com/office/drawing/2014/main" val="10006"/>
                  </a:ext>
                </a:extLst>
              </a:tr>
            </a:tbl>
          </a:graphicData>
        </a:graphic>
      </p:graphicFrame>
      <p:sp>
        <p:nvSpPr>
          <p:cNvPr id="6" name="Title 2"/>
          <p:cNvSpPr txBox="1">
            <a:spLocks/>
          </p:cNvSpPr>
          <p:nvPr/>
        </p:nvSpPr>
        <p:spPr>
          <a:xfrm>
            <a:off x="-1" y="-8002"/>
            <a:ext cx="12192001" cy="696065"/>
          </a:xfrm>
          <a:prstGeom prst="rect">
            <a:avLst/>
          </a:prstGeom>
          <a:solidFill>
            <a:srgbClr val="00266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rtlCol="0" anchor="ctr">
            <a:noAutofit/>
            <a:scene3d>
              <a:camera prst="orthographicFront"/>
              <a:lightRig rig="soft" dir="t"/>
            </a:scene3d>
            <a:sp3d prstMaterial="softEdge">
              <a:bevelT w="25400" h="25400"/>
            </a:sp3d>
          </a:bodyPr>
          <a:lstStyle>
            <a:lvl1pPr algn="r" rtl="0" eaLnBrk="1" latinLnBrk="0" hangingPunct="1">
              <a:spcBef>
                <a:spcPct val="0"/>
              </a:spcBef>
              <a:buNone/>
              <a:defRPr kumimoji="0" sz="3200" b="1" kern="1200">
                <a:solidFill>
                  <a:srgbClr val="9A9B9C"/>
                </a:solidFill>
                <a:effectLst>
                  <a:outerShdw blurRad="31750" dist="25400" dir="5400000" algn="tl" rotWithShape="0">
                    <a:srgbClr val="000000">
                      <a:alpha val="25000"/>
                    </a:srgbClr>
                  </a:outerShdw>
                </a:effectLst>
                <a:latin typeface="+mn-lt"/>
                <a:ea typeface="+mj-ea"/>
                <a:cs typeface="+mj-cs"/>
              </a:defRPr>
            </a:lvl1pPr>
            <a:lvl2pPr>
              <a:defRPr/>
            </a:lvl2pPr>
            <a:lvl3pPr>
              <a:defRPr/>
            </a:lvl3pPr>
            <a:lvl4pPr>
              <a:defRPr/>
            </a:lvl4pPr>
            <a:lvl5pPr>
              <a:defRPr/>
            </a:lvl5pPr>
            <a:lvl6pPr>
              <a:defRPr/>
            </a:lvl6pPr>
            <a:lvl7pPr>
              <a:defRPr/>
            </a:lvl7pPr>
            <a:lvl8pPr>
              <a:defRPr/>
            </a:lvl8pPr>
            <a:lvl9pPr>
              <a:defRPr/>
            </a:lvl9pPr>
            <a:extLst/>
          </a:lstStyle>
          <a:p>
            <a:pPr marL="354013" algn="l"/>
            <a:endParaRPr lang="en-US" sz="2400" dirty="0">
              <a:solidFill>
                <a:schemeClr val="bg1"/>
              </a:solidFill>
            </a:endParaRPr>
          </a:p>
          <a:p>
            <a:pPr marL="354013" algn="l"/>
            <a:r>
              <a:rPr lang="en-US" sz="2400" dirty="0">
                <a:solidFill>
                  <a:schemeClr val="bg1"/>
                </a:solidFill>
              </a:rPr>
              <a:t>NHFC’s </a:t>
            </a:r>
            <a:r>
              <a:rPr lang="en-GB" sz="2400" dirty="0">
                <a:solidFill>
                  <a:schemeClr val="bg1"/>
                </a:solidFill>
              </a:rPr>
              <a:t>KEY RISKS AND MITIGATIONS</a:t>
            </a:r>
            <a:endParaRPr lang="en-ZA" sz="2400" dirty="0">
              <a:solidFill>
                <a:schemeClr val="bg1"/>
              </a:solidFill>
            </a:endParaRPr>
          </a:p>
          <a:p>
            <a:pPr marL="354013" algn="l"/>
            <a:endParaRPr lang="en-ZA" sz="2400" dirty="0">
              <a:solidFill>
                <a:schemeClr val="bg1"/>
              </a:solidFill>
            </a:endParaRPr>
          </a:p>
        </p:txBody>
      </p:sp>
    </p:spTree>
    <p:extLst>
      <p:ext uri="{BB962C8B-B14F-4D97-AF65-F5344CB8AC3E}">
        <p14:creationId xmlns:p14="http://schemas.microsoft.com/office/powerpoint/2010/main" val="40237427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A282B52-CDAB-4AE7-971E-125A0F0EED6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1" name="think-cell Slide" r:id="rId12" imgW="425" imgH="424" progId="TCLayout.ActiveDocument.1">
                  <p:embed/>
                </p:oleObj>
              </mc:Choice>
              <mc:Fallback>
                <p:oleObj name="think-cell Slide" r:id="rId12" imgW="425" imgH="424"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F45F542-157F-4C1D-910D-B0AD9101F8D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ZA" sz="1600" dirty="0">
              <a:latin typeface="Calibri" panose="020F0502020204030204" pitchFamily="34" charset="0"/>
              <a:sym typeface="Calibri" panose="020F0502020204030204" pitchFamily="34" charset="0"/>
            </a:endParaRPr>
          </a:p>
        </p:txBody>
      </p:sp>
      <p:sp>
        <p:nvSpPr>
          <p:cNvPr id="7" name="Title 2"/>
          <p:cNvSpPr txBox="1">
            <a:spLocks/>
          </p:cNvSpPr>
          <p:nvPr/>
        </p:nvSpPr>
        <p:spPr>
          <a:xfrm>
            <a:off x="-1" y="5647"/>
            <a:ext cx="12192001" cy="544770"/>
          </a:xfrm>
          <a:prstGeom prst="rect">
            <a:avLst/>
          </a:prstGeom>
          <a:solidFill>
            <a:srgbClr val="00266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rtlCol="0" anchor="ctr">
            <a:noAutofit/>
            <a:scene3d>
              <a:camera prst="orthographicFront"/>
              <a:lightRig rig="soft" dir="t"/>
            </a:scene3d>
            <a:sp3d prstMaterial="softEdge">
              <a:bevelT w="25400" h="25400"/>
            </a:sp3d>
          </a:bodyPr>
          <a:lstStyle>
            <a:lvl1pPr algn="r" rtl="0" eaLnBrk="1" latinLnBrk="0" hangingPunct="1">
              <a:spcBef>
                <a:spcPct val="0"/>
              </a:spcBef>
              <a:buNone/>
              <a:defRPr kumimoji="0" sz="3200" b="1" kern="1200">
                <a:solidFill>
                  <a:srgbClr val="9A9B9C"/>
                </a:solidFill>
                <a:effectLst>
                  <a:outerShdw blurRad="31750" dist="25400" dir="5400000" algn="tl" rotWithShape="0">
                    <a:srgbClr val="000000">
                      <a:alpha val="25000"/>
                    </a:srgbClr>
                  </a:outerShdw>
                </a:effectLst>
                <a:latin typeface="+mn-lt"/>
                <a:ea typeface="+mj-ea"/>
                <a:cs typeface="+mj-cs"/>
              </a:defRPr>
            </a:lvl1pPr>
            <a:lvl2pPr>
              <a:defRPr/>
            </a:lvl2pPr>
            <a:lvl3pPr>
              <a:defRPr/>
            </a:lvl3pPr>
            <a:lvl4pPr>
              <a:defRPr/>
            </a:lvl4pPr>
            <a:lvl5pPr>
              <a:defRPr/>
            </a:lvl5pPr>
            <a:lvl6pPr>
              <a:defRPr/>
            </a:lvl6pPr>
            <a:lvl7pPr>
              <a:defRPr/>
            </a:lvl7pPr>
            <a:lvl8pPr>
              <a:defRPr/>
            </a:lvl8pPr>
            <a:lvl9pPr>
              <a:defRPr/>
            </a:lvl9pPr>
            <a:extLst/>
          </a:lstStyle>
          <a:p>
            <a:pPr marL="354013" indent="7938" algn="l"/>
            <a:r>
              <a:rPr lang="en-ZA" sz="2800" kern="0" dirty="0">
                <a:solidFill>
                  <a:prstClr val="white"/>
                </a:solidFill>
              </a:rPr>
              <a:t>CONTENTS</a:t>
            </a:r>
            <a:endParaRPr lang="en-GB" sz="2400" kern="0" dirty="0">
              <a:solidFill>
                <a:prstClr val="white"/>
              </a:solidFill>
            </a:endParaRPr>
          </a:p>
        </p:txBody>
      </p:sp>
      <p:sp>
        <p:nvSpPr>
          <p:cNvPr id="8" name="Parallelogram 7"/>
          <p:cNvSpPr/>
          <p:nvPr/>
        </p:nvSpPr>
        <p:spPr>
          <a:xfrm>
            <a:off x="-2" y="6519067"/>
            <a:ext cx="9871077" cy="335757"/>
          </a:xfrm>
          <a:custGeom>
            <a:avLst/>
            <a:gdLst>
              <a:gd name="connsiteX0" fmla="*/ 0 w 10188575"/>
              <a:gd name="connsiteY0" fmla="*/ 166915 h 166915"/>
              <a:gd name="connsiteX1" fmla="*/ 41729 w 10188575"/>
              <a:gd name="connsiteY1" fmla="*/ 0 h 166915"/>
              <a:gd name="connsiteX2" fmla="*/ 10188575 w 10188575"/>
              <a:gd name="connsiteY2" fmla="*/ 0 h 166915"/>
              <a:gd name="connsiteX3" fmla="*/ 10146846 w 10188575"/>
              <a:gd name="connsiteY3" fmla="*/ 166915 h 166915"/>
              <a:gd name="connsiteX4" fmla="*/ 0 w 10188575"/>
              <a:gd name="connsiteY4" fmla="*/ 166915 h 166915"/>
              <a:gd name="connsiteX0" fmla="*/ 17802 w 10146846"/>
              <a:gd name="connsiteY0" fmla="*/ 166915 h 166915"/>
              <a:gd name="connsiteX1" fmla="*/ 0 w 10146846"/>
              <a:gd name="connsiteY1" fmla="*/ 0 h 166915"/>
              <a:gd name="connsiteX2" fmla="*/ 10146846 w 10146846"/>
              <a:gd name="connsiteY2" fmla="*/ 0 h 166915"/>
              <a:gd name="connsiteX3" fmla="*/ 10105117 w 10146846"/>
              <a:gd name="connsiteY3" fmla="*/ 166915 h 166915"/>
              <a:gd name="connsiteX4" fmla="*/ 17802 w 10146846"/>
              <a:gd name="connsiteY4" fmla="*/ 166915 h 166915"/>
              <a:gd name="connsiteX0" fmla="*/ 3514 w 10132558"/>
              <a:gd name="connsiteY0" fmla="*/ 166915 h 166915"/>
              <a:gd name="connsiteX1" fmla="*/ 0 w 10132558"/>
              <a:gd name="connsiteY1" fmla="*/ 2381 h 166915"/>
              <a:gd name="connsiteX2" fmla="*/ 10132558 w 10132558"/>
              <a:gd name="connsiteY2" fmla="*/ 0 h 166915"/>
              <a:gd name="connsiteX3" fmla="*/ 10090829 w 10132558"/>
              <a:gd name="connsiteY3" fmla="*/ 166915 h 166915"/>
              <a:gd name="connsiteX4" fmla="*/ 3514 w 10132558"/>
              <a:gd name="connsiteY4" fmla="*/ 166915 h 166915"/>
              <a:gd name="connsiteX0" fmla="*/ 154 w 10129198"/>
              <a:gd name="connsiteY0" fmla="*/ 166915 h 166915"/>
              <a:gd name="connsiteX1" fmla="*/ 3784 w 10129198"/>
              <a:gd name="connsiteY1" fmla="*/ 0 h 166915"/>
              <a:gd name="connsiteX2" fmla="*/ 10129198 w 10129198"/>
              <a:gd name="connsiteY2" fmla="*/ 0 h 166915"/>
              <a:gd name="connsiteX3" fmla="*/ 10087469 w 10129198"/>
              <a:gd name="connsiteY3" fmla="*/ 166915 h 166915"/>
              <a:gd name="connsiteX4" fmla="*/ 154 w 10129198"/>
              <a:gd name="connsiteY4" fmla="*/ 166915 h 166915"/>
              <a:gd name="connsiteX0" fmla="*/ 239 w 10126902"/>
              <a:gd name="connsiteY0" fmla="*/ 169296 h 169296"/>
              <a:gd name="connsiteX1" fmla="*/ 1488 w 10126902"/>
              <a:gd name="connsiteY1" fmla="*/ 0 h 169296"/>
              <a:gd name="connsiteX2" fmla="*/ 10126902 w 10126902"/>
              <a:gd name="connsiteY2" fmla="*/ 0 h 169296"/>
              <a:gd name="connsiteX3" fmla="*/ 10085173 w 10126902"/>
              <a:gd name="connsiteY3" fmla="*/ 166915 h 169296"/>
              <a:gd name="connsiteX4" fmla="*/ 239 w 10126902"/>
              <a:gd name="connsiteY4" fmla="*/ 169296 h 169296"/>
              <a:gd name="connsiteX0" fmla="*/ 239 w 10425352"/>
              <a:gd name="connsiteY0" fmla="*/ 175887 h 175887"/>
              <a:gd name="connsiteX1" fmla="*/ 1488 w 10425352"/>
              <a:gd name="connsiteY1" fmla="*/ 6591 h 175887"/>
              <a:gd name="connsiteX2" fmla="*/ 10425352 w 10425352"/>
              <a:gd name="connsiteY2" fmla="*/ 0 h 175887"/>
              <a:gd name="connsiteX3" fmla="*/ 10085173 w 10425352"/>
              <a:gd name="connsiteY3" fmla="*/ 173506 h 175887"/>
              <a:gd name="connsiteX4" fmla="*/ 239 w 10425352"/>
              <a:gd name="connsiteY4" fmla="*/ 175887 h 175887"/>
              <a:gd name="connsiteX0" fmla="*/ 239 w 10635515"/>
              <a:gd name="connsiteY0" fmla="*/ 179182 h 179182"/>
              <a:gd name="connsiteX1" fmla="*/ 1488 w 10635515"/>
              <a:gd name="connsiteY1" fmla="*/ 9886 h 179182"/>
              <a:gd name="connsiteX2" fmla="*/ 10635515 w 10635515"/>
              <a:gd name="connsiteY2" fmla="*/ 0 h 179182"/>
              <a:gd name="connsiteX3" fmla="*/ 10085173 w 10635515"/>
              <a:gd name="connsiteY3" fmla="*/ 176801 h 179182"/>
              <a:gd name="connsiteX4" fmla="*/ 239 w 10635515"/>
              <a:gd name="connsiteY4" fmla="*/ 179182 h 179182"/>
              <a:gd name="connsiteX0" fmla="*/ 239 w 10635515"/>
              <a:gd name="connsiteY0" fmla="*/ 179182 h 179182"/>
              <a:gd name="connsiteX1" fmla="*/ 1488 w 10635515"/>
              <a:gd name="connsiteY1" fmla="*/ 9886 h 179182"/>
              <a:gd name="connsiteX2" fmla="*/ 10635515 w 10635515"/>
              <a:gd name="connsiteY2" fmla="*/ 0 h 179182"/>
              <a:gd name="connsiteX3" fmla="*/ 10224620 w 10635515"/>
              <a:gd name="connsiteY3" fmla="*/ 178449 h 179182"/>
              <a:gd name="connsiteX4" fmla="*/ 239 w 10635515"/>
              <a:gd name="connsiteY4" fmla="*/ 179182 h 179182"/>
              <a:gd name="connsiteX0" fmla="*/ 239 w 10635515"/>
              <a:gd name="connsiteY0" fmla="*/ 174239 h 174239"/>
              <a:gd name="connsiteX1" fmla="*/ 1488 w 10635515"/>
              <a:gd name="connsiteY1" fmla="*/ 4943 h 174239"/>
              <a:gd name="connsiteX2" fmla="*/ 10635515 w 10635515"/>
              <a:gd name="connsiteY2" fmla="*/ 0 h 174239"/>
              <a:gd name="connsiteX3" fmla="*/ 10224620 w 10635515"/>
              <a:gd name="connsiteY3" fmla="*/ 173506 h 174239"/>
              <a:gd name="connsiteX4" fmla="*/ 239 w 10635515"/>
              <a:gd name="connsiteY4" fmla="*/ 174239 h 174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35515" h="174239">
                <a:moveTo>
                  <a:pt x="239" y="174239"/>
                </a:moveTo>
                <a:cubicBezTo>
                  <a:pt x="-932" y="119394"/>
                  <a:pt x="2659" y="59788"/>
                  <a:pt x="1488" y="4943"/>
                </a:cubicBezTo>
                <a:lnTo>
                  <a:pt x="10635515" y="0"/>
                </a:lnTo>
                <a:lnTo>
                  <a:pt x="10224620" y="173506"/>
                </a:lnTo>
                <a:lnTo>
                  <a:pt x="239" y="174239"/>
                </a:lnTo>
                <a:close/>
              </a:path>
            </a:pathLst>
          </a:custGeom>
          <a:pattFill prst="pct70">
            <a:fgClr>
              <a:schemeClr val="bg1">
                <a:lumMod val="75000"/>
              </a:schemeClr>
            </a:fgClr>
            <a:bgClr>
              <a:schemeClr val="bg1"/>
            </a:bgClr>
          </a:patt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dirty="0"/>
          </a:p>
        </p:txBody>
      </p:sp>
      <p:sp>
        <p:nvSpPr>
          <p:cNvPr id="11" name="Parallelogram 10"/>
          <p:cNvSpPr/>
          <p:nvPr/>
        </p:nvSpPr>
        <p:spPr>
          <a:xfrm>
            <a:off x="10360480" y="6519067"/>
            <a:ext cx="1831520" cy="330199"/>
          </a:xfrm>
          <a:custGeom>
            <a:avLst/>
            <a:gdLst>
              <a:gd name="connsiteX0" fmla="*/ 0 w 1983938"/>
              <a:gd name="connsiteY0" fmla="*/ 166914 h 166914"/>
              <a:gd name="connsiteX1" fmla="*/ 41729 w 1983938"/>
              <a:gd name="connsiteY1" fmla="*/ 0 h 166914"/>
              <a:gd name="connsiteX2" fmla="*/ 1983938 w 1983938"/>
              <a:gd name="connsiteY2" fmla="*/ 0 h 166914"/>
              <a:gd name="connsiteX3" fmla="*/ 1942210 w 1983938"/>
              <a:gd name="connsiteY3" fmla="*/ 166914 h 166914"/>
              <a:gd name="connsiteX4" fmla="*/ 0 w 1983938"/>
              <a:gd name="connsiteY4" fmla="*/ 166914 h 166914"/>
              <a:gd name="connsiteX0" fmla="*/ 0 w 1942210"/>
              <a:gd name="connsiteY0" fmla="*/ 166914 h 166914"/>
              <a:gd name="connsiteX1" fmla="*/ 41729 w 1942210"/>
              <a:gd name="connsiteY1" fmla="*/ 0 h 166914"/>
              <a:gd name="connsiteX2" fmla="*/ 1910120 w 1942210"/>
              <a:gd name="connsiteY2" fmla="*/ 0 h 166914"/>
              <a:gd name="connsiteX3" fmla="*/ 1942210 w 1942210"/>
              <a:gd name="connsiteY3" fmla="*/ 166914 h 166914"/>
              <a:gd name="connsiteX4" fmla="*/ 0 w 1942210"/>
              <a:gd name="connsiteY4" fmla="*/ 166914 h 166914"/>
              <a:gd name="connsiteX0" fmla="*/ 0 w 1913635"/>
              <a:gd name="connsiteY0" fmla="*/ 166914 h 166914"/>
              <a:gd name="connsiteX1" fmla="*/ 41729 w 1913635"/>
              <a:gd name="connsiteY1" fmla="*/ 0 h 166914"/>
              <a:gd name="connsiteX2" fmla="*/ 1910120 w 1913635"/>
              <a:gd name="connsiteY2" fmla="*/ 0 h 166914"/>
              <a:gd name="connsiteX3" fmla="*/ 1913635 w 1913635"/>
              <a:gd name="connsiteY3" fmla="*/ 166914 h 166914"/>
              <a:gd name="connsiteX4" fmla="*/ 0 w 1913635"/>
              <a:gd name="connsiteY4" fmla="*/ 166914 h 166914"/>
              <a:gd name="connsiteX0" fmla="*/ 0 w 1913635"/>
              <a:gd name="connsiteY0" fmla="*/ 170187 h 170187"/>
              <a:gd name="connsiteX1" fmla="*/ 352879 w 1913635"/>
              <a:gd name="connsiteY1" fmla="*/ 0 h 170187"/>
              <a:gd name="connsiteX2" fmla="*/ 1910120 w 1913635"/>
              <a:gd name="connsiteY2" fmla="*/ 3273 h 170187"/>
              <a:gd name="connsiteX3" fmla="*/ 1913635 w 1913635"/>
              <a:gd name="connsiteY3" fmla="*/ 170187 h 170187"/>
              <a:gd name="connsiteX4" fmla="*/ 0 w 1913635"/>
              <a:gd name="connsiteY4" fmla="*/ 170187 h 1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635" h="170187">
                <a:moveTo>
                  <a:pt x="0" y="170187"/>
                </a:moveTo>
                <a:lnTo>
                  <a:pt x="352879" y="0"/>
                </a:lnTo>
                <a:lnTo>
                  <a:pt x="1910120" y="3273"/>
                </a:lnTo>
                <a:cubicBezTo>
                  <a:pt x="1911292" y="58911"/>
                  <a:pt x="1912463" y="114549"/>
                  <a:pt x="1913635" y="170187"/>
                </a:cubicBezTo>
                <a:lnTo>
                  <a:pt x="0" y="170187"/>
                </a:lnTo>
                <a:close/>
              </a:path>
            </a:pathLst>
          </a:custGeom>
          <a:pattFill prst="pct70">
            <a:fgClr>
              <a:schemeClr val="accent4"/>
            </a:fgClr>
            <a:bgClr>
              <a:schemeClr val="bg1"/>
            </a:bgClr>
          </a:patt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sp>
        <p:nvSpPr>
          <p:cNvPr id="13" name="Parallelogram 12"/>
          <p:cNvSpPr/>
          <p:nvPr/>
        </p:nvSpPr>
        <p:spPr>
          <a:xfrm>
            <a:off x="9680574" y="6524623"/>
            <a:ext cx="841376" cy="330201"/>
          </a:xfrm>
          <a:custGeom>
            <a:avLst/>
            <a:gdLst>
              <a:gd name="connsiteX0" fmla="*/ 0 w 812801"/>
              <a:gd name="connsiteY0" fmla="*/ 333376 h 333376"/>
              <a:gd name="connsiteX1" fmla="*/ 83344 w 812801"/>
              <a:gd name="connsiteY1" fmla="*/ 0 h 333376"/>
              <a:gd name="connsiteX2" fmla="*/ 812801 w 812801"/>
              <a:gd name="connsiteY2" fmla="*/ 0 h 333376"/>
              <a:gd name="connsiteX3" fmla="*/ 729457 w 812801"/>
              <a:gd name="connsiteY3" fmla="*/ 333376 h 333376"/>
              <a:gd name="connsiteX4" fmla="*/ 0 w 812801"/>
              <a:gd name="connsiteY4" fmla="*/ 333376 h 333376"/>
              <a:gd name="connsiteX0" fmla="*/ 0 w 1111251"/>
              <a:gd name="connsiteY0" fmla="*/ 330201 h 333376"/>
              <a:gd name="connsiteX1" fmla="*/ 381794 w 1111251"/>
              <a:gd name="connsiteY1" fmla="*/ 0 h 333376"/>
              <a:gd name="connsiteX2" fmla="*/ 1111251 w 1111251"/>
              <a:gd name="connsiteY2" fmla="*/ 0 h 333376"/>
              <a:gd name="connsiteX3" fmla="*/ 1027907 w 1111251"/>
              <a:gd name="connsiteY3" fmla="*/ 333376 h 333376"/>
              <a:gd name="connsiteX4" fmla="*/ 0 w 1111251"/>
              <a:gd name="connsiteY4" fmla="*/ 330201 h 333376"/>
              <a:gd name="connsiteX0" fmla="*/ 0 w 1111251"/>
              <a:gd name="connsiteY0" fmla="*/ 330201 h 330201"/>
              <a:gd name="connsiteX1" fmla="*/ 381794 w 1111251"/>
              <a:gd name="connsiteY1" fmla="*/ 0 h 330201"/>
              <a:gd name="connsiteX2" fmla="*/ 1111251 w 1111251"/>
              <a:gd name="connsiteY2" fmla="*/ 0 h 330201"/>
              <a:gd name="connsiteX3" fmla="*/ 805657 w 1111251"/>
              <a:gd name="connsiteY3" fmla="*/ 320676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815976"/>
              <a:gd name="connsiteY0" fmla="*/ 330201 h 330201"/>
              <a:gd name="connsiteX1" fmla="*/ 381794 w 815976"/>
              <a:gd name="connsiteY1" fmla="*/ 0 h 330201"/>
              <a:gd name="connsiteX2" fmla="*/ 815976 w 815976"/>
              <a:gd name="connsiteY2" fmla="*/ 0 h 330201"/>
              <a:gd name="connsiteX3" fmla="*/ 450057 w 815976"/>
              <a:gd name="connsiteY3" fmla="*/ 330201 h 330201"/>
              <a:gd name="connsiteX4" fmla="*/ 0 w 815976"/>
              <a:gd name="connsiteY4" fmla="*/ 330201 h 330201"/>
              <a:gd name="connsiteX0" fmla="*/ 0 w 841376"/>
              <a:gd name="connsiteY0" fmla="*/ 330201 h 330201"/>
              <a:gd name="connsiteX1" fmla="*/ 381794 w 841376"/>
              <a:gd name="connsiteY1" fmla="*/ 0 h 330201"/>
              <a:gd name="connsiteX2" fmla="*/ 841376 w 841376"/>
              <a:gd name="connsiteY2" fmla="*/ 0 h 330201"/>
              <a:gd name="connsiteX3" fmla="*/ 450057 w 841376"/>
              <a:gd name="connsiteY3" fmla="*/ 330201 h 330201"/>
              <a:gd name="connsiteX4" fmla="*/ 0 w 841376"/>
              <a:gd name="connsiteY4" fmla="*/ 330201 h 33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376" h="330201">
                <a:moveTo>
                  <a:pt x="0" y="330201"/>
                </a:moveTo>
                <a:lnTo>
                  <a:pt x="381794" y="0"/>
                </a:lnTo>
                <a:lnTo>
                  <a:pt x="841376" y="0"/>
                </a:lnTo>
                <a:lnTo>
                  <a:pt x="450057" y="330201"/>
                </a:lnTo>
                <a:lnTo>
                  <a:pt x="0" y="330201"/>
                </a:lnTo>
                <a:close/>
              </a:path>
            </a:pathLst>
          </a:custGeom>
          <a:pattFill prst="pct70">
            <a:fgClr>
              <a:schemeClr val="accent5">
                <a:lumMod val="50000"/>
              </a:schemeClr>
            </a:fgClr>
            <a:bgClr>
              <a:schemeClr val="bg1"/>
            </a:bgClr>
          </a:patt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p>
        </p:txBody>
      </p:sp>
      <p:sp>
        <p:nvSpPr>
          <p:cNvPr id="3" name="TextBox 2">
            <a:extLst>
              <a:ext uri="{FF2B5EF4-FFF2-40B4-BE49-F238E27FC236}">
                <a16:creationId xmlns:a16="http://schemas.microsoft.com/office/drawing/2014/main" id="{306EBDAB-6567-4BB5-A72D-B8C120B081C9}"/>
              </a:ext>
            </a:extLst>
          </p:cNvPr>
          <p:cNvSpPr txBox="1"/>
          <p:nvPr/>
        </p:nvSpPr>
        <p:spPr>
          <a:xfrm>
            <a:off x="30144" y="6484140"/>
            <a:ext cx="12161855" cy="373859"/>
          </a:xfrm>
          <a:prstGeom prst="rect">
            <a:avLst/>
          </a:prstGeom>
          <a:noFill/>
        </p:spPr>
        <p:txBody>
          <a:bodyPr wrap="square" rtlCol="0" anchor="ctr">
            <a:noAutofit/>
          </a:bodyPr>
          <a:lstStyle/>
          <a:p>
            <a:pPr indent="361950"/>
            <a:endParaRPr lang="en-ZA" sz="1000" b="1" dirty="0"/>
          </a:p>
        </p:txBody>
      </p:sp>
      <p:sp>
        <p:nvSpPr>
          <p:cNvPr id="5" name="Slide Number Placeholder 4">
            <a:extLst>
              <a:ext uri="{FF2B5EF4-FFF2-40B4-BE49-F238E27FC236}">
                <a16:creationId xmlns:a16="http://schemas.microsoft.com/office/drawing/2014/main" id="{A987B35D-F68B-4006-AC19-5A526609671C}"/>
              </a:ext>
            </a:extLst>
          </p:cNvPr>
          <p:cNvSpPr>
            <a:spLocks noGrp="1"/>
          </p:cNvSpPr>
          <p:nvPr>
            <p:ph type="sldNum" sz="quarter" idx="12"/>
          </p:nvPr>
        </p:nvSpPr>
        <p:spPr>
          <a:xfrm>
            <a:off x="9448800" y="6484141"/>
            <a:ext cx="2743200" cy="365125"/>
          </a:xfrm>
        </p:spPr>
        <p:txBody>
          <a:bodyPr anchor="ctr"/>
          <a:lstStyle/>
          <a:p>
            <a:fld id="{87102F09-8F7D-4EC1-9AE5-82CA77F49212}" type="slidenum">
              <a:rPr lang="en-ZA" b="1" smtClean="0">
                <a:solidFill>
                  <a:schemeClr val="tx1"/>
                </a:solidFill>
              </a:rPr>
              <a:t>3</a:t>
            </a:fld>
            <a:endParaRPr lang="en-ZA" b="1" dirty="0">
              <a:solidFill>
                <a:schemeClr val="tx1"/>
              </a:solidFill>
            </a:endParaRPr>
          </a:p>
        </p:txBody>
      </p:sp>
      <p:pic>
        <p:nvPicPr>
          <p:cNvPr id="1028" name="Picture 4" descr="Related image">
            <a:extLst>
              <a:ext uri="{FF2B5EF4-FFF2-40B4-BE49-F238E27FC236}">
                <a16:creationId xmlns:a16="http://schemas.microsoft.com/office/drawing/2014/main" id="{CF7F4170-303C-4BAE-9DF6-E218F80EEC4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686093" y="811369"/>
            <a:ext cx="8493595" cy="570769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25F88DF4-9D37-4D00-90FE-8CA625FAFC44}"/>
              </a:ext>
            </a:extLst>
          </p:cNvPr>
          <p:cNvSpPr/>
          <p:nvPr/>
        </p:nvSpPr>
        <p:spPr>
          <a:xfrm>
            <a:off x="-3" y="776443"/>
            <a:ext cx="12192001" cy="5748180"/>
          </a:xfrm>
          <a:prstGeom prst="rect">
            <a:avLst/>
          </a:prstGeom>
          <a:gradFill flip="none" rotWithShape="1">
            <a:gsLst>
              <a:gs pos="0">
                <a:schemeClr val="accent1">
                  <a:lumMod val="5000"/>
                  <a:lumOff val="95000"/>
                </a:schemeClr>
              </a:gs>
              <a:gs pos="43000">
                <a:schemeClr val="bg1"/>
              </a:gs>
              <a:gs pos="100000">
                <a:schemeClr val="bg1">
                  <a:alpha val="73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ct val="0"/>
              </a:spcBef>
              <a:spcAft>
                <a:spcPct val="0"/>
              </a:spcAft>
              <a:defRPr/>
            </a:pPr>
            <a:r>
              <a:rPr lang="en-US"/>
              <a:t>NHFC’s </a:t>
            </a:r>
            <a:r>
              <a:rPr lang="en-GB"/>
              <a:t>key risks and mitigations</a:t>
            </a:r>
            <a:endParaRPr lang="en-ZA" dirty="0"/>
          </a:p>
        </p:txBody>
      </p:sp>
      <p:sp>
        <p:nvSpPr>
          <p:cNvPr id="18" name="Text Placeholder 2">
            <a:hlinkClick r:id="rId15" action="ppaction://hlinksldjump"/>
            <a:extLst>
              <a:ext uri="{FF2B5EF4-FFF2-40B4-BE49-F238E27FC236}">
                <a16:creationId xmlns:a16="http://schemas.microsoft.com/office/drawing/2014/main" id="{58F42D9B-E86A-4FAB-B4D5-E84AEE47BBC2}"/>
              </a:ext>
            </a:extLst>
          </p:cNvPr>
          <p:cNvSpPr>
            <a:spLocks noGrp="1"/>
          </p:cNvSpPr>
          <p:nvPr/>
        </p:nvSpPr>
        <p:spPr bwMode="gray">
          <a:xfrm>
            <a:off x="452438" y="1361778"/>
            <a:ext cx="7185025" cy="468000"/>
          </a:xfrm>
          <a:prstGeom prst="rect">
            <a:avLst/>
          </a:prstGeom>
          <a:solidFill>
            <a:srgbClr val="DFE5EF"/>
          </a:solidFill>
          <a:ln w="38100" algn="ctr">
            <a:solidFill>
              <a:schemeClr val="bg1"/>
            </a:solidFill>
          </a:ln>
        </p:spPr>
        <p:txBody>
          <a:bodyPr vert="horz" wrap="none" lIns="80963"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en-US" sz="1600" dirty="0"/>
              <a:t>Mandate and Overview of the NHFC </a:t>
            </a:r>
            <a:endParaRPr lang="en-ZA" sz="1600" dirty="0"/>
          </a:p>
        </p:txBody>
      </p:sp>
      <p:sp>
        <p:nvSpPr>
          <p:cNvPr id="27" name="Text Placeholder 2">
            <a:hlinkClick r:id="rId16" action="ppaction://hlinksldjump"/>
            <a:extLst>
              <a:ext uri="{FF2B5EF4-FFF2-40B4-BE49-F238E27FC236}">
                <a16:creationId xmlns:a16="http://schemas.microsoft.com/office/drawing/2014/main" id="{6D377851-C814-4240-ADC4-6A242F25876C}"/>
              </a:ext>
            </a:extLst>
          </p:cNvPr>
          <p:cNvSpPr>
            <a:spLocks noGrp="1"/>
          </p:cNvSpPr>
          <p:nvPr>
            <p:custDataLst>
              <p:tags r:id="rId4"/>
            </p:custDataLst>
          </p:nvPr>
        </p:nvSpPr>
        <p:spPr bwMode="gray">
          <a:xfrm>
            <a:off x="452439" y="2400496"/>
            <a:ext cx="7185020" cy="2071104"/>
          </a:xfrm>
          <a:prstGeom prst="rect">
            <a:avLst/>
          </a:prstGeom>
          <a:solidFill>
            <a:srgbClr val="DFE6EF"/>
          </a:solidFill>
          <a:ln w="38100" algn="ctr">
            <a:solidFill>
              <a:schemeClr val="bg1"/>
            </a:solidFill>
          </a:ln>
        </p:spPr>
        <p:txBody>
          <a:bodyPr vert="horz" wrap="none" lIns="80963"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endParaRPr lang="en-ZA" altLang="en-US" sz="1600" dirty="0"/>
          </a:p>
          <a:p>
            <a:pPr>
              <a:spcBef>
                <a:spcPct val="0"/>
              </a:spcBef>
              <a:spcAft>
                <a:spcPct val="0"/>
              </a:spcAft>
            </a:pPr>
            <a:r>
              <a:rPr lang="en-ZA" altLang="en-US" sz="1600" dirty="0"/>
              <a:t>Strategy (SP) Review and Development:</a:t>
            </a:r>
          </a:p>
          <a:p>
            <a:pPr marL="0" indent="0">
              <a:spcBef>
                <a:spcPct val="0"/>
              </a:spcBef>
              <a:spcAft>
                <a:spcPct val="0"/>
              </a:spcAft>
              <a:buNone/>
            </a:pPr>
            <a:endParaRPr lang="en-ZA" altLang="en-US" sz="1600" dirty="0"/>
          </a:p>
          <a:p>
            <a:pPr lvl="1">
              <a:spcBef>
                <a:spcPct val="0"/>
              </a:spcBef>
              <a:spcAft>
                <a:spcPct val="0"/>
              </a:spcAft>
              <a:buFont typeface="Wingdings" panose="05000000000000000000" pitchFamily="2" charset="2"/>
              <a:buChar char="ü"/>
            </a:pPr>
            <a:r>
              <a:rPr lang="en-ZA" sz="1600" dirty="0">
                <a:solidFill>
                  <a:sysClr val="windowText" lastClr="000000"/>
                </a:solidFill>
              </a:rPr>
              <a:t>Highlight Outcomes?</a:t>
            </a:r>
          </a:p>
          <a:p>
            <a:pPr lvl="1">
              <a:spcBef>
                <a:spcPct val="0"/>
              </a:spcBef>
              <a:spcAft>
                <a:spcPct val="0"/>
              </a:spcAft>
              <a:buFont typeface="Wingdings" panose="05000000000000000000" pitchFamily="2" charset="2"/>
              <a:buChar char="ü"/>
            </a:pPr>
            <a:r>
              <a:rPr lang="en-ZA" sz="1600" dirty="0"/>
              <a:t>Outcome Indicators?</a:t>
            </a:r>
          </a:p>
          <a:p>
            <a:pPr lvl="1">
              <a:spcBef>
                <a:spcPct val="0"/>
              </a:spcBef>
              <a:spcAft>
                <a:spcPct val="0"/>
              </a:spcAft>
              <a:buFont typeface="Wingdings" panose="05000000000000000000" pitchFamily="2" charset="2"/>
              <a:buChar char="ü"/>
            </a:pPr>
            <a:r>
              <a:rPr lang="en-ZA" sz="1600" dirty="0"/>
              <a:t>Baseline for 5year targets?</a:t>
            </a:r>
          </a:p>
          <a:p>
            <a:pPr lvl="1">
              <a:spcBef>
                <a:spcPct val="0"/>
              </a:spcBef>
              <a:spcAft>
                <a:spcPct val="0"/>
              </a:spcAft>
              <a:buFont typeface="Wingdings" panose="05000000000000000000" pitchFamily="2" charset="2"/>
              <a:buChar char="ü"/>
            </a:pPr>
            <a:r>
              <a:rPr lang="en-ZA" sz="1600" dirty="0"/>
              <a:t>Performance Projections over 5years </a:t>
            </a:r>
          </a:p>
          <a:p>
            <a:pPr marL="457200" lvl="1" indent="0">
              <a:spcBef>
                <a:spcPct val="0"/>
              </a:spcBef>
              <a:spcAft>
                <a:spcPct val="0"/>
              </a:spcAft>
              <a:buNone/>
            </a:pPr>
            <a:r>
              <a:rPr lang="en-ZA" sz="1600" dirty="0"/>
              <a:t>     &amp; MTSF contributions?</a:t>
            </a:r>
          </a:p>
          <a:p>
            <a:pPr>
              <a:spcBef>
                <a:spcPct val="0"/>
              </a:spcBef>
              <a:spcAft>
                <a:spcPct val="0"/>
              </a:spcAft>
              <a:buFont typeface="Wingdings" panose="05000000000000000000" pitchFamily="2" charset="2"/>
              <a:buChar char="ü"/>
            </a:pPr>
            <a:endParaRPr lang="en-ZA" sz="1600" dirty="0"/>
          </a:p>
        </p:txBody>
      </p:sp>
      <p:sp>
        <p:nvSpPr>
          <p:cNvPr id="39" name="Text Placeholder 2">
            <a:hlinkClick r:id="" action="ppaction://noaction"/>
            <a:extLst>
              <a:ext uri="{FF2B5EF4-FFF2-40B4-BE49-F238E27FC236}">
                <a16:creationId xmlns:a16="http://schemas.microsoft.com/office/drawing/2014/main" id="{3840106C-32EA-45C3-9AD4-35139680C607}"/>
              </a:ext>
            </a:extLst>
          </p:cNvPr>
          <p:cNvSpPr>
            <a:spLocks noGrp="1"/>
          </p:cNvSpPr>
          <p:nvPr>
            <p:custDataLst>
              <p:tags r:id="rId5"/>
            </p:custDataLst>
          </p:nvPr>
        </p:nvSpPr>
        <p:spPr bwMode="gray">
          <a:xfrm>
            <a:off x="452435" y="1861462"/>
            <a:ext cx="7185025" cy="468000"/>
          </a:xfrm>
          <a:prstGeom prst="rect">
            <a:avLst/>
          </a:prstGeom>
          <a:solidFill>
            <a:schemeClr val="bg2"/>
          </a:solidFill>
          <a:ln w="38100" algn="ctr">
            <a:solidFill>
              <a:schemeClr val="bg1"/>
            </a:solidFill>
          </a:ln>
        </p:spPr>
        <p:txBody>
          <a:bodyPr vert="horz" wrap="none" lIns="80963"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en-US" sz="1600" dirty="0"/>
              <a:t>Impact statement of the NHFC </a:t>
            </a:r>
            <a:endParaRPr lang="en-ZA" sz="1600" dirty="0"/>
          </a:p>
        </p:txBody>
      </p:sp>
      <p:sp>
        <p:nvSpPr>
          <p:cNvPr id="42" name="Text Placeholder 2">
            <a:hlinkClick r:id="" action="ppaction://noaction"/>
            <a:extLst>
              <a:ext uri="{FF2B5EF4-FFF2-40B4-BE49-F238E27FC236}">
                <a16:creationId xmlns:a16="http://schemas.microsoft.com/office/drawing/2014/main" id="{08C84845-E69C-4C8B-BA00-EB16D24495DE}"/>
              </a:ext>
            </a:extLst>
          </p:cNvPr>
          <p:cNvSpPr>
            <a:spLocks noGrp="1"/>
          </p:cNvSpPr>
          <p:nvPr>
            <p:custDataLst>
              <p:tags r:id="rId6"/>
            </p:custDataLst>
          </p:nvPr>
        </p:nvSpPr>
        <p:spPr bwMode="gray">
          <a:xfrm>
            <a:off x="452438" y="5033549"/>
            <a:ext cx="7185025" cy="468000"/>
          </a:xfrm>
          <a:prstGeom prst="rect">
            <a:avLst/>
          </a:prstGeom>
          <a:solidFill>
            <a:srgbClr val="DFE5EF"/>
          </a:solidFill>
          <a:ln w="38100" algn="ctr">
            <a:solidFill>
              <a:schemeClr val="bg1"/>
            </a:solidFill>
          </a:ln>
        </p:spPr>
        <p:txBody>
          <a:bodyPr vert="horz" wrap="none" lIns="80963"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defRPr/>
            </a:pPr>
            <a:r>
              <a:rPr lang="en-US" sz="1600" dirty="0"/>
              <a:t>Budget </a:t>
            </a:r>
          </a:p>
        </p:txBody>
      </p:sp>
      <p:sp>
        <p:nvSpPr>
          <p:cNvPr id="20" name="Text Placeholder 2">
            <a:hlinkClick r:id="rId15" action="ppaction://hlinksldjump"/>
            <a:extLst>
              <a:ext uri="{FF2B5EF4-FFF2-40B4-BE49-F238E27FC236}">
                <a16:creationId xmlns:a16="http://schemas.microsoft.com/office/drawing/2014/main" id="{42DF887B-9EE1-3A46-BD05-F6F9391BACEF}"/>
              </a:ext>
            </a:extLst>
          </p:cNvPr>
          <p:cNvSpPr>
            <a:spLocks noGrp="1"/>
          </p:cNvSpPr>
          <p:nvPr>
            <p:custDataLst>
              <p:tags r:id="rId7"/>
            </p:custDataLst>
          </p:nvPr>
        </p:nvSpPr>
        <p:spPr bwMode="gray">
          <a:xfrm>
            <a:off x="452436" y="843053"/>
            <a:ext cx="7185025" cy="468000"/>
          </a:xfrm>
          <a:prstGeom prst="rect">
            <a:avLst/>
          </a:prstGeom>
          <a:solidFill>
            <a:srgbClr val="689AC8"/>
          </a:solidFill>
          <a:ln w="38100" algn="ctr">
            <a:solidFill>
              <a:schemeClr val="bg1"/>
            </a:solidFill>
          </a:ln>
        </p:spPr>
        <p:txBody>
          <a:bodyPr vert="horz" wrap="none" lIns="80963"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ZA" altLang="en-US" sz="1600" b="1" dirty="0"/>
              <a:t>Purpose of the presentation</a:t>
            </a:r>
            <a:endParaRPr lang="en-ZA" sz="1600" b="1" dirty="0"/>
          </a:p>
        </p:txBody>
      </p:sp>
      <p:sp>
        <p:nvSpPr>
          <p:cNvPr id="21" name="Text Placeholder 2">
            <a:hlinkClick r:id="" action="ppaction://noaction"/>
            <a:extLst>
              <a:ext uri="{FF2B5EF4-FFF2-40B4-BE49-F238E27FC236}">
                <a16:creationId xmlns:a16="http://schemas.microsoft.com/office/drawing/2014/main" id="{116FA045-3BA3-4747-A67C-D0DA97E41AAE}"/>
              </a:ext>
            </a:extLst>
          </p:cNvPr>
          <p:cNvSpPr>
            <a:spLocks noGrp="1"/>
          </p:cNvSpPr>
          <p:nvPr>
            <p:custDataLst>
              <p:tags r:id="rId8"/>
            </p:custDataLst>
          </p:nvPr>
        </p:nvSpPr>
        <p:spPr bwMode="gray">
          <a:xfrm>
            <a:off x="452434" y="4503082"/>
            <a:ext cx="7185025" cy="468000"/>
          </a:xfrm>
          <a:prstGeom prst="rect">
            <a:avLst/>
          </a:prstGeom>
          <a:solidFill>
            <a:schemeClr val="bg2"/>
          </a:solidFill>
          <a:ln w="38100" algn="ctr">
            <a:solidFill>
              <a:schemeClr val="bg1"/>
            </a:solidFill>
          </a:ln>
        </p:spPr>
        <p:txBody>
          <a:bodyPr vert="horz" wrap="none" lIns="80963"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defRPr/>
            </a:pPr>
            <a:r>
              <a:rPr lang="en-US" sz="1600" dirty="0"/>
              <a:t>Annual Performance Plan (APP)</a:t>
            </a:r>
          </a:p>
        </p:txBody>
      </p:sp>
      <p:sp>
        <p:nvSpPr>
          <p:cNvPr id="22" name="Text Placeholder 2">
            <a:hlinkClick r:id="" action="ppaction://noaction"/>
            <a:extLst>
              <a:ext uri="{FF2B5EF4-FFF2-40B4-BE49-F238E27FC236}">
                <a16:creationId xmlns:a16="http://schemas.microsoft.com/office/drawing/2014/main" id="{08C84845-E69C-4C8B-BA00-EB16D24495DE}"/>
              </a:ext>
            </a:extLst>
          </p:cNvPr>
          <p:cNvSpPr>
            <a:spLocks noGrp="1"/>
          </p:cNvSpPr>
          <p:nvPr>
            <p:custDataLst>
              <p:tags r:id="rId9"/>
            </p:custDataLst>
          </p:nvPr>
        </p:nvSpPr>
        <p:spPr bwMode="gray">
          <a:xfrm>
            <a:off x="452438" y="5533031"/>
            <a:ext cx="7185025" cy="468000"/>
          </a:xfrm>
          <a:prstGeom prst="rect">
            <a:avLst/>
          </a:prstGeom>
          <a:solidFill>
            <a:schemeClr val="bg2"/>
          </a:solidFill>
          <a:ln w="38100" algn="ctr">
            <a:solidFill>
              <a:schemeClr val="bg1"/>
            </a:solidFill>
          </a:ln>
        </p:spPr>
        <p:txBody>
          <a:bodyPr vert="horz" wrap="none" lIns="80963" tIns="0" rIns="0" bIns="0" numCol="1" spcCol="0" rtlCol="0" anchor="ctr" anchorCtr="0">
            <a:noAutofit/>
          </a:bodyPr>
          <a:lstStyle/>
          <a:p>
            <a:pPr marL="228600" indent="-228600">
              <a:lnSpc>
                <a:spcPct val="90000"/>
              </a:lnSpc>
              <a:spcBef>
                <a:spcPct val="0"/>
              </a:spcBef>
              <a:spcAft>
                <a:spcPct val="0"/>
              </a:spcAft>
              <a:buFont typeface="Arial" panose="020B0604020202020204" pitchFamily="34" charset="0"/>
              <a:buChar char="•"/>
            </a:pPr>
            <a:r>
              <a:rPr lang="en-US" sz="1600" dirty="0"/>
              <a:t>NHFC’s </a:t>
            </a:r>
            <a:r>
              <a:rPr lang="en-GB" sz="1600" dirty="0"/>
              <a:t>key risks and mitigations</a:t>
            </a:r>
            <a:endParaRPr lang="en-ZA" sz="1600" dirty="0"/>
          </a:p>
        </p:txBody>
      </p:sp>
      <p:sp>
        <p:nvSpPr>
          <p:cNvPr id="23" name="Text Placeholder 2">
            <a:hlinkClick r:id="" action="ppaction://noaction"/>
            <a:extLst>
              <a:ext uri="{FF2B5EF4-FFF2-40B4-BE49-F238E27FC236}">
                <a16:creationId xmlns:a16="http://schemas.microsoft.com/office/drawing/2014/main" id="{08C84845-E69C-4C8B-BA00-EB16D24495DE}"/>
              </a:ext>
            </a:extLst>
          </p:cNvPr>
          <p:cNvSpPr>
            <a:spLocks noGrp="1"/>
          </p:cNvSpPr>
          <p:nvPr>
            <p:custDataLst>
              <p:tags r:id="rId10"/>
            </p:custDataLst>
          </p:nvPr>
        </p:nvSpPr>
        <p:spPr bwMode="gray">
          <a:xfrm>
            <a:off x="452438" y="6001031"/>
            <a:ext cx="7185025" cy="468000"/>
          </a:xfrm>
          <a:prstGeom prst="rect">
            <a:avLst/>
          </a:prstGeom>
          <a:solidFill>
            <a:srgbClr val="DFE5EF"/>
          </a:solidFill>
          <a:ln w="38100" algn="ctr">
            <a:solidFill>
              <a:schemeClr val="bg1"/>
            </a:solidFill>
          </a:ln>
        </p:spPr>
        <p:txBody>
          <a:bodyPr vert="horz" wrap="none" lIns="80963"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US" sz="1600" dirty="0"/>
              <a:t>NHFC’s </a:t>
            </a:r>
            <a:r>
              <a:rPr lang="en-ZA" sz="1600" dirty="0"/>
              <a:t>priority initiatives to achieve its aspirations</a:t>
            </a:r>
            <a:endParaRPr lang="en-GB" sz="1600" dirty="0"/>
          </a:p>
        </p:txBody>
      </p:sp>
    </p:spTree>
    <p:extLst>
      <p:ext uri="{BB962C8B-B14F-4D97-AF65-F5344CB8AC3E}">
        <p14:creationId xmlns:p14="http://schemas.microsoft.com/office/powerpoint/2010/main" val="331890617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732322" y="1103730"/>
            <a:ext cx="10515600" cy="4351338"/>
          </a:xfrm>
        </p:spPr>
        <p:txBody>
          <a:bodyPr/>
          <a:lstStyle/>
          <a:p>
            <a:pPr algn="ctr"/>
            <a:endParaRPr lang="en-ZA" dirty="0"/>
          </a:p>
          <a:p>
            <a:pPr marL="0" indent="0" algn="ctr">
              <a:buNone/>
            </a:pPr>
            <a:endParaRPr lang="en-ZA" dirty="0"/>
          </a:p>
          <a:p>
            <a:pPr algn="ctr"/>
            <a:endParaRPr lang="en-ZA" dirty="0">
              <a:solidFill>
                <a:schemeClr val="accent5">
                  <a:lumMod val="50000"/>
                </a:schemeClr>
              </a:solidFill>
            </a:endParaRPr>
          </a:p>
        </p:txBody>
      </p:sp>
      <p:sp>
        <p:nvSpPr>
          <p:cNvPr id="4" name="Slide Number Placeholder 4"/>
          <p:cNvSpPr>
            <a:spLocks noGrp="1"/>
          </p:cNvSpPr>
          <p:nvPr>
            <p:ph type="sldNum" sz="quarter" idx="4294967295"/>
          </p:nvPr>
        </p:nvSpPr>
        <p:spPr bwMode="auto">
          <a:xfrm>
            <a:off x="11529484" y="6408743"/>
            <a:ext cx="488949" cy="365125"/>
          </a:xfrm>
          <a:prstGeom prst="rect">
            <a:avLst/>
          </a:prstGeom>
          <a:ln>
            <a:miter lim="800000"/>
            <a:headEnd/>
            <a:tailEnd/>
          </a:ln>
        </p:spPr>
        <p:txBody>
          <a:bodyPr wrap="square" lIns="91440" tIns="45720" rIns="91440" bIns="45720" numCol="1" anchorCtr="0" compatLnSpc="1">
            <a:prstTxWarp prst="textNoShape">
              <a:avLst/>
            </a:prstTxWarp>
          </a:bodyPr>
          <a:lstStyle/>
          <a:p>
            <a:pPr fontAlgn="base">
              <a:spcBef>
                <a:spcPct val="0"/>
              </a:spcBef>
              <a:spcAft>
                <a:spcPct val="0"/>
              </a:spcAft>
              <a:defRPr/>
            </a:pPr>
            <a:fld id="{A01941B2-763E-4064-84D5-2DE2E82E566C}" type="slidenum">
              <a:rPr lang="en-US">
                <a:solidFill>
                  <a:prstClr val="black"/>
                </a:solidFill>
              </a:rPr>
              <a:pPr fontAlgn="base">
                <a:spcBef>
                  <a:spcPct val="0"/>
                </a:spcBef>
                <a:spcAft>
                  <a:spcPct val="0"/>
                </a:spcAft>
                <a:defRPr/>
              </a:pPr>
              <a:t>30</a:t>
            </a:fld>
            <a:endParaRPr lang="en-US" dirty="0">
              <a:solidFill>
                <a:prstClr val="black"/>
              </a:solidFill>
            </a:endParaRPr>
          </a:p>
        </p:txBody>
      </p:sp>
      <p:sp>
        <p:nvSpPr>
          <p:cNvPr id="5" name="Parallelogram 7"/>
          <p:cNvSpPr/>
          <p:nvPr/>
        </p:nvSpPr>
        <p:spPr>
          <a:xfrm>
            <a:off x="-2" y="6519067"/>
            <a:ext cx="9871077" cy="335757"/>
          </a:xfrm>
          <a:custGeom>
            <a:avLst/>
            <a:gdLst>
              <a:gd name="connsiteX0" fmla="*/ 0 w 10188575"/>
              <a:gd name="connsiteY0" fmla="*/ 166915 h 166915"/>
              <a:gd name="connsiteX1" fmla="*/ 41729 w 10188575"/>
              <a:gd name="connsiteY1" fmla="*/ 0 h 166915"/>
              <a:gd name="connsiteX2" fmla="*/ 10188575 w 10188575"/>
              <a:gd name="connsiteY2" fmla="*/ 0 h 166915"/>
              <a:gd name="connsiteX3" fmla="*/ 10146846 w 10188575"/>
              <a:gd name="connsiteY3" fmla="*/ 166915 h 166915"/>
              <a:gd name="connsiteX4" fmla="*/ 0 w 10188575"/>
              <a:gd name="connsiteY4" fmla="*/ 166915 h 166915"/>
              <a:gd name="connsiteX0" fmla="*/ 17802 w 10146846"/>
              <a:gd name="connsiteY0" fmla="*/ 166915 h 166915"/>
              <a:gd name="connsiteX1" fmla="*/ 0 w 10146846"/>
              <a:gd name="connsiteY1" fmla="*/ 0 h 166915"/>
              <a:gd name="connsiteX2" fmla="*/ 10146846 w 10146846"/>
              <a:gd name="connsiteY2" fmla="*/ 0 h 166915"/>
              <a:gd name="connsiteX3" fmla="*/ 10105117 w 10146846"/>
              <a:gd name="connsiteY3" fmla="*/ 166915 h 166915"/>
              <a:gd name="connsiteX4" fmla="*/ 17802 w 10146846"/>
              <a:gd name="connsiteY4" fmla="*/ 166915 h 166915"/>
              <a:gd name="connsiteX0" fmla="*/ 3514 w 10132558"/>
              <a:gd name="connsiteY0" fmla="*/ 166915 h 166915"/>
              <a:gd name="connsiteX1" fmla="*/ 0 w 10132558"/>
              <a:gd name="connsiteY1" fmla="*/ 2381 h 166915"/>
              <a:gd name="connsiteX2" fmla="*/ 10132558 w 10132558"/>
              <a:gd name="connsiteY2" fmla="*/ 0 h 166915"/>
              <a:gd name="connsiteX3" fmla="*/ 10090829 w 10132558"/>
              <a:gd name="connsiteY3" fmla="*/ 166915 h 166915"/>
              <a:gd name="connsiteX4" fmla="*/ 3514 w 10132558"/>
              <a:gd name="connsiteY4" fmla="*/ 166915 h 166915"/>
              <a:gd name="connsiteX0" fmla="*/ 154 w 10129198"/>
              <a:gd name="connsiteY0" fmla="*/ 166915 h 166915"/>
              <a:gd name="connsiteX1" fmla="*/ 3784 w 10129198"/>
              <a:gd name="connsiteY1" fmla="*/ 0 h 166915"/>
              <a:gd name="connsiteX2" fmla="*/ 10129198 w 10129198"/>
              <a:gd name="connsiteY2" fmla="*/ 0 h 166915"/>
              <a:gd name="connsiteX3" fmla="*/ 10087469 w 10129198"/>
              <a:gd name="connsiteY3" fmla="*/ 166915 h 166915"/>
              <a:gd name="connsiteX4" fmla="*/ 154 w 10129198"/>
              <a:gd name="connsiteY4" fmla="*/ 166915 h 166915"/>
              <a:gd name="connsiteX0" fmla="*/ 239 w 10126902"/>
              <a:gd name="connsiteY0" fmla="*/ 169296 h 169296"/>
              <a:gd name="connsiteX1" fmla="*/ 1488 w 10126902"/>
              <a:gd name="connsiteY1" fmla="*/ 0 h 169296"/>
              <a:gd name="connsiteX2" fmla="*/ 10126902 w 10126902"/>
              <a:gd name="connsiteY2" fmla="*/ 0 h 169296"/>
              <a:gd name="connsiteX3" fmla="*/ 10085173 w 10126902"/>
              <a:gd name="connsiteY3" fmla="*/ 166915 h 169296"/>
              <a:gd name="connsiteX4" fmla="*/ 239 w 10126902"/>
              <a:gd name="connsiteY4" fmla="*/ 169296 h 169296"/>
              <a:gd name="connsiteX0" fmla="*/ 239 w 10425352"/>
              <a:gd name="connsiteY0" fmla="*/ 175887 h 175887"/>
              <a:gd name="connsiteX1" fmla="*/ 1488 w 10425352"/>
              <a:gd name="connsiteY1" fmla="*/ 6591 h 175887"/>
              <a:gd name="connsiteX2" fmla="*/ 10425352 w 10425352"/>
              <a:gd name="connsiteY2" fmla="*/ 0 h 175887"/>
              <a:gd name="connsiteX3" fmla="*/ 10085173 w 10425352"/>
              <a:gd name="connsiteY3" fmla="*/ 173506 h 175887"/>
              <a:gd name="connsiteX4" fmla="*/ 239 w 10425352"/>
              <a:gd name="connsiteY4" fmla="*/ 175887 h 175887"/>
              <a:gd name="connsiteX0" fmla="*/ 239 w 10635515"/>
              <a:gd name="connsiteY0" fmla="*/ 179182 h 179182"/>
              <a:gd name="connsiteX1" fmla="*/ 1488 w 10635515"/>
              <a:gd name="connsiteY1" fmla="*/ 9886 h 179182"/>
              <a:gd name="connsiteX2" fmla="*/ 10635515 w 10635515"/>
              <a:gd name="connsiteY2" fmla="*/ 0 h 179182"/>
              <a:gd name="connsiteX3" fmla="*/ 10085173 w 10635515"/>
              <a:gd name="connsiteY3" fmla="*/ 176801 h 179182"/>
              <a:gd name="connsiteX4" fmla="*/ 239 w 10635515"/>
              <a:gd name="connsiteY4" fmla="*/ 179182 h 179182"/>
              <a:gd name="connsiteX0" fmla="*/ 239 w 10635515"/>
              <a:gd name="connsiteY0" fmla="*/ 179182 h 179182"/>
              <a:gd name="connsiteX1" fmla="*/ 1488 w 10635515"/>
              <a:gd name="connsiteY1" fmla="*/ 9886 h 179182"/>
              <a:gd name="connsiteX2" fmla="*/ 10635515 w 10635515"/>
              <a:gd name="connsiteY2" fmla="*/ 0 h 179182"/>
              <a:gd name="connsiteX3" fmla="*/ 10224620 w 10635515"/>
              <a:gd name="connsiteY3" fmla="*/ 178449 h 179182"/>
              <a:gd name="connsiteX4" fmla="*/ 239 w 10635515"/>
              <a:gd name="connsiteY4" fmla="*/ 179182 h 179182"/>
              <a:gd name="connsiteX0" fmla="*/ 239 w 10635515"/>
              <a:gd name="connsiteY0" fmla="*/ 174239 h 174239"/>
              <a:gd name="connsiteX1" fmla="*/ 1488 w 10635515"/>
              <a:gd name="connsiteY1" fmla="*/ 4943 h 174239"/>
              <a:gd name="connsiteX2" fmla="*/ 10635515 w 10635515"/>
              <a:gd name="connsiteY2" fmla="*/ 0 h 174239"/>
              <a:gd name="connsiteX3" fmla="*/ 10224620 w 10635515"/>
              <a:gd name="connsiteY3" fmla="*/ 173506 h 174239"/>
              <a:gd name="connsiteX4" fmla="*/ 239 w 10635515"/>
              <a:gd name="connsiteY4" fmla="*/ 174239 h 174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35515" h="174239">
                <a:moveTo>
                  <a:pt x="239" y="174239"/>
                </a:moveTo>
                <a:cubicBezTo>
                  <a:pt x="-932" y="119394"/>
                  <a:pt x="2659" y="59788"/>
                  <a:pt x="1488" y="4943"/>
                </a:cubicBezTo>
                <a:lnTo>
                  <a:pt x="10635515" y="0"/>
                </a:lnTo>
                <a:lnTo>
                  <a:pt x="10224620" y="173506"/>
                </a:lnTo>
                <a:lnTo>
                  <a:pt x="239" y="174239"/>
                </a:lnTo>
                <a:close/>
              </a:path>
            </a:pathLst>
          </a:custGeom>
          <a:pattFill prst="pct70">
            <a:fgClr>
              <a:schemeClr val="bg1">
                <a:lumMod val="75000"/>
              </a:schemeClr>
            </a:fgClr>
            <a:bgClr>
              <a:schemeClr val="bg1"/>
            </a:bgClr>
          </a:patt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dirty="0"/>
          </a:p>
        </p:txBody>
      </p:sp>
      <p:sp>
        <p:nvSpPr>
          <p:cNvPr id="6" name="Parallelogram 10"/>
          <p:cNvSpPr/>
          <p:nvPr/>
        </p:nvSpPr>
        <p:spPr>
          <a:xfrm>
            <a:off x="10360480" y="6519067"/>
            <a:ext cx="1831520" cy="330199"/>
          </a:xfrm>
          <a:custGeom>
            <a:avLst/>
            <a:gdLst>
              <a:gd name="connsiteX0" fmla="*/ 0 w 1983938"/>
              <a:gd name="connsiteY0" fmla="*/ 166914 h 166914"/>
              <a:gd name="connsiteX1" fmla="*/ 41729 w 1983938"/>
              <a:gd name="connsiteY1" fmla="*/ 0 h 166914"/>
              <a:gd name="connsiteX2" fmla="*/ 1983938 w 1983938"/>
              <a:gd name="connsiteY2" fmla="*/ 0 h 166914"/>
              <a:gd name="connsiteX3" fmla="*/ 1942210 w 1983938"/>
              <a:gd name="connsiteY3" fmla="*/ 166914 h 166914"/>
              <a:gd name="connsiteX4" fmla="*/ 0 w 1983938"/>
              <a:gd name="connsiteY4" fmla="*/ 166914 h 166914"/>
              <a:gd name="connsiteX0" fmla="*/ 0 w 1942210"/>
              <a:gd name="connsiteY0" fmla="*/ 166914 h 166914"/>
              <a:gd name="connsiteX1" fmla="*/ 41729 w 1942210"/>
              <a:gd name="connsiteY1" fmla="*/ 0 h 166914"/>
              <a:gd name="connsiteX2" fmla="*/ 1910120 w 1942210"/>
              <a:gd name="connsiteY2" fmla="*/ 0 h 166914"/>
              <a:gd name="connsiteX3" fmla="*/ 1942210 w 1942210"/>
              <a:gd name="connsiteY3" fmla="*/ 166914 h 166914"/>
              <a:gd name="connsiteX4" fmla="*/ 0 w 1942210"/>
              <a:gd name="connsiteY4" fmla="*/ 166914 h 166914"/>
              <a:gd name="connsiteX0" fmla="*/ 0 w 1913635"/>
              <a:gd name="connsiteY0" fmla="*/ 166914 h 166914"/>
              <a:gd name="connsiteX1" fmla="*/ 41729 w 1913635"/>
              <a:gd name="connsiteY1" fmla="*/ 0 h 166914"/>
              <a:gd name="connsiteX2" fmla="*/ 1910120 w 1913635"/>
              <a:gd name="connsiteY2" fmla="*/ 0 h 166914"/>
              <a:gd name="connsiteX3" fmla="*/ 1913635 w 1913635"/>
              <a:gd name="connsiteY3" fmla="*/ 166914 h 166914"/>
              <a:gd name="connsiteX4" fmla="*/ 0 w 1913635"/>
              <a:gd name="connsiteY4" fmla="*/ 166914 h 166914"/>
              <a:gd name="connsiteX0" fmla="*/ 0 w 1913635"/>
              <a:gd name="connsiteY0" fmla="*/ 170187 h 170187"/>
              <a:gd name="connsiteX1" fmla="*/ 352879 w 1913635"/>
              <a:gd name="connsiteY1" fmla="*/ 0 h 170187"/>
              <a:gd name="connsiteX2" fmla="*/ 1910120 w 1913635"/>
              <a:gd name="connsiteY2" fmla="*/ 3273 h 170187"/>
              <a:gd name="connsiteX3" fmla="*/ 1913635 w 1913635"/>
              <a:gd name="connsiteY3" fmla="*/ 170187 h 170187"/>
              <a:gd name="connsiteX4" fmla="*/ 0 w 1913635"/>
              <a:gd name="connsiteY4" fmla="*/ 170187 h 1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635" h="170187">
                <a:moveTo>
                  <a:pt x="0" y="170187"/>
                </a:moveTo>
                <a:lnTo>
                  <a:pt x="352879" y="0"/>
                </a:lnTo>
                <a:lnTo>
                  <a:pt x="1910120" y="3273"/>
                </a:lnTo>
                <a:cubicBezTo>
                  <a:pt x="1911292" y="58911"/>
                  <a:pt x="1912463" y="114549"/>
                  <a:pt x="1913635" y="170187"/>
                </a:cubicBezTo>
                <a:lnTo>
                  <a:pt x="0" y="170187"/>
                </a:lnTo>
                <a:close/>
              </a:path>
            </a:pathLst>
          </a:custGeom>
          <a:pattFill prst="pct70">
            <a:fgClr>
              <a:schemeClr val="accent4"/>
            </a:fgClr>
            <a:bgClr>
              <a:schemeClr val="bg1"/>
            </a:bgClr>
          </a:patt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sp>
        <p:nvSpPr>
          <p:cNvPr id="7" name="Parallelogram 12"/>
          <p:cNvSpPr/>
          <p:nvPr/>
        </p:nvSpPr>
        <p:spPr>
          <a:xfrm>
            <a:off x="9680574" y="6524623"/>
            <a:ext cx="841376" cy="330201"/>
          </a:xfrm>
          <a:custGeom>
            <a:avLst/>
            <a:gdLst>
              <a:gd name="connsiteX0" fmla="*/ 0 w 812801"/>
              <a:gd name="connsiteY0" fmla="*/ 333376 h 333376"/>
              <a:gd name="connsiteX1" fmla="*/ 83344 w 812801"/>
              <a:gd name="connsiteY1" fmla="*/ 0 h 333376"/>
              <a:gd name="connsiteX2" fmla="*/ 812801 w 812801"/>
              <a:gd name="connsiteY2" fmla="*/ 0 h 333376"/>
              <a:gd name="connsiteX3" fmla="*/ 729457 w 812801"/>
              <a:gd name="connsiteY3" fmla="*/ 333376 h 333376"/>
              <a:gd name="connsiteX4" fmla="*/ 0 w 812801"/>
              <a:gd name="connsiteY4" fmla="*/ 333376 h 333376"/>
              <a:gd name="connsiteX0" fmla="*/ 0 w 1111251"/>
              <a:gd name="connsiteY0" fmla="*/ 330201 h 333376"/>
              <a:gd name="connsiteX1" fmla="*/ 381794 w 1111251"/>
              <a:gd name="connsiteY1" fmla="*/ 0 h 333376"/>
              <a:gd name="connsiteX2" fmla="*/ 1111251 w 1111251"/>
              <a:gd name="connsiteY2" fmla="*/ 0 h 333376"/>
              <a:gd name="connsiteX3" fmla="*/ 1027907 w 1111251"/>
              <a:gd name="connsiteY3" fmla="*/ 333376 h 333376"/>
              <a:gd name="connsiteX4" fmla="*/ 0 w 1111251"/>
              <a:gd name="connsiteY4" fmla="*/ 330201 h 333376"/>
              <a:gd name="connsiteX0" fmla="*/ 0 w 1111251"/>
              <a:gd name="connsiteY0" fmla="*/ 330201 h 330201"/>
              <a:gd name="connsiteX1" fmla="*/ 381794 w 1111251"/>
              <a:gd name="connsiteY1" fmla="*/ 0 h 330201"/>
              <a:gd name="connsiteX2" fmla="*/ 1111251 w 1111251"/>
              <a:gd name="connsiteY2" fmla="*/ 0 h 330201"/>
              <a:gd name="connsiteX3" fmla="*/ 805657 w 1111251"/>
              <a:gd name="connsiteY3" fmla="*/ 320676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815976"/>
              <a:gd name="connsiteY0" fmla="*/ 330201 h 330201"/>
              <a:gd name="connsiteX1" fmla="*/ 381794 w 815976"/>
              <a:gd name="connsiteY1" fmla="*/ 0 h 330201"/>
              <a:gd name="connsiteX2" fmla="*/ 815976 w 815976"/>
              <a:gd name="connsiteY2" fmla="*/ 0 h 330201"/>
              <a:gd name="connsiteX3" fmla="*/ 450057 w 815976"/>
              <a:gd name="connsiteY3" fmla="*/ 330201 h 330201"/>
              <a:gd name="connsiteX4" fmla="*/ 0 w 815976"/>
              <a:gd name="connsiteY4" fmla="*/ 330201 h 330201"/>
              <a:gd name="connsiteX0" fmla="*/ 0 w 841376"/>
              <a:gd name="connsiteY0" fmla="*/ 330201 h 330201"/>
              <a:gd name="connsiteX1" fmla="*/ 381794 w 841376"/>
              <a:gd name="connsiteY1" fmla="*/ 0 h 330201"/>
              <a:gd name="connsiteX2" fmla="*/ 841376 w 841376"/>
              <a:gd name="connsiteY2" fmla="*/ 0 h 330201"/>
              <a:gd name="connsiteX3" fmla="*/ 450057 w 841376"/>
              <a:gd name="connsiteY3" fmla="*/ 330201 h 330201"/>
              <a:gd name="connsiteX4" fmla="*/ 0 w 841376"/>
              <a:gd name="connsiteY4" fmla="*/ 330201 h 33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376" h="330201">
                <a:moveTo>
                  <a:pt x="0" y="330201"/>
                </a:moveTo>
                <a:lnTo>
                  <a:pt x="381794" y="0"/>
                </a:lnTo>
                <a:lnTo>
                  <a:pt x="841376" y="0"/>
                </a:lnTo>
                <a:lnTo>
                  <a:pt x="450057" y="330201"/>
                </a:lnTo>
                <a:lnTo>
                  <a:pt x="0" y="330201"/>
                </a:lnTo>
                <a:close/>
              </a:path>
            </a:pathLst>
          </a:custGeom>
          <a:pattFill prst="pct70">
            <a:fgClr>
              <a:schemeClr val="accent5">
                <a:lumMod val="50000"/>
              </a:schemeClr>
            </a:fgClr>
            <a:bgClr>
              <a:schemeClr val="bg1"/>
            </a:bgClr>
          </a:patt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p>
        </p:txBody>
      </p: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21950" y="5589881"/>
            <a:ext cx="1355270" cy="773503"/>
          </a:xfrm>
          <a:prstGeom prst="rect">
            <a:avLst/>
          </a:prstGeom>
        </p:spPr>
      </p:pic>
      <p:sp>
        <p:nvSpPr>
          <p:cNvPr id="8" name="Title 2"/>
          <p:cNvSpPr txBox="1">
            <a:spLocks/>
          </p:cNvSpPr>
          <p:nvPr/>
        </p:nvSpPr>
        <p:spPr>
          <a:xfrm>
            <a:off x="-1" y="5646"/>
            <a:ext cx="12192001" cy="805723"/>
          </a:xfrm>
          <a:prstGeom prst="rect">
            <a:avLst/>
          </a:prstGeom>
          <a:solidFill>
            <a:srgbClr val="00266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rtlCol="0" anchor="ctr">
            <a:noAutofit/>
            <a:scene3d>
              <a:camera prst="orthographicFront"/>
              <a:lightRig rig="soft" dir="t"/>
            </a:scene3d>
            <a:sp3d prstMaterial="softEdge">
              <a:bevelT w="25400" h="25400"/>
            </a:sp3d>
          </a:bodyPr>
          <a:lstStyle>
            <a:lvl1pPr algn="r" rtl="0" eaLnBrk="1" latinLnBrk="0" hangingPunct="1">
              <a:spcBef>
                <a:spcPct val="0"/>
              </a:spcBef>
              <a:buNone/>
              <a:defRPr kumimoji="0" sz="3200" b="1" kern="1200">
                <a:solidFill>
                  <a:srgbClr val="9A9B9C"/>
                </a:solidFill>
                <a:effectLst>
                  <a:outerShdw blurRad="31750" dist="25400" dir="5400000" algn="tl" rotWithShape="0">
                    <a:srgbClr val="000000">
                      <a:alpha val="25000"/>
                    </a:srgbClr>
                  </a:outerShdw>
                </a:effectLst>
                <a:latin typeface="+mn-lt"/>
                <a:ea typeface="+mj-ea"/>
                <a:cs typeface="+mj-cs"/>
              </a:defRPr>
            </a:lvl1pPr>
            <a:lvl2pPr>
              <a:defRPr/>
            </a:lvl2pPr>
            <a:lvl3pPr>
              <a:defRPr/>
            </a:lvl3pPr>
            <a:lvl4pPr>
              <a:defRPr/>
            </a:lvl4pPr>
            <a:lvl5pPr>
              <a:defRPr/>
            </a:lvl5pPr>
            <a:lvl6pPr>
              <a:defRPr/>
            </a:lvl6pPr>
            <a:lvl7pPr>
              <a:defRPr/>
            </a:lvl7pPr>
            <a:lvl8pPr>
              <a:defRPr/>
            </a:lvl8pPr>
            <a:lvl9pPr>
              <a:defRPr/>
            </a:lvl9pPr>
            <a:extLst/>
          </a:lstStyle>
          <a:p>
            <a:pPr marL="354013" lvl="0" indent="7938" algn="l">
              <a:defRPr/>
            </a:pPr>
            <a:r>
              <a:rPr lang="en-US" sz="2800" kern="0" dirty="0">
                <a:solidFill>
                  <a:prstClr val="white"/>
                </a:solidFill>
              </a:rPr>
              <a:t>RECOMMENDATION</a:t>
            </a:r>
            <a:endParaRPr lang="en-GB" sz="2800" kern="0" dirty="0">
              <a:solidFill>
                <a:prstClr val="white"/>
              </a:solidFill>
            </a:endParaRPr>
          </a:p>
        </p:txBody>
      </p:sp>
      <p:sp>
        <p:nvSpPr>
          <p:cNvPr id="2" name="Rectangle 1"/>
          <p:cNvSpPr/>
          <p:nvPr/>
        </p:nvSpPr>
        <p:spPr>
          <a:xfrm>
            <a:off x="1194837" y="1589473"/>
            <a:ext cx="8676238" cy="4524315"/>
          </a:xfrm>
          <a:prstGeom prst="rect">
            <a:avLst/>
          </a:prstGeom>
        </p:spPr>
        <p:txBody>
          <a:bodyPr wrap="square">
            <a:spAutoFit/>
          </a:bodyPr>
          <a:lstStyle/>
          <a:p>
            <a:pPr algn="ctr"/>
            <a:r>
              <a:rPr lang="en-US" sz="3200" i="1" dirty="0">
                <a:solidFill>
                  <a:schemeClr val="accent5">
                    <a:lumMod val="50000"/>
                  </a:schemeClr>
                </a:solidFill>
              </a:rPr>
              <a:t>The Portfolio Committee on Human Settlements, Water and Sanitation is requested to note the briefing by the NHFC on the: </a:t>
            </a:r>
          </a:p>
          <a:p>
            <a:pPr algn="ctr"/>
            <a:endParaRPr lang="en-US" sz="3200" i="1" dirty="0">
              <a:solidFill>
                <a:schemeClr val="accent5">
                  <a:lumMod val="50000"/>
                </a:schemeClr>
              </a:solidFill>
            </a:endParaRPr>
          </a:p>
          <a:p>
            <a:pPr marL="514350" indent="-514350">
              <a:buAutoNum type="arabicPeriod"/>
            </a:pPr>
            <a:r>
              <a:rPr lang="en-US" sz="3200" i="1" dirty="0">
                <a:solidFill>
                  <a:schemeClr val="accent5">
                    <a:lumMod val="50000"/>
                  </a:schemeClr>
                </a:solidFill>
              </a:rPr>
              <a:t>2020/25 Strategic Plan </a:t>
            </a:r>
            <a:r>
              <a:rPr lang="en-ZA" sz="3200" dirty="0">
                <a:solidFill>
                  <a:schemeClr val="accent5">
                    <a:lumMod val="50000"/>
                  </a:schemeClr>
                </a:solidFill>
              </a:rPr>
              <a:t>for the </a:t>
            </a:r>
            <a:r>
              <a:rPr lang="en-ZA" sz="3200" i="1" dirty="0">
                <a:solidFill>
                  <a:schemeClr val="accent5">
                    <a:lumMod val="50000"/>
                  </a:schemeClr>
                </a:solidFill>
              </a:rPr>
              <a:t>period 2020/21 to 2024/25, </a:t>
            </a:r>
            <a:r>
              <a:rPr lang="en-US" sz="3200" i="1" dirty="0">
                <a:solidFill>
                  <a:schemeClr val="accent5">
                    <a:lumMod val="50000"/>
                  </a:schemeClr>
                </a:solidFill>
              </a:rPr>
              <a:t>and</a:t>
            </a:r>
          </a:p>
          <a:p>
            <a:r>
              <a:rPr lang="en-US" sz="3200" i="1" dirty="0">
                <a:solidFill>
                  <a:schemeClr val="accent5">
                    <a:lumMod val="50000"/>
                  </a:schemeClr>
                </a:solidFill>
              </a:rPr>
              <a:t>2. Annual Performance Plan for the 2021/22   </a:t>
            </a:r>
          </a:p>
          <a:p>
            <a:r>
              <a:rPr lang="en-US" sz="3200" i="1" dirty="0">
                <a:solidFill>
                  <a:schemeClr val="accent5">
                    <a:lumMod val="50000"/>
                  </a:schemeClr>
                </a:solidFill>
              </a:rPr>
              <a:t>    financial year and budget.</a:t>
            </a:r>
            <a:endParaRPr lang="en-ZA" sz="3200" i="1" dirty="0">
              <a:solidFill>
                <a:schemeClr val="accent5">
                  <a:lumMod val="50000"/>
                </a:schemeClr>
              </a:solidFill>
            </a:endParaRPr>
          </a:p>
          <a:p>
            <a:pPr algn="ctr"/>
            <a:r>
              <a:rPr lang="en-US" sz="3200" b="1" i="1" dirty="0">
                <a:solidFill>
                  <a:schemeClr val="accent5">
                    <a:lumMod val="50000"/>
                  </a:schemeClr>
                </a:solidFill>
              </a:rPr>
              <a:t> </a:t>
            </a:r>
            <a:endParaRPr lang="en-ZA" sz="3200" b="1" i="1" dirty="0">
              <a:solidFill>
                <a:schemeClr val="accent5">
                  <a:lumMod val="50000"/>
                </a:schemeClr>
              </a:solidFill>
            </a:endParaRPr>
          </a:p>
        </p:txBody>
      </p:sp>
    </p:spTree>
    <p:extLst>
      <p:ext uri="{BB962C8B-B14F-4D97-AF65-F5344CB8AC3E}">
        <p14:creationId xmlns:p14="http://schemas.microsoft.com/office/powerpoint/2010/main" val="102862923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732322" y="1103730"/>
            <a:ext cx="10515600" cy="4351338"/>
          </a:xfrm>
        </p:spPr>
        <p:txBody>
          <a:bodyPr/>
          <a:lstStyle/>
          <a:p>
            <a:pPr algn="ctr"/>
            <a:endParaRPr lang="en-ZA" dirty="0"/>
          </a:p>
          <a:p>
            <a:pPr marL="0" indent="0" algn="ctr">
              <a:buNone/>
            </a:pPr>
            <a:endParaRPr lang="en-ZA" dirty="0"/>
          </a:p>
          <a:p>
            <a:pPr algn="ctr"/>
            <a:endParaRPr lang="en-ZA" dirty="0">
              <a:solidFill>
                <a:schemeClr val="accent5">
                  <a:lumMod val="50000"/>
                </a:schemeClr>
              </a:solidFill>
            </a:endParaRPr>
          </a:p>
          <a:p>
            <a:pPr marL="0" indent="0" algn="ctr">
              <a:buNone/>
            </a:pPr>
            <a:r>
              <a:rPr lang="en-ZA" sz="7800" b="1" dirty="0">
                <a:solidFill>
                  <a:schemeClr val="accent5">
                    <a:lumMod val="50000"/>
                  </a:schemeClr>
                </a:solidFill>
              </a:rPr>
              <a:t>THANK YOU</a:t>
            </a:r>
          </a:p>
        </p:txBody>
      </p:sp>
      <p:sp>
        <p:nvSpPr>
          <p:cNvPr id="4" name="Slide Number Placeholder 4"/>
          <p:cNvSpPr>
            <a:spLocks noGrp="1"/>
          </p:cNvSpPr>
          <p:nvPr>
            <p:ph type="sldNum" sz="quarter" idx="4294967295"/>
          </p:nvPr>
        </p:nvSpPr>
        <p:spPr bwMode="auto">
          <a:xfrm>
            <a:off x="11529484" y="6408743"/>
            <a:ext cx="488949" cy="365125"/>
          </a:xfrm>
          <a:prstGeom prst="rect">
            <a:avLst/>
          </a:prstGeom>
          <a:ln>
            <a:miter lim="800000"/>
            <a:headEnd/>
            <a:tailEnd/>
          </a:ln>
        </p:spPr>
        <p:txBody>
          <a:bodyPr wrap="square" lIns="91440" tIns="45720" rIns="91440" bIns="45720" numCol="1" anchorCtr="0" compatLnSpc="1">
            <a:prstTxWarp prst="textNoShape">
              <a:avLst/>
            </a:prstTxWarp>
          </a:bodyPr>
          <a:lstStyle/>
          <a:p>
            <a:pPr fontAlgn="base">
              <a:spcBef>
                <a:spcPct val="0"/>
              </a:spcBef>
              <a:spcAft>
                <a:spcPct val="0"/>
              </a:spcAft>
              <a:defRPr/>
            </a:pPr>
            <a:fld id="{A01941B2-763E-4064-84D5-2DE2E82E566C}" type="slidenum">
              <a:rPr lang="en-US">
                <a:solidFill>
                  <a:prstClr val="black"/>
                </a:solidFill>
              </a:rPr>
              <a:pPr fontAlgn="base">
                <a:spcBef>
                  <a:spcPct val="0"/>
                </a:spcBef>
                <a:spcAft>
                  <a:spcPct val="0"/>
                </a:spcAft>
                <a:defRPr/>
              </a:pPr>
              <a:t>31</a:t>
            </a:fld>
            <a:endParaRPr lang="en-US" dirty="0">
              <a:solidFill>
                <a:prstClr val="black"/>
              </a:solidFill>
            </a:endParaRPr>
          </a:p>
        </p:txBody>
      </p:sp>
      <p:sp>
        <p:nvSpPr>
          <p:cNvPr id="5" name="Parallelogram 7"/>
          <p:cNvSpPr/>
          <p:nvPr/>
        </p:nvSpPr>
        <p:spPr>
          <a:xfrm>
            <a:off x="-2" y="6519067"/>
            <a:ext cx="9871077" cy="335757"/>
          </a:xfrm>
          <a:custGeom>
            <a:avLst/>
            <a:gdLst>
              <a:gd name="connsiteX0" fmla="*/ 0 w 10188575"/>
              <a:gd name="connsiteY0" fmla="*/ 166915 h 166915"/>
              <a:gd name="connsiteX1" fmla="*/ 41729 w 10188575"/>
              <a:gd name="connsiteY1" fmla="*/ 0 h 166915"/>
              <a:gd name="connsiteX2" fmla="*/ 10188575 w 10188575"/>
              <a:gd name="connsiteY2" fmla="*/ 0 h 166915"/>
              <a:gd name="connsiteX3" fmla="*/ 10146846 w 10188575"/>
              <a:gd name="connsiteY3" fmla="*/ 166915 h 166915"/>
              <a:gd name="connsiteX4" fmla="*/ 0 w 10188575"/>
              <a:gd name="connsiteY4" fmla="*/ 166915 h 166915"/>
              <a:gd name="connsiteX0" fmla="*/ 17802 w 10146846"/>
              <a:gd name="connsiteY0" fmla="*/ 166915 h 166915"/>
              <a:gd name="connsiteX1" fmla="*/ 0 w 10146846"/>
              <a:gd name="connsiteY1" fmla="*/ 0 h 166915"/>
              <a:gd name="connsiteX2" fmla="*/ 10146846 w 10146846"/>
              <a:gd name="connsiteY2" fmla="*/ 0 h 166915"/>
              <a:gd name="connsiteX3" fmla="*/ 10105117 w 10146846"/>
              <a:gd name="connsiteY3" fmla="*/ 166915 h 166915"/>
              <a:gd name="connsiteX4" fmla="*/ 17802 w 10146846"/>
              <a:gd name="connsiteY4" fmla="*/ 166915 h 166915"/>
              <a:gd name="connsiteX0" fmla="*/ 3514 w 10132558"/>
              <a:gd name="connsiteY0" fmla="*/ 166915 h 166915"/>
              <a:gd name="connsiteX1" fmla="*/ 0 w 10132558"/>
              <a:gd name="connsiteY1" fmla="*/ 2381 h 166915"/>
              <a:gd name="connsiteX2" fmla="*/ 10132558 w 10132558"/>
              <a:gd name="connsiteY2" fmla="*/ 0 h 166915"/>
              <a:gd name="connsiteX3" fmla="*/ 10090829 w 10132558"/>
              <a:gd name="connsiteY3" fmla="*/ 166915 h 166915"/>
              <a:gd name="connsiteX4" fmla="*/ 3514 w 10132558"/>
              <a:gd name="connsiteY4" fmla="*/ 166915 h 166915"/>
              <a:gd name="connsiteX0" fmla="*/ 154 w 10129198"/>
              <a:gd name="connsiteY0" fmla="*/ 166915 h 166915"/>
              <a:gd name="connsiteX1" fmla="*/ 3784 w 10129198"/>
              <a:gd name="connsiteY1" fmla="*/ 0 h 166915"/>
              <a:gd name="connsiteX2" fmla="*/ 10129198 w 10129198"/>
              <a:gd name="connsiteY2" fmla="*/ 0 h 166915"/>
              <a:gd name="connsiteX3" fmla="*/ 10087469 w 10129198"/>
              <a:gd name="connsiteY3" fmla="*/ 166915 h 166915"/>
              <a:gd name="connsiteX4" fmla="*/ 154 w 10129198"/>
              <a:gd name="connsiteY4" fmla="*/ 166915 h 166915"/>
              <a:gd name="connsiteX0" fmla="*/ 239 w 10126902"/>
              <a:gd name="connsiteY0" fmla="*/ 169296 h 169296"/>
              <a:gd name="connsiteX1" fmla="*/ 1488 w 10126902"/>
              <a:gd name="connsiteY1" fmla="*/ 0 h 169296"/>
              <a:gd name="connsiteX2" fmla="*/ 10126902 w 10126902"/>
              <a:gd name="connsiteY2" fmla="*/ 0 h 169296"/>
              <a:gd name="connsiteX3" fmla="*/ 10085173 w 10126902"/>
              <a:gd name="connsiteY3" fmla="*/ 166915 h 169296"/>
              <a:gd name="connsiteX4" fmla="*/ 239 w 10126902"/>
              <a:gd name="connsiteY4" fmla="*/ 169296 h 169296"/>
              <a:gd name="connsiteX0" fmla="*/ 239 w 10425352"/>
              <a:gd name="connsiteY0" fmla="*/ 175887 h 175887"/>
              <a:gd name="connsiteX1" fmla="*/ 1488 w 10425352"/>
              <a:gd name="connsiteY1" fmla="*/ 6591 h 175887"/>
              <a:gd name="connsiteX2" fmla="*/ 10425352 w 10425352"/>
              <a:gd name="connsiteY2" fmla="*/ 0 h 175887"/>
              <a:gd name="connsiteX3" fmla="*/ 10085173 w 10425352"/>
              <a:gd name="connsiteY3" fmla="*/ 173506 h 175887"/>
              <a:gd name="connsiteX4" fmla="*/ 239 w 10425352"/>
              <a:gd name="connsiteY4" fmla="*/ 175887 h 175887"/>
              <a:gd name="connsiteX0" fmla="*/ 239 w 10635515"/>
              <a:gd name="connsiteY0" fmla="*/ 179182 h 179182"/>
              <a:gd name="connsiteX1" fmla="*/ 1488 w 10635515"/>
              <a:gd name="connsiteY1" fmla="*/ 9886 h 179182"/>
              <a:gd name="connsiteX2" fmla="*/ 10635515 w 10635515"/>
              <a:gd name="connsiteY2" fmla="*/ 0 h 179182"/>
              <a:gd name="connsiteX3" fmla="*/ 10085173 w 10635515"/>
              <a:gd name="connsiteY3" fmla="*/ 176801 h 179182"/>
              <a:gd name="connsiteX4" fmla="*/ 239 w 10635515"/>
              <a:gd name="connsiteY4" fmla="*/ 179182 h 179182"/>
              <a:gd name="connsiteX0" fmla="*/ 239 w 10635515"/>
              <a:gd name="connsiteY0" fmla="*/ 179182 h 179182"/>
              <a:gd name="connsiteX1" fmla="*/ 1488 w 10635515"/>
              <a:gd name="connsiteY1" fmla="*/ 9886 h 179182"/>
              <a:gd name="connsiteX2" fmla="*/ 10635515 w 10635515"/>
              <a:gd name="connsiteY2" fmla="*/ 0 h 179182"/>
              <a:gd name="connsiteX3" fmla="*/ 10224620 w 10635515"/>
              <a:gd name="connsiteY3" fmla="*/ 178449 h 179182"/>
              <a:gd name="connsiteX4" fmla="*/ 239 w 10635515"/>
              <a:gd name="connsiteY4" fmla="*/ 179182 h 179182"/>
              <a:gd name="connsiteX0" fmla="*/ 239 w 10635515"/>
              <a:gd name="connsiteY0" fmla="*/ 174239 h 174239"/>
              <a:gd name="connsiteX1" fmla="*/ 1488 w 10635515"/>
              <a:gd name="connsiteY1" fmla="*/ 4943 h 174239"/>
              <a:gd name="connsiteX2" fmla="*/ 10635515 w 10635515"/>
              <a:gd name="connsiteY2" fmla="*/ 0 h 174239"/>
              <a:gd name="connsiteX3" fmla="*/ 10224620 w 10635515"/>
              <a:gd name="connsiteY3" fmla="*/ 173506 h 174239"/>
              <a:gd name="connsiteX4" fmla="*/ 239 w 10635515"/>
              <a:gd name="connsiteY4" fmla="*/ 174239 h 174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35515" h="174239">
                <a:moveTo>
                  <a:pt x="239" y="174239"/>
                </a:moveTo>
                <a:cubicBezTo>
                  <a:pt x="-932" y="119394"/>
                  <a:pt x="2659" y="59788"/>
                  <a:pt x="1488" y="4943"/>
                </a:cubicBezTo>
                <a:lnTo>
                  <a:pt x="10635515" y="0"/>
                </a:lnTo>
                <a:lnTo>
                  <a:pt x="10224620" y="173506"/>
                </a:lnTo>
                <a:lnTo>
                  <a:pt x="239" y="174239"/>
                </a:lnTo>
                <a:close/>
              </a:path>
            </a:pathLst>
          </a:custGeom>
          <a:pattFill prst="pct70">
            <a:fgClr>
              <a:schemeClr val="bg1">
                <a:lumMod val="75000"/>
              </a:schemeClr>
            </a:fgClr>
            <a:bgClr>
              <a:schemeClr val="bg1"/>
            </a:bgClr>
          </a:patt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dirty="0"/>
          </a:p>
        </p:txBody>
      </p:sp>
      <p:sp>
        <p:nvSpPr>
          <p:cNvPr id="6" name="Parallelogram 10"/>
          <p:cNvSpPr/>
          <p:nvPr/>
        </p:nvSpPr>
        <p:spPr>
          <a:xfrm>
            <a:off x="10360480" y="6519067"/>
            <a:ext cx="1831520" cy="330199"/>
          </a:xfrm>
          <a:custGeom>
            <a:avLst/>
            <a:gdLst>
              <a:gd name="connsiteX0" fmla="*/ 0 w 1983938"/>
              <a:gd name="connsiteY0" fmla="*/ 166914 h 166914"/>
              <a:gd name="connsiteX1" fmla="*/ 41729 w 1983938"/>
              <a:gd name="connsiteY1" fmla="*/ 0 h 166914"/>
              <a:gd name="connsiteX2" fmla="*/ 1983938 w 1983938"/>
              <a:gd name="connsiteY2" fmla="*/ 0 h 166914"/>
              <a:gd name="connsiteX3" fmla="*/ 1942210 w 1983938"/>
              <a:gd name="connsiteY3" fmla="*/ 166914 h 166914"/>
              <a:gd name="connsiteX4" fmla="*/ 0 w 1983938"/>
              <a:gd name="connsiteY4" fmla="*/ 166914 h 166914"/>
              <a:gd name="connsiteX0" fmla="*/ 0 w 1942210"/>
              <a:gd name="connsiteY0" fmla="*/ 166914 h 166914"/>
              <a:gd name="connsiteX1" fmla="*/ 41729 w 1942210"/>
              <a:gd name="connsiteY1" fmla="*/ 0 h 166914"/>
              <a:gd name="connsiteX2" fmla="*/ 1910120 w 1942210"/>
              <a:gd name="connsiteY2" fmla="*/ 0 h 166914"/>
              <a:gd name="connsiteX3" fmla="*/ 1942210 w 1942210"/>
              <a:gd name="connsiteY3" fmla="*/ 166914 h 166914"/>
              <a:gd name="connsiteX4" fmla="*/ 0 w 1942210"/>
              <a:gd name="connsiteY4" fmla="*/ 166914 h 166914"/>
              <a:gd name="connsiteX0" fmla="*/ 0 w 1913635"/>
              <a:gd name="connsiteY0" fmla="*/ 166914 h 166914"/>
              <a:gd name="connsiteX1" fmla="*/ 41729 w 1913635"/>
              <a:gd name="connsiteY1" fmla="*/ 0 h 166914"/>
              <a:gd name="connsiteX2" fmla="*/ 1910120 w 1913635"/>
              <a:gd name="connsiteY2" fmla="*/ 0 h 166914"/>
              <a:gd name="connsiteX3" fmla="*/ 1913635 w 1913635"/>
              <a:gd name="connsiteY3" fmla="*/ 166914 h 166914"/>
              <a:gd name="connsiteX4" fmla="*/ 0 w 1913635"/>
              <a:gd name="connsiteY4" fmla="*/ 166914 h 166914"/>
              <a:gd name="connsiteX0" fmla="*/ 0 w 1913635"/>
              <a:gd name="connsiteY0" fmla="*/ 170187 h 170187"/>
              <a:gd name="connsiteX1" fmla="*/ 352879 w 1913635"/>
              <a:gd name="connsiteY1" fmla="*/ 0 h 170187"/>
              <a:gd name="connsiteX2" fmla="*/ 1910120 w 1913635"/>
              <a:gd name="connsiteY2" fmla="*/ 3273 h 170187"/>
              <a:gd name="connsiteX3" fmla="*/ 1913635 w 1913635"/>
              <a:gd name="connsiteY3" fmla="*/ 170187 h 170187"/>
              <a:gd name="connsiteX4" fmla="*/ 0 w 1913635"/>
              <a:gd name="connsiteY4" fmla="*/ 170187 h 1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635" h="170187">
                <a:moveTo>
                  <a:pt x="0" y="170187"/>
                </a:moveTo>
                <a:lnTo>
                  <a:pt x="352879" y="0"/>
                </a:lnTo>
                <a:lnTo>
                  <a:pt x="1910120" y="3273"/>
                </a:lnTo>
                <a:cubicBezTo>
                  <a:pt x="1911292" y="58911"/>
                  <a:pt x="1912463" y="114549"/>
                  <a:pt x="1913635" y="170187"/>
                </a:cubicBezTo>
                <a:lnTo>
                  <a:pt x="0" y="170187"/>
                </a:lnTo>
                <a:close/>
              </a:path>
            </a:pathLst>
          </a:custGeom>
          <a:pattFill prst="pct70">
            <a:fgClr>
              <a:schemeClr val="accent4"/>
            </a:fgClr>
            <a:bgClr>
              <a:schemeClr val="bg1"/>
            </a:bgClr>
          </a:patt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sp>
        <p:nvSpPr>
          <p:cNvPr id="7" name="Parallelogram 12"/>
          <p:cNvSpPr/>
          <p:nvPr/>
        </p:nvSpPr>
        <p:spPr>
          <a:xfrm>
            <a:off x="9680574" y="6524623"/>
            <a:ext cx="841376" cy="330201"/>
          </a:xfrm>
          <a:custGeom>
            <a:avLst/>
            <a:gdLst>
              <a:gd name="connsiteX0" fmla="*/ 0 w 812801"/>
              <a:gd name="connsiteY0" fmla="*/ 333376 h 333376"/>
              <a:gd name="connsiteX1" fmla="*/ 83344 w 812801"/>
              <a:gd name="connsiteY1" fmla="*/ 0 h 333376"/>
              <a:gd name="connsiteX2" fmla="*/ 812801 w 812801"/>
              <a:gd name="connsiteY2" fmla="*/ 0 h 333376"/>
              <a:gd name="connsiteX3" fmla="*/ 729457 w 812801"/>
              <a:gd name="connsiteY3" fmla="*/ 333376 h 333376"/>
              <a:gd name="connsiteX4" fmla="*/ 0 w 812801"/>
              <a:gd name="connsiteY4" fmla="*/ 333376 h 333376"/>
              <a:gd name="connsiteX0" fmla="*/ 0 w 1111251"/>
              <a:gd name="connsiteY0" fmla="*/ 330201 h 333376"/>
              <a:gd name="connsiteX1" fmla="*/ 381794 w 1111251"/>
              <a:gd name="connsiteY1" fmla="*/ 0 h 333376"/>
              <a:gd name="connsiteX2" fmla="*/ 1111251 w 1111251"/>
              <a:gd name="connsiteY2" fmla="*/ 0 h 333376"/>
              <a:gd name="connsiteX3" fmla="*/ 1027907 w 1111251"/>
              <a:gd name="connsiteY3" fmla="*/ 333376 h 333376"/>
              <a:gd name="connsiteX4" fmla="*/ 0 w 1111251"/>
              <a:gd name="connsiteY4" fmla="*/ 330201 h 333376"/>
              <a:gd name="connsiteX0" fmla="*/ 0 w 1111251"/>
              <a:gd name="connsiteY0" fmla="*/ 330201 h 330201"/>
              <a:gd name="connsiteX1" fmla="*/ 381794 w 1111251"/>
              <a:gd name="connsiteY1" fmla="*/ 0 h 330201"/>
              <a:gd name="connsiteX2" fmla="*/ 1111251 w 1111251"/>
              <a:gd name="connsiteY2" fmla="*/ 0 h 330201"/>
              <a:gd name="connsiteX3" fmla="*/ 805657 w 1111251"/>
              <a:gd name="connsiteY3" fmla="*/ 320676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815976"/>
              <a:gd name="connsiteY0" fmla="*/ 330201 h 330201"/>
              <a:gd name="connsiteX1" fmla="*/ 381794 w 815976"/>
              <a:gd name="connsiteY1" fmla="*/ 0 h 330201"/>
              <a:gd name="connsiteX2" fmla="*/ 815976 w 815976"/>
              <a:gd name="connsiteY2" fmla="*/ 0 h 330201"/>
              <a:gd name="connsiteX3" fmla="*/ 450057 w 815976"/>
              <a:gd name="connsiteY3" fmla="*/ 330201 h 330201"/>
              <a:gd name="connsiteX4" fmla="*/ 0 w 815976"/>
              <a:gd name="connsiteY4" fmla="*/ 330201 h 330201"/>
              <a:gd name="connsiteX0" fmla="*/ 0 w 841376"/>
              <a:gd name="connsiteY0" fmla="*/ 330201 h 330201"/>
              <a:gd name="connsiteX1" fmla="*/ 381794 w 841376"/>
              <a:gd name="connsiteY1" fmla="*/ 0 h 330201"/>
              <a:gd name="connsiteX2" fmla="*/ 841376 w 841376"/>
              <a:gd name="connsiteY2" fmla="*/ 0 h 330201"/>
              <a:gd name="connsiteX3" fmla="*/ 450057 w 841376"/>
              <a:gd name="connsiteY3" fmla="*/ 330201 h 330201"/>
              <a:gd name="connsiteX4" fmla="*/ 0 w 841376"/>
              <a:gd name="connsiteY4" fmla="*/ 330201 h 33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376" h="330201">
                <a:moveTo>
                  <a:pt x="0" y="330201"/>
                </a:moveTo>
                <a:lnTo>
                  <a:pt x="381794" y="0"/>
                </a:lnTo>
                <a:lnTo>
                  <a:pt x="841376" y="0"/>
                </a:lnTo>
                <a:lnTo>
                  <a:pt x="450057" y="330201"/>
                </a:lnTo>
                <a:lnTo>
                  <a:pt x="0" y="330201"/>
                </a:lnTo>
                <a:close/>
              </a:path>
            </a:pathLst>
          </a:custGeom>
          <a:pattFill prst="pct70">
            <a:fgClr>
              <a:schemeClr val="accent5">
                <a:lumMod val="50000"/>
              </a:schemeClr>
            </a:fgClr>
            <a:bgClr>
              <a:schemeClr val="bg1"/>
            </a:bgClr>
          </a:patt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p>
        </p:txBody>
      </p: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21950" y="5589881"/>
            <a:ext cx="1355270" cy="773503"/>
          </a:xfrm>
          <a:prstGeom prst="rect">
            <a:avLst/>
          </a:prstGeom>
        </p:spPr>
      </p:pic>
    </p:spTree>
    <p:extLst>
      <p:ext uri="{BB962C8B-B14F-4D97-AF65-F5344CB8AC3E}">
        <p14:creationId xmlns:p14="http://schemas.microsoft.com/office/powerpoint/2010/main" val="19083988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Parallelogram 7"/>
          <p:cNvSpPr/>
          <p:nvPr/>
        </p:nvSpPr>
        <p:spPr>
          <a:xfrm>
            <a:off x="-2" y="6519067"/>
            <a:ext cx="9871077" cy="335757"/>
          </a:xfrm>
          <a:custGeom>
            <a:avLst/>
            <a:gdLst>
              <a:gd name="connsiteX0" fmla="*/ 0 w 10188575"/>
              <a:gd name="connsiteY0" fmla="*/ 166915 h 166915"/>
              <a:gd name="connsiteX1" fmla="*/ 41729 w 10188575"/>
              <a:gd name="connsiteY1" fmla="*/ 0 h 166915"/>
              <a:gd name="connsiteX2" fmla="*/ 10188575 w 10188575"/>
              <a:gd name="connsiteY2" fmla="*/ 0 h 166915"/>
              <a:gd name="connsiteX3" fmla="*/ 10146846 w 10188575"/>
              <a:gd name="connsiteY3" fmla="*/ 166915 h 166915"/>
              <a:gd name="connsiteX4" fmla="*/ 0 w 10188575"/>
              <a:gd name="connsiteY4" fmla="*/ 166915 h 166915"/>
              <a:gd name="connsiteX0" fmla="*/ 17802 w 10146846"/>
              <a:gd name="connsiteY0" fmla="*/ 166915 h 166915"/>
              <a:gd name="connsiteX1" fmla="*/ 0 w 10146846"/>
              <a:gd name="connsiteY1" fmla="*/ 0 h 166915"/>
              <a:gd name="connsiteX2" fmla="*/ 10146846 w 10146846"/>
              <a:gd name="connsiteY2" fmla="*/ 0 h 166915"/>
              <a:gd name="connsiteX3" fmla="*/ 10105117 w 10146846"/>
              <a:gd name="connsiteY3" fmla="*/ 166915 h 166915"/>
              <a:gd name="connsiteX4" fmla="*/ 17802 w 10146846"/>
              <a:gd name="connsiteY4" fmla="*/ 166915 h 166915"/>
              <a:gd name="connsiteX0" fmla="*/ 3514 w 10132558"/>
              <a:gd name="connsiteY0" fmla="*/ 166915 h 166915"/>
              <a:gd name="connsiteX1" fmla="*/ 0 w 10132558"/>
              <a:gd name="connsiteY1" fmla="*/ 2381 h 166915"/>
              <a:gd name="connsiteX2" fmla="*/ 10132558 w 10132558"/>
              <a:gd name="connsiteY2" fmla="*/ 0 h 166915"/>
              <a:gd name="connsiteX3" fmla="*/ 10090829 w 10132558"/>
              <a:gd name="connsiteY3" fmla="*/ 166915 h 166915"/>
              <a:gd name="connsiteX4" fmla="*/ 3514 w 10132558"/>
              <a:gd name="connsiteY4" fmla="*/ 166915 h 166915"/>
              <a:gd name="connsiteX0" fmla="*/ 154 w 10129198"/>
              <a:gd name="connsiteY0" fmla="*/ 166915 h 166915"/>
              <a:gd name="connsiteX1" fmla="*/ 3784 w 10129198"/>
              <a:gd name="connsiteY1" fmla="*/ 0 h 166915"/>
              <a:gd name="connsiteX2" fmla="*/ 10129198 w 10129198"/>
              <a:gd name="connsiteY2" fmla="*/ 0 h 166915"/>
              <a:gd name="connsiteX3" fmla="*/ 10087469 w 10129198"/>
              <a:gd name="connsiteY3" fmla="*/ 166915 h 166915"/>
              <a:gd name="connsiteX4" fmla="*/ 154 w 10129198"/>
              <a:gd name="connsiteY4" fmla="*/ 166915 h 166915"/>
              <a:gd name="connsiteX0" fmla="*/ 239 w 10126902"/>
              <a:gd name="connsiteY0" fmla="*/ 169296 h 169296"/>
              <a:gd name="connsiteX1" fmla="*/ 1488 w 10126902"/>
              <a:gd name="connsiteY1" fmla="*/ 0 h 169296"/>
              <a:gd name="connsiteX2" fmla="*/ 10126902 w 10126902"/>
              <a:gd name="connsiteY2" fmla="*/ 0 h 169296"/>
              <a:gd name="connsiteX3" fmla="*/ 10085173 w 10126902"/>
              <a:gd name="connsiteY3" fmla="*/ 166915 h 169296"/>
              <a:gd name="connsiteX4" fmla="*/ 239 w 10126902"/>
              <a:gd name="connsiteY4" fmla="*/ 169296 h 169296"/>
              <a:gd name="connsiteX0" fmla="*/ 239 w 10425352"/>
              <a:gd name="connsiteY0" fmla="*/ 175887 h 175887"/>
              <a:gd name="connsiteX1" fmla="*/ 1488 w 10425352"/>
              <a:gd name="connsiteY1" fmla="*/ 6591 h 175887"/>
              <a:gd name="connsiteX2" fmla="*/ 10425352 w 10425352"/>
              <a:gd name="connsiteY2" fmla="*/ 0 h 175887"/>
              <a:gd name="connsiteX3" fmla="*/ 10085173 w 10425352"/>
              <a:gd name="connsiteY3" fmla="*/ 173506 h 175887"/>
              <a:gd name="connsiteX4" fmla="*/ 239 w 10425352"/>
              <a:gd name="connsiteY4" fmla="*/ 175887 h 175887"/>
              <a:gd name="connsiteX0" fmla="*/ 239 w 10635515"/>
              <a:gd name="connsiteY0" fmla="*/ 179182 h 179182"/>
              <a:gd name="connsiteX1" fmla="*/ 1488 w 10635515"/>
              <a:gd name="connsiteY1" fmla="*/ 9886 h 179182"/>
              <a:gd name="connsiteX2" fmla="*/ 10635515 w 10635515"/>
              <a:gd name="connsiteY2" fmla="*/ 0 h 179182"/>
              <a:gd name="connsiteX3" fmla="*/ 10085173 w 10635515"/>
              <a:gd name="connsiteY3" fmla="*/ 176801 h 179182"/>
              <a:gd name="connsiteX4" fmla="*/ 239 w 10635515"/>
              <a:gd name="connsiteY4" fmla="*/ 179182 h 179182"/>
              <a:gd name="connsiteX0" fmla="*/ 239 w 10635515"/>
              <a:gd name="connsiteY0" fmla="*/ 179182 h 179182"/>
              <a:gd name="connsiteX1" fmla="*/ 1488 w 10635515"/>
              <a:gd name="connsiteY1" fmla="*/ 9886 h 179182"/>
              <a:gd name="connsiteX2" fmla="*/ 10635515 w 10635515"/>
              <a:gd name="connsiteY2" fmla="*/ 0 h 179182"/>
              <a:gd name="connsiteX3" fmla="*/ 10224620 w 10635515"/>
              <a:gd name="connsiteY3" fmla="*/ 178449 h 179182"/>
              <a:gd name="connsiteX4" fmla="*/ 239 w 10635515"/>
              <a:gd name="connsiteY4" fmla="*/ 179182 h 179182"/>
              <a:gd name="connsiteX0" fmla="*/ 239 w 10635515"/>
              <a:gd name="connsiteY0" fmla="*/ 174239 h 174239"/>
              <a:gd name="connsiteX1" fmla="*/ 1488 w 10635515"/>
              <a:gd name="connsiteY1" fmla="*/ 4943 h 174239"/>
              <a:gd name="connsiteX2" fmla="*/ 10635515 w 10635515"/>
              <a:gd name="connsiteY2" fmla="*/ 0 h 174239"/>
              <a:gd name="connsiteX3" fmla="*/ 10224620 w 10635515"/>
              <a:gd name="connsiteY3" fmla="*/ 173506 h 174239"/>
              <a:gd name="connsiteX4" fmla="*/ 239 w 10635515"/>
              <a:gd name="connsiteY4" fmla="*/ 174239 h 174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35515" h="174239">
                <a:moveTo>
                  <a:pt x="239" y="174239"/>
                </a:moveTo>
                <a:cubicBezTo>
                  <a:pt x="-932" y="119394"/>
                  <a:pt x="2659" y="59788"/>
                  <a:pt x="1488" y="4943"/>
                </a:cubicBezTo>
                <a:lnTo>
                  <a:pt x="10635515" y="0"/>
                </a:lnTo>
                <a:lnTo>
                  <a:pt x="10224620" y="173506"/>
                </a:lnTo>
                <a:lnTo>
                  <a:pt x="239" y="174239"/>
                </a:lnTo>
                <a:close/>
              </a:path>
            </a:pathLst>
          </a:custGeom>
          <a:pattFill prst="pct70">
            <a:fgClr>
              <a:schemeClr val="bg1">
                <a:lumMod val="75000"/>
              </a:schemeClr>
            </a:fgClr>
            <a:bgClr>
              <a:schemeClr val="bg1"/>
            </a:bgClr>
          </a:patt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11" name="Parallelogram 10"/>
          <p:cNvSpPr/>
          <p:nvPr/>
        </p:nvSpPr>
        <p:spPr>
          <a:xfrm>
            <a:off x="10360480" y="6519067"/>
            <a:ext cx="1831520" cy="330199"/>
          </a:xfrm>
          <a:custGeom>
            <a:avLst/>
            <a:gdLst>
              <a:gd name="connsiteX0" fmla="*/ 0 w 1983938"/>
              <a:gd name="connsiteY0" fmla="*/ 166914 h 166914"/>
              <a:gd name="connsiteX1" fmla="*/ 41729 w 1983938"/>
              <a:gd name="connsiteY1" fmla="*/ 0 h 166914"/>
              <a:gd name="connsiteX2" fmla="*/ 1983938 w 1983938"/>
              <a:gd name="connsiteY2" fmla="*/ 0 h 166914"/>
              <a:gd name="connsiteX3" fmla="*/ 1942210 w 1983938"/>
              <a:gd name="connsiteY3" fmla="*/ 166914 h 166914"/>
              <a:gd name="connsiteX4" fmla="*/ 0 w 1983938"/>
              <a:gd name="connsiteY4" fmla="*/ 166914 h 166914"/>
              <a:gd name="connsiteX0" fmla="*/ 0 w 1942210"/>
              <a:gd name="connsiteY0" fmla="*/ 166914 h 166914"/>
              <a:gd name="connsiteX1" fmla="*/ 41729 w 1942210"/>
              <a:gd name="connsiteY1" fmla="*/ 0 h 166914"/>
              <a:gd name="connsiteX2" fmla="*/ 1910120 w 1942210"/>
              <a:gd name="connsiteY2" fmla="*/ 0 h 166914"/>
              <a:gd name="connsiteX3" fmla="*/ 1942210 w 1942210"/>
              <a:gd name="connsiteY3" fmla="*/ 166914 h 166914"/>
              <a:gd name="connsiteX4" fmla="*/ 0 w 1942210"/>
              <a:gd name="connsiteY4" fmla="*/ 166914 h 166914"/>
              <a:gd name="connsiteX0" fmla="*/ 0 w 1913635"/>
              <a:gd name="connsiteY0" fmla="*/ 166914 h 166914"/>
              <a:gd name="connsiteX1" fmla="*/ 41729 w 1913635"/>
              <a:gd name="connsiteY1" fmla="*/ 0 h 166914"/>
              <a:gd name="connsiteX2" fmla="*/ 1910120 w 1913635"/>
              <a:gd name="connsiteY2" fmla="*/ 0 h 166914"/>
              <a:gd name="connsiteX3" fmla="*/ 1913635 w 1913635"/>
              <a:gd name="connsiteY3" fmla="*/ 166914 h 166914"/>
              <a:gd name="connsiteX4" fmla="*/ 0 w 1913635"/>
              <a:gd name="connsiteY4" fmla="*/ 166914 h 166914"/>
              <a:gd name="connsiteX0" fmla="*/ 0 w 1913635"/>
              <a:gd name="connsiteY0" fmla="*/ 170187 h 170187"/>
              <a:gd name="connsiteX1" fmla="*/ 352879 w 1913635"/>
              <a:gd name="connsiteY1" fmla="*/ 0 h 170187"/>
              <a:gd name="connsiteX2" fmla="*/ 1910120 w 1913635"/>
              <a:gd name="connsiteY2" fmla="*/ 3273 h 170187"/>
              <a:gd name="connsiteX3" fmla="*/ 1913635 w 1913635"/>
              <a:gd name="connsiteY3" fmla="*/ 170187 h 170187"/>
              <a:gd name="connsiteX4" fmla="*/ 0 w 1913635"/>
              <a:gd name="connsiteY4" fmla="*/ 170187 h 1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635" h="170187">
                <a:moveTo>
                  <a:pt x="0" y="170187"/>
                </a:moveTo>
                <a:lnTo>
                  <a:pt x="352879" y="0"/>
                </a:lnTo>
                <a:lnTo>
                  <a:pt x="1910120" y="3273"/>
                </a:lnTo>
                <a:cubicBezTo>
                  <a:pt x="1911292" y="58911"/>
                  <a:pt x="1912463" y="114549"/>
                  <a:pt x="1913635" y="170187"/>
                </a:cubicBezTo>
                <a:lnTo>
                  <a:pt x="0" y="170187"/>
                </a:lnTo>
                <a:close/>
              </a:path>
            </a:pathLst>
          </a:custGeom>
          <a:pattFill prst="pct70">
            <a:fgClr>
              <a:schemeClr val="accent4"/>
            </a:fgClr>
            <a:bgClr>
              <a:schemeClr val="bg1"/>
            </a:bgClr>
          </a:patt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3" name="Parallelogram 12"/>
          <p:cNvSpPr/>
          <p:nvPr/>
        </p:nvSpPr>
        <p:spPr>
          <a:xfrm>
            <a:off x="9680574" y="6524623"/>
            <a:ext cx="841376" cy="330201"/>
          </a:xfrm>
          <a:custGeom>
            <a:avLst/>
            <a:gdLst>
              <a:gd name="connsiteX0" fmla="*/ 0 w 812801"/>
              <a:gd name="connsiteY0" fmla="*/ 333376 h 333376"/>
              <a:gd name="connsiteX1" fmla="*/ 83344 w 812801"/>
              <a:gd name="connsiteY1" fmla="*/ 0 h 333376"/>
              <a:gd name="connsiteX2" fmla="*/ 812801 w 812801"/>
              <a:gd name="connsiteY2" fmla="*/ 0 h 333376"/>
              <a:gd name="connsiteX3" fmla="*/ 729457 w 812801"/>
              <a:gd name="connsiteY3" fmla="*/ 333376 h 333376"/>
              <a:gd name="connsiteX4" fmla="*/ 0 w 812801"/>
              <a:gd name="connsiteY4" fmla="*/ 333376 h 333376"/>
              <a:gd name="connsiteX0" fmla="*/ 0 w 1111251"/>
              <a:gd name="connsiteY0" fmla="*/ 330201 h 333376"/>
              <a:gd name="connsiteX1" fmla="*/ 381794 w 1111251"/>
              <a:gd name="connsiteY1" fmla="*/ 0 h 333376"/>
              <a:gd name="connsiteX2" fmla="*/ 1111251 w 1111251"/>
              <a:gd name="connsiteY2" fmla="*/ 0 h 333376"/>
              <a:gd name="connsiteX3" fmla="*/ 1027907 w 1111251"/>
              <a:gd name="connsiteY3" fmla="*/ 333376 h 333376"/>
              <a:gd name="connsiteX4" fmla="*/ 0 w 1111251"/>
              <a:gd name="connsiteY4" fmla="*/ 330201 h 333376"/>
              <a:gd name="connsiteX0" fmla="*/ 0 w 1111251"/>
              <a:gd name="connsiteY0" fmla="*/ 330201 h 330201"/>
              <a:gd name="connsiteX1" fmla="*/ 381794 w 1111251"/>
              <a:gd name="connsiteY1" fmla="*/ 0 h 330201"/>
              <a:gd name="connsiteX2" fmla="*/ 1111251 w 1111251"/>
              <a:gd name="connsiteY2" fmla="*/ 0 h 330201"/>
              <a:gd name="connsiteX3" fmla="*/ 805657 w 1111251"/>
              <a:gd name="connsiteY3" fmla="*/ 320676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815976"/>
              <a:gd name="connsiteY0" fmla="*/ 330201 h 330201"/>
              <a:gd name="connsiteX1" fmla="*/ 381794 w 815976"/>
              <a:gd name="connsiteY1" fmla="*/ 0 h 330201"/>
              <a:gd name="connsiteX2" fmla="*/ 815976 w 815976"/>
              <a:gd name="connsiteY2" fmla="*/ 0 h 330201"/>
              <a:gd name="connsiteX3" fmla="*/ 450057 w 815976"/>
              <a:gd name="connsiteY3" fmla="*/ 330201 h 330201"/>
              <a:gd name="connsiteX4" fmla="*/ 0 w 815976"/>
              <a:gd name="connsiteY4" fmla="*/ 330201 h 330201"/>
              <a:gd name="connsiteX0" fmla="*/ 0 w 841376"/>
              <a:gd name="connsiteY0" fmla="*/ 330201 h 330201"/>
              <a:gd name="connsiteX1" fmla="*/ 381794 w 841376"/>
              <a:gd name="connsiteY1" fmla="*/ 0 h 330201"/>
              <a:gd name="connsiteX2" fmla="*/ 841376 w 841376"/>
              <a:gd name="connsiteY2" fmla="*/ 0 h 330201"/>
              <a:gd name="connsiteX3" fmla="*/ 450057 w 841376"/>
              <a:gd name="connsiteY3" fmla="*/ 330201 h 330201"/>
              <a:gd name="connsiteX4" fmla="*/ 0 w 841376"/>
              <a:gd name="connsiteY4" fmla="*/ 330201 h 33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376" h="330201">
                <a:moveTo>
                  <a:pt x="0" y="330201"/>
                </a:moveTo>
                <a:lnTo>
                  <a:pt x="381794" y="0"/>
                </a:lnTo>
                <a:lnTo>
                  <a:pt x="841376" y="0"/>
                </a:lnTo>
                <a:lnTo>
                  <a:pt x="450057" y="330201"/>
                </a:lnTo>
                <a:lnTo>
                  <a:pt x="0" y="330201"/>
                </a:lnTo>
                <a:close/>
              </a:path>
            </a:pathLst>
          </a:custGeom>
          <a:pattFill prst="pct70">
            <a:fgClr>
              <a:schemeClr val="accent5">
                <a:lumMod val="50000"/>
              </a:schemeClr>
            </a:fgClr>
            <a:bgClr>
              <a:schemeClr val="bg1"/>
            </a:bgClr>
          </a:patt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pic>
        <p:nvPicPr>
          <p:cNvPr id="19" name="Picture 1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21950" y="5589881"/>
            <a:ext cx="1355270" cy="773503"/>
          </a:xfrm>
          <a:prstGeom prst="rect">
            <a:avLst/>
          </a:prstGeom>
        </p:spPr>
      </p:pic>
      <p:sp>
        <p:nvSpPr>
          <p:cNvPr id="9" name="Content Placeholder 2">
            <a:extLst>
              <a:ext uri="{FF2B5EF4-FFF2-40B4-BE49-F238E27FC236}">
                <a16:creationId xmlns:a16="http://schemas.microsoft.com/office/drawing/2014/main" id="{EB8FF60F-5681-4384-9BD5-04DBDF0E2C07}"/>
              </a:ext>
            </a:extLst>
          </p:cNvPr>
          <p:cNvSpPr txBox="1">
            <a:spLocks/>
          </p:cNvSpPr>
          <p:nvPr/>
        </p:nvSpPr>
        <p:spPr>
          <a:xfrm>
            <a:off x="95693" y="802788"/>
            <a:ext cx="11897833" cy="5721835"/>
          </a:xfrm>
          <a:prstGeom prst="rect">
            <a:avLst/>
          </a:prstGeom>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Font typeface="Arial" panose="020B0604020202020204" pitchFamily="34" charset="0"/>
              <a:buNone/>
            </a:pPr>
            <a:endParaRPr lang="en-GB" sz="1350" dirty="0">
              <a:solidFill>
                <a:prstClr val="black"/>
              </a:solidFill>
              <a:latin typeface="Arial" panose="020B0604020202020204" pitchFamily="34" charset="0"/>
              <a:cs typeface="Arial" panose="020B0604020202020204" pitchFamily="34" charset="0"/>
            </a:endParaRPr>
          </a:p>
        </p:txBody>
      </p:sp>
      <p:sp>
        <p:nvSpPr>
          <p:cNvPr id="10" name="Title 2"/>
          <p:cNvSpPr txBox="1">
            <a:spLocks/>
          </p:cNvSpPr>
          <p:nvPr/>
        </p:nvSpPr>
        <p:spPr>
          <a:xfrm>
            <a:off x="-2" y="-2935"/>
            <a:ext cx="12192001" cy="805723"/>
          </a:xfrm>
          <a:prstGeom prst="rect">
            <a:avLst/>
          </a:prstGeom>
          <a:solidFill>
            <a:srgbClr val="00266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rtlCol="0" anchor="ctr">
            <a:noAutofit/>
            <a:scene3d>
              <a:camera prst="orthographicFront"/>
              <a:lightRig rig="soft" dir="t"/>
            </a:scene3d>
            <a:sp3d prstMaterial="softEdge">
              <a:bevelT w="25400" h="25400"/>
            </a:sp3d>
          </a:bodyPr>
          <a:lstStyle>
            <a:lvl1pPr algn="r" rtl="0" eaLnBrk="1" latinLnBrk="0" hangingPunct="1">
              <a:spcBef>
                <a:spcPct val="0"/>
              </a:spcBef>
              <a:buNone/>
              <a:defRPr kumimoji="0" sz="3200" b="1" kern="1200">
                <a:solidFill>
                  <a:srgbClr val="9A9B9C"/>
                </a:solidFill>
                <a:effectLst>
                  <a:outerShdw blurRad="31750" dist="25400" dir="5400000" algn="tl" rotWithShape="0">
                    <a:srgbClr val="000000">
                      <a:alpha val="25000"/>
                    </a:srgbClr>
                  </a:outerShdw>
                </a:effectLst>
                <a:latin typeface="+mn-lt"/>
                <a:ea typeface="+mj-ea"/>
                <a:cs typeface="+mj-cs"/>
              </a:defRPr>
            </a:lvl1pPr>
            <a:lvl2pPr>
              <a:defRPr/>
            </a:lvl2pPr>
            <a:lvl3pPr>
              <a:defRPr/>
            </a:lvl3pPr>
            <a:lvl4pPr>
              <a:defRPr/>
            </a:lvl4pPr>
            <a:lvl5pPr>
              <a:defRPr/>
            </a:lvl5pPr>
            <a:lvl6pPr>
              <a:defRPr/>
            </a:lvl6pPr>
            <a:lvl7pPr>
              <a:defRPr/>
            </a:lvl7pPr>
            <a:lvl8pPr>
              <a:defRPr/>
            </a:lvl8pPr>
            <a:lvl9pPr>
              <a:defRPr/>
            </a:lvl9pPr>
            <a:extLst/>
          </a:lstStyle>
          <a:p>
            <a:pPr marL="354013" indent="7938" algn="l"/>
            <a:r>
              <a:rPr lang="en-ZA" sz="2800" kern="0" dirty="0">
                <a:solidFill>
                  <a:prstClr val="white"/>
                </a:solidFill>
              </a:rPr>
              <a:t>MANDATE AND OVERVIEW</a:t>
            </a:r>
            <a:endParaRPr lang="en-GB" sz="2400" kern="0" dirty="0">
              <a:solidFill>
                <a:prstClr val="white"/>
              </a:solidFill>
            </a:endParaRPr>
          </a:p>
        </p:txBody>
      </p:sp>
      <p:sp>
        <p:nvSpPr>
          <p:cNvPr id="12" name="Content Placeholder 2">
            <a:extLst>
              <a:ext uri="{FF2B5EF4-FFF2-40B4-BE49-F238E27FC236}">
                <a16:creationId xmlns:a16="http://schemas.microsoft.com/office/drawing/2014/main" id="{EB8FF60F-5681-4384-9BD5-04DBDF0E2C07}"/>
              </a:ext>
            </a:extLst>
          </p:cNvPr>
          <p:cNvSpPr txBox="1">
            <a:spLocks/>
          </p:cNvSpPr>
          <p:nvPr/>
        </p:nvSpPr>
        <p:spPr>
          <a:xfrm>
            <a:off x="248093" y="955188"/>
            <a:ext cx="11897833" cy="5721835"/>
          </a:xfrm>
          <a:prstGeom prst="rect">
            <a:avLst/>
          </a:prstGeom>
        </p:spPr>
        <p:txBody>
          <a:bodyPr vert="horz" lIns="68580" tIns="34290" rIns="68580" bIns="34290" rtlCol="0">
            <a:normAutofit fontScale="6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60000"/>
              </a:lnSpc>
            </a:pPr>
            <a:r>
              <a:rPr lang="en-GB" sz="2600" b="1" i="1" dirty="0">
                <a:solidFill>
                  <a:schemeClr val="accent5">
                    <a:lumMod val="50000"/>
                  </a:schemeClr>
                </a:solidFill>
              </a:rPr>
              <a:t>Mandate 			 Broadening &amp; deepening market access to affordable housing finance for rural, low </a:t>
            </a:r>
          </a:p>
          <a:p>
            <a:pPr marL="3200400" lvl="7" indent="0">
              <a:lnSpc>
                <a:spcPct val="160000"/>
              </a:lnSpc>
              <a:buNone/>
            </a:pPr>
            <a:r>
              <a:rPr lang="en-GB" sz="2600" b="1" i="1" dirty="0">
                <a:solidFill>
                  <a:schemeClr val="accent5">
                    <a:lumMod val="50000"/>
                  </a:schemeClr>
                </a:solidFill>
              </a:rPr>
              <a:t>	and middle income households in SA</a:t>
            </a:r>
          </a:p>
          <a:p>
            <a:pPr>
              <a:lnSpc>
                <a:spcPct val="160000"/>
              </a:lnSpc>
            </a:pPr>
            <a:r>
              <a:rPr lang="en-GB" sz="2600" b="1" i="1" dirty="0">
                <a:solidFill>
                  <a:schemeClr val="accent5">
                    <a:lumMod val="50000"/>
                  </a:schemeClr>
                </a:solidFill>
              </a:rPr>
              <a:t> Established: 		                    1996 in Terms of the Companies Act </a:t>
            </a:r>
          </a:p>
          <a:p>
            <a:pPr marL="0">
              <a:lnSpc>
                <a:spcPct val="160000"/>
              </a:lnSpc>
            </a:pPr>
            <a:r>
              <a:rPr lang="en-GB" sz="2600" b="1" i="1" dirty="0">
                <a:solidFill>
                  <a:schemeClr val="accent5">
                    <a:lumMod val="50000"/>
                  </a:schemeClr>
                </a:solidFill>
              </a:rPr>
              <a:t>Merged with RHLF &amp; NURCHA:             	2018 [ Aim: Establishment of a “Human Settlements Development Bank” in support  				                    of the entire human settlements delivery value-chain]</a:t>
            </a:r>
          </a:p>
          <a:p>
            <a:pPr marL="0">
              <a:lnSpc>
                <a:spcPct val="160000"/>
              </a:lnSpc>
            </a:pPr>
            <a:r>
              <a:rPr lang="en-GB" sz="2600" b="1" i="1" dirty="0">
                <a:solidFill>
                  <a:schemeClr val="accent5">
                    <a:lumMod val="50000"/>
                  </a:schemeClr>
                </a:solidFill>
              </a:rPr>
              <a:t>Type of Organisation:		Development Finance Institution</a:t>
            </a:r>
          </a:p>
          <a:p>
            <a:pPr marL="0">
              <a:lnSpc>
                <a:spcPct val="160000"/>
              </a:lnSpc>
            </a:pPr>
            <a:r>
              <a:rPr lang="en-GB" sz="2600" b="1" i="1" dirty="0">
                <a:solidFill>
                  <a:schemeClr val="accent5">
                    <a:lumMod val="50000"/>
                  </a:schemeClr>
                </a:solidFill>
              </a:rPr>
              <a:t>Ownership:			100% State Owned Company</a:t>
            </a:r>
          </a:p>
          <a:p>
            <a:pPr marL="0">
              <a:lnSpc>
                <a:spcPct val="160000"/>
              </a:lnSpc>
            </a:pPr>
            <a:r>
              <a:rPr lang="en-GB" sz="2600" b="1" i="1" dirty="0">
                <a:solidFill>
                  <a:schemeClr val="accent5">
                    <a:lumMod val="50000"/>
                  </a:schemeClr>
                </a:solidFill>
                <a:highlight>
                  <a:srgbClr val="FFFFFF"/>
                </a:highlight>
              </a:rPr>
              <a:t>Total Assets:			R 6,2 billion (Including R 1,3 billion from HIP Trusts)</a:t>
            </a:r>
          </a:p>
          <a:p>
            <a:pPr marL="0">
              <a:lnSpc>
                <a:spcPct val="160000"/>
              </a:lnSpc>
            </a:pPr>
            <a:r>
              <a:rPr lang="en-GB" sz="2600" b="1" i="1" dirty="0">
                <a:solidFill>
                  <a:schemeClr val="accent5">
                    <a:lumMod val="50000"/>
                  </a:schemeClr>
                </a:solidFill>
                <a:highlight>
                  <a:srgbClr val="FFFFFF"/>
                </a:highlight>
              </a:rPr>
              <a:t>Total Liabilities:			R 1,5 billion (Including R 1.1 billion from HIP Trusts)</a:t>
            </a:r>
          </a:p>
          <a:p>
            <a:pPr marL="0">
              <a:lnSpc>
                <a:spcPct val="160000"/>
              </a:lnSpc>
            </a:pPr>
            <a:r>
              <a:rPr lang="en-GB" sz="2600" b="1" i="1" dirty="0">
                <a:solidFill>
                  <a:schemeClr val="accent5">
                    <a:lumMod val="50000"/>
                  </a:schemeClr>
                </a:solidFill>
              </a:rPr>
              <a:t>Funding Status:			Self-sustaining</a:t>
            </a:r>
          </a:p>
          <a:p>
            <a:pPr marL="0">
              <a:lnSpc>
                <a:spcPct val="160000"/>
              </a:lnSpc>
            </a:pPr>
            <a:r>
              <a:rPr lang="en-ZA" sz="2600" b="1" i="1" dirty="0">
                <a:solidFill>
                  <a:schemeClr val="accent5">
                    <a:lumMod val="50000"/>
                  </a:schemeClr>
                </a:solidFill>
              </a:rPr>
              <a:t>Geographic activities: 		National </a:t>
            </a:r>
          </a:p>
          <a:p>
            <a:pPr marL="0">
              <a:lnSpc>
                <a:spcPct val="160000"/>
              </a:lnSpc>
            </a:pPr>
            <a:r>
              <a:rPr lang="en-GB" sz="2600" b="1" i="1" dirty="0">
                <a:solidFill>
                  <a:schemeClr val="accent5">
                    <a:lumMod val="50000"/>
                  </a:schemeClr>
                </a:solidFill>
              </a:rPr>
              <a:t>Headcount:			130</a:t>
            </a:r>
          </a:p>
          <a:p>
            <a:pPr marL="0" indent="0">
              <a:lnSpc>
                <a:spcPct val="150000"/>
              </a:lnSpc>
              <a:buFont typeface="Arial" panose="020B0604020202020204" pitchFamily="34" charset="0"/>
              <a:buNone/>
            </a:pPr>
            <a:endParaRPr lang="en-GB" sz="135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614478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1" y="-3231"/>
            <a:ext cx="12192001" cy="805723"/>
          </a:xfrm>
          <a:prstGeom prst="rect">
            <a:avLst/>
          </a:prstGeom>
          <a:solidFill>
            <a:srgbClr val="00266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rtlCol="0" anchor="ctr">
            <a:noAutofit/>
            <a:scene3d>
              <a:camera prst="orthographicFront"/>
              <a:lightRig rig="soft" dir="t"/>
            </a:scene3d>
            <a:sp3d prstMaterial="softEdge">
              <a:bevelT w="25400" h="25400"/>
            </a:sp3d>
          </a:bodyPr>
          <a:lstStyle>
            <a:lvl1pPr algn="r" rtl="0" eaLnBrk="1" latinLnBrk="0" hangingPunct="1">
              <a:spcBef>
                <a:spcPct val="0"/>
              </a:spcBef>
              <a:buNone/>
              <a:defRPr kumimoji="0" sz="3200" b="1" kern="1200">
                <a:solidFill>
                  <a:srgbClr val="9A9B9C"/>
                </a:solidFill>
                <a:effectLst>
                  <a:outerShdw blurRad="31750" dist="25400" dir="5400000" algn="tl" rotWithShape="0">
                    <a:srgbClr val="000000">
                      <a:alpha val="25000"/>
                    </a:srgbClr>
                  </a:outerShdw>
                </a:effectLst>
                <a:latin typeface="+mn-lt"/>
                <a:ea typeface="+mj-ea"/>
                <a:cs typeface="+mj-cs"/>
              </a:defRPr>
            </a:lvl1pPr>
            <a:lvl2pPr>
              <a:defRPr/>
            </a:lvl2pPr>
            <a:lvl3pPr>
              <a:defRPr/>
            </a:lvl3pPr>
            <a:lvl4pPr>
              <a:defRPr/>
            </a:lvl4pPr>
            <a:lvl5pPr>
              <a:defRPr/>
            </a:lvl5pPr>
            <a:lvl6pPr>
              <a:defRPr/>
            </a:lvl6pPr>
            <a:lvl7pPr>
              <a:defRPr/>
            </a:lvl7pPr>
            <a:lvl8pPr>
              <a:defRPr/>
            </a:lvl8pPr>
            <a:lvl9pPr>
              <a:defRPr/>
            </a:lvl9pPr>
            <a:extLst/>
          </a:lstStyle>
          <a:p>
            <a:pPr marL="354013" indent="7938" algn="ctr"/>
            <a:r>
              <a:rPr lang="en-GB" sz="4000" kern="0">
                <a:solidFill>
                  <a:prstClr val="white"/>
                </a:solidFill>
                <a:latin typeface="Arial" panose="020B0604020202020204" pitchFamily="34" charset="0"/>
                <a:cs typeface="Arial" panose="020B0604020202020204" pitchFamily="34" charset="0"/>
              </a:rPr>
              <a:t>About Us</a:t>
            </a:r>
          </a:p>
        </p:txBody>
      </p:sp>
      <p:sp>
        <p:nvSpPr>
          <p:cNvPr id="8" name="Parallelogram 7"/>
          <p:cNvSpPr/>
          <p:nvPr/>
        </p:nvSpPr>
        <p:spPr>
          <a:xfrm>
            <a:off x="-2" y="6519067"/>
            <a:ext cx="9871077" cy="335757"/>
          </a:xfrm>
          <a:custGeom>
            <a:avLst/>
            <a:gdLst>
              <a:gd name="connsiteX0" fmla="*/ 0 w 10188575"/>
              <a:gd name="connsiteY0" fmla="*/ 166915 h 166915"/>
              <a:gd name="connsiteX1" fmla="*/ 41729 w 10188575"/>
              <a:gd name="connsiteY1" fmla="*/ 0 h 166915"/>
              <a:gd name="connsiteX2" fmla="*/ 10188575 w 10188575"/>
              <a:gd name="connsiteY2" fmla="*/ 0 h 166915"/>
              <a:gd name="connsiteX3" fmla="*/ 10146846 w 10188575"/>
              <a:gd name="connsiteY3" fmla="*/ 166915 h 166915"/>
              <a:gd name="connsiteX4" fmla="*/ 0 w 10188575"/>
              <a:gd name="connsiteY4" fmla="*/ 166915 h 166915"/>
              <a:gd name="connsiteX0" fmla="*/ 17802 w 10146846"/>
              <a:gd name="connsiteY0" fmla="*/ 166915 h 166915"/>
              <a:gd name="connsiteX1" fmla="*/ 0 w 10146846"/>
              <a:gd name="connsiteY1" fmla="*/ 0 h 166915"/>
              <a:gd name="connsiteX2" fmla="*/ 10146846 w 10146846"/>
              <a:gd name="connsiteY2" fmla="*/ 0 h 166915"/>
              <a:gd name="connsiteX3" fmla="*/ 10105117 w 10146846"/>
              <a:gd name="connsiteY3" fmla="*/ 166915 h 166915"/>
              <a:gd name="connsiteX4" fmla="*/ 17802 w 10146846"/>
              <a:gd name="connsiteY4" fmla="*/ 166915 h 166915"/>
              <a:gd name="connsiteX0" fmla="*/ 3514 w 10132558"/>
              <a:gd name="connsiteY0" fmla="*/ 166915 h 166915"/>
              <a:gd name="connsiteX1" fmla="*/ 0 w 10132558"/>
              <a:gd name="connsiteY1" fmla="*/ 2381 h 166915"/>
              <a:gd name="connsiteX2" fmla="*/ 10132558 w 10132558"/>
              <a:gd name="connsiteY2" fmla="*/ 0 h 166915"/>
              <a:gd name="connsiteX3" fmla="*/ 10090829 w 10132558"/>
              <a:gd name="connsiteY3" fmla="*/ 166915 h 166915"/>
              <a:gd name="connsiteX4" fmla="*/ 3514 w 10132558"/>
              <a:gd name="connsiteY4" fmla="*/ 166915 h 166915"/>
              <a:gd name="connsiteX0" fmla="*/ 154 w 10129198"/>
              <a:gd name="connsiteY0" fmla="*/ 166915 h 166915"/>
              <a:gd name="connsiteX1" fmla="*/ 3784 w 10129198"/>
              <a:gd name="connsiteY1" fmla="*/ 0 h 166915"/>
              <a:gd name="connsiteX2" fmla="*/ 10129198 w 10129198"/>
              <a:gd name="connsiteY2" fmla="*/ 0 h 166915"/>
              <a:gd name="connsiteX3" fmla="*/ 10087469 w 10129198"/>
              <a:gd name="connsiteY3" fmla="*/ 166915 h 166915"/>
              <a:gd name="connsiteX4" fmla="*/ 154 w 10129198"/>
              <a:gd name="connsiteY4" fmla="*/ 166915 h 166915"/>
              <a:gd name="connsiteX0" fmla="*/ 239 w 10126902"/>
              <a:gd name="connsiteY0" fmla="*/ 169296 h 169296"/>
              <a:gd name="connsiteX1" fmla="*/ 1488 w 10126902"/>
              <a:gd name="connsiteY1" fmla="*/ 0 h 169296"/>
              <a:gd name="connsiteX2" fmla="*/ 10126902 w 10126902"/>
              <a:gd name="connsiteY2" fmla="*/ 0 h 169296"/>
              <a:gd name="connsiteX3" fmla="*/ 10085173 w 10126902"/>
              <a:gd name="connsiteY3" fmla="*/ 166915 h 169296"/>
              <a:gd name="connsiteX4" fmla="*/ 239 w 10126902"/>
              <a:gd name="connsiteY4" fmla="*/ 169296 h 169296"/>
              <a:gd name="connsiteX0" fmla="*/ 239 w 10425352"/>
              <a:gd name="connsiteY0" fmla="*/ 175887 h 175887"/>
              <a:gd name="connsiteX1" fmla="*/ 1488 w 10425352"/>
              <a:gd name="connsiteY1" fmla="*/ 6591 h 175887"/>
              <a:gd name="connsiteX2" fmla="*/ 10425352 w 10425352"/>
              <a:gd name="connsiteY2" fmla="*/ 0 h 175887"/>
              <a:gd name="connsiteX3" fmla="*/ 10085173 w 10425352"/>
              <a:gd name="connsiteY3" fmla="*/ 173506 h 175887"/>
              <a:gd name="connsiteX4" fmla="*/ 239 w 10425352"/>
              <a:gd name="connsiteY4" fmla="*/ 175887 h 175887"/>
              <a:gd name="connsiteX0" fmla="*/ 239 w 10635515"/>
              <a:gd name="connsiteY0" fmla="*/ 179182 h 179182"/>
              <a:gd name="connsiteX1" fmla="*/ 1488 w 10635515"/>
              <a:gd name="connsiteY1" fmla="*/ 9886 h 179182"/>
              <a:gd name="connsiteX2" fmla="*/ 10635515 w 10635515"/>
              <a:gd name="connsiteY2" fmla="*/ 0 h 179182"/>
              <a:gd name="connsiteX3" fmla="*/ 10085173 w 10635515"/>
              <a:gd name="connsiteY3" fmla="*/ 176801 h 179182"/>
              <a:gd name="connsiteX4" fmla="*/ 239 w 10635515"/>
              <a:gd name="connsiteY4" fmla="*/ 179182 h 179182"/>
              <a:gd name="connsiteX0" fmla="*/ 239 w 10635515"/>
              <a:gd name="connsiteY0" fmla="*/ 179182 h 179182"/>
              <a:gd name="connsiteX1" fmla="*/ 1488 w 10635515"/>
              <a:gd name="connsiteY1" fmla="*/ 9886 h 179182"/>
              <a:gd name="connsiteX2" fmla="*/ 10635515 w 10635515"/>
              <a:gd name="connsiteY2" fmla="*/ 0 h 179182"/>
              <a:gd name="connsiteX3" fmla="*/ 10224620 w 10635515"/>
              <a:gd name="connsiteY3" fmla="*/ 178449 h 179182"/>
              <a:gd name="connsiteX4" fmla="*/ 239 w 10635515"/>
              <a:gd name="connsiteY4" fmla="*/ 179182 h 179182"/>
              <a:gd name="connsiteX0" fmla="*/ 239 w 10635515"/>
              <a:gd name="connsiteY0" fmla="*/ 174239 h 174239"/>
              <a:gd name="connsiteX1" fmla="*/ 1488 w 10635515"/>
              <a:gd name="connsiteY1" fmla="*/ 4943 h 174239"/>
              <a:gd name="connsiteX2" fmla="*/ 10635515 w 10635515"/>
              <a:gd name="connsiteY2" fmla="*/ 0 h 174239"/>
              <a:gd name="connsiteX3" fmla="*/ 10224620 w 10635515"/>
              <a:gd name="connsiteY3" fmla="*/ 173506 h 174239"/>
              <a:gd name="connsiteX4" fmla="*/ 239 w 10635515"/>
              <a:gd name="connsiteY4" fmla="*/ 174239 h 174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35515" h="174239">
                <a:moveTo>
                  <a:pt x="239" y="174239"/>
                </a:moveTo>
                <a:cubicBezTo>
                  <a:pt x="-932" y="119394"/>
                  <a:pt x="2659" y="59788"/>
                  <a:pt x="1488" y="4943"/>
                </a:cubicBezTo>
                <a:lnTo>
                  <a:pt x="10635515" y="0"/>
                </a:lnTo>
                <a:lnTo>
                  <a:pt x="10224620" y="173506"/>
                </a:lnTo>
                <a:lnTo>
                  <a:pt x="239" y="174239"/>
                </a:lnTo>
                <a:close/>
              </a:path>
            </a:pathLst>
          </a:custGeom>
          <a:pattFill prst="pct70">
            <a:fgClr>
              <a:schemeClr val="bg1">
                <a:lumMod val="75000"/>
              </a:schemeClr>
            </a:fgClr>
            <a:bgClr>
              <a:schemeClr val="bg1"/>
            </a:bgClr>
          </a:patt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11" name="Parallelogram 10"/>
          <p:cNvSpPr/>
          <p:nvPr/>
        </p:nvSpPr>
        <p:spPr>
          <a:xfrm>
            <a:off x="10360480" y="6519067"/>
            <a:ext cx="1831520" cy="330199"/>
          </a:xfrm>
          <a:custGeom>
            <a:avLst/>
            <a:gdLst>
              <a:gd name="connsiteX0" fmla="*/ 0 w 1983938"/>
              <a:gd name="connsiteY0" fmla="*/ 166914 h 166914"/>
              <a:gd name="connsiteX1" fmla="*/ 41729 w 1983938"/>
              <a:gd name="connsiteY1" fmla="*/ 0 h 166914"/>
              <a:gd name="connsiteX2" fmla="*/ 1983938 w 1983938"/>
              <a:gd name="connsiteY2" fmla="*/ 0 h 166914"/>
              <a:gd name="connsiteX3" fmla="*/ 1942210 w 1983938"/>
              <a:gd name="connsiteY3" fmla="*/ 166914 h 166914"/>
              <a:gd name="connsiteX4" fmla="*/ 0 w 1983938"/>
              <a:gd name="connsiteY4" fmla="*/ 166914 h 166914"/>
              <a:gd name="connsiteX0" fmla="*/ 0 w 1942210"/>
              <a:gd name="connsiteY0" fmla="*/ 166914 h 166914"/>
              <a:gd name="connsiteX1" fmla="*/ 41729 w 1942210"/>
              <a:gd name="connsiteY1" fmla="*/ 0 h 166914"/>
              <a:gd name="connsiteX2" fmla="*/ 1910120 w 1942210"/>
              <a:gd name="connsiteY2" fmla="*/ 0 h 166914"/>
              <a:gd name="connsiteX3" fmla="*/ 1942210 w 1942210"/>
              <a:gd name="connsiteY3" fmla="*/ 166914 h 166914"/>
              <a:gd name="connsiteX4" fmla="*/ 0 w 1942210"/>
              <a:gd name="connsiteY4" fmla="*/ 166914 h 166914"/>
              <a:gd name="connsiteX0" fmla="*/ 0 w 1913635"/>
              <a:gd name="connsiteY0" fmla="*/ 166914 h 166914"/>
              <a:gd name="connsiteX1" fmla="*/ 41729 w 1913635"/>
              <a:gd name="connsiteY1" fmla="*/ 0 h 166914"/>
              <a:gd name="connsiteX2" fmla="*/ 1910120 w 1913635"/>
              <a:gd name="connsiteY2" fmla="*/ 0 h 166914"/>
              <a:gd name="connsiteX3" fmla="*/ 1913635 w 1913635"/>
              <a:gd name="connsiteY3" fmla="*/ 166914 h 166914"/>
              <a:gd name="connsiteX4" fmla="*/ 0 w 1913635"/>
              <a:gd name="connsiteY4" fmla="*/ 166914 h 166914"/>
              <a:gd name="connsiteX0" fmla="*/ 0 w 1913635"/>
              <a:gd name="connsiteY0" fmla="*/ 170187 h 170187"/>
              <a:gd name="connsiteX1" fmla="*/ 352879 w 1913635"/>
              <a:gd name="connsiteY1" fmla="*/ 0 h 170187"/>
              <a:gd name="connsiteX2" fmla="*/ 1910120 w 1913635"/>
              <a:gd name="connsiteY2" fmla="*/ 3273 h 170187"/>
              <a:gd name="connsiteX3" fmla="*/ 1913635 w 1913635"/>
              <a:gd name="connsiteY3" fmla="*/ 170187 h 170187"/>
              <a:gd name="connsiteX4" fmla="*/ 0 w 1913635"/>
              <a:gd name="connsiteY4" fmla="*/ 170187 h 1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635" h="170187">
                <a:moveTo>
                  <a:pt x="0" y="170187"/>
                </a:moveTo>
                <a:lnTo>
                  <a:pt x="352879" y="0"/>
                </a:lnTo>
                <a:lnTo>
                  <a:pt x="1910120" y="3273"/>
                </a:lnTo>
                <a:cubicBezTo>
                  <a:pt x="1911292" y="58911"/>
                  <a:pt x="1912463" y="114549"/>
                  <a:pt x="1913635" y="170187"/>
                </a:cubicBezTo>
                <a:lnTo>
                  <a:pt x="0" y="170187"/>
                </a:lnTo>
                <a:close/>
              </a:path>
            </a:pathLst>
          </a:custGeom>
          <a:pattFill prst="pct70">
            <a:fgClr>
              <a:schemeClr val="accent4"/>
            </a:fgClr>
            <a:bgClr>
              <a:schemeClr val="bg1"/>
            </a:bgClr>
          </a:patt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3" name="Parallelogram 12"/>
          <p:cNvSpPr/>
          <p:nvPr/>
        </p:nvSpPr>
        <p:spPr>
          <a:xfrm>
            <a:off x="9680574" y="6524623"/>
            <a:ext cx="841376" cy="330201"/>
          </a:xfrm>
          <a:custGeom>
            <a:avLst/>
            <a:gdLst>
              <a:gd name="connsiteX0" fmla="*/ 0 w 812801"/>
              <a:gd name="connsiteY0" fmla="*/ 333376 h 333376"/>
              <a:gd name="connsiteX1" fmla="*/ 83344 w 812801"/>
              <a:gd name="connsiteY1" fmla="*/ 0 h 333376"/>
              <a:gd name="connsiteX2" fmla="*/ 812801 w 812801"/>
              <a:gd name="connsiteY2" fmla="*/ 0 h 333376"/>
              <a:gd name="connsiteX3" fmla="*/ 729457 w 812801"/>
              <a:gd name="connsiteY3" fmla="*/ 333376 h 333376"/>
              <a:gd name="connsiteX4" fmla="*/ 0 w 812801"/>
              <a:gd name="connsiteY4" fmla="*/ 333376 h 333376"/>
              <a:gd name="connsiteX0" fmla="*/ 0 w 1111251"/>
              <a:gd name="connsiteY0" fmla="*/ 330201 h 333376"/>
              <a:gd name="connsiteX1" fmla="*/ 381794 w 1111251"/>
              <a:gd name="connsiteY1" fmla="*/ 0 h 333376"/>
              <a:gd name="connsiteX2" fmla="*/ 1111251 w 1111251"/>
              <a:gd name="connsiteY2" fmla="*/ 0 h 333376"/>
              <a:gd name="connsiteX3" fmla="*/ 1027907 w 1111251"/>
              <a:gd name="connsiteY3" fmla="*/ 333376 h 333376"/>
              <a:gd name="connsiteX4" fmla="*/ 0 w 1111251"/>
              <a:gd name="connsiteY4" fmla="*/ 330201 h 333376"/>
              <a:gd name="connsiteX0" fmla="*/ 0 w 1111251"/>
              <a:gd name="connsiteY0" fmla="*/ 330201 h 330201"/>
              <a:gd name="connsiteX1" fmla="*/ 381794 w 1111251"/>
              <a:gd name="connsiteY1" fmla="*/ 0 h 330201"/>
              <a:gd name="connsiteX2" fmla="*/ 1111251 w 1111251"/>
              <a:gd name="connsiteY2" fmla="*/ 0 h 330201"/>
              <a:gd name="connsiteX3" fmla="*/ 805657 w 1111251"/>
              <a:gd name="connsiteY3" fmla="*/ 320676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815976"/>
              <a:gd name="connsiteY0" fmla="*/ 330201 h 330201"/>
              <a:gd name="connsiteX1" fmla="*/ 381794 w 815976"/>
              <a:gd name="connsiteY1" fmla="*/ 0 h 330201"/>
              <a:gd name="connsiteX2" fmla="*/ 815976 w 815976"/>
              <a:gd name="connsiteY2" fmla="*/ 0 h 330201"/>
              <a:gd name="connsiteX3" fmla="*/ 450057 w 815976"/>
              <a:gd name="connsiteY3" fmla="*/ 330201 h 330201"/>
              <a:gd name="connsiteX4" fmla="*/ 0 w 815976"/>
              <a:gd name="connsiteY4" fmla="*/ 330201 h 330201"/>
              <a:gd name="connsiteX0" fmla="*/ 0 w 841376"/>
              <a:gd name="connsiteY0" fmla="*/ 330201 h 330201"/>
              <a:gd name="connsiteX1" fmla="*/ 381794 w 841376"/>
              <a:gd name="connsiteY1" fmla="*/ 0 h 330201"/>
              <a:gd name="connsiteX2" fmla="*/ 841376 w 841376"/>
              <a:gd name="connsiteY2" fmla="*/ 0 h 330201"/>
              <a:gd name="connsiteX3" fmla="*/ 450057 w 841376"/>
              <a:gd name="connsiteY3" fmla="*/ 330201 h 330201"/>
              <a:gd name="connsiteX4" fmla="*/ 0 w 841376"/>
              <a:gd name="connsiteY4" fmla="*/ 330201 h 33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376" h="330201">
                <a:moveTo>
                  <a:pt x="0" y="330201"/>
                </a:moveTo>
                <a:lnTo>
                  <a:pt x="381794" y="0"/>
                </a:lnTo>
                <a:lnTo>
                  <a:pt x="841376" y="0"/>
                </a:lnTo>
                <a:lnTo>
                  <a:pt x="450057" y="330201"/>
                </a:lnTo>
                <a:lnTo>
                  <a:pt x="0" y="330201"/>
                </a:lnTo>
                <a:close/>
              </a:path>
            </a:pathLst>
          </a:custGeom>
          <a:pattFill prst="pct70">
            <a:fgClr>
              <a:schemeClr val="accent5">
                <a:lumMod val="50000"/>
              </a:schemeClr>
            </a:fgClr>
            <a:bgClr>
              <a:schemeClr val="bg1"/>
            </a:bgClr>
          </a:patt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A987B35D-F68B-4006-AC19-5A526609671C}"/>
              </a:ext>
            </a:extLst>
          </p:cNvPr>
          <p:cNvSpPr>
            <a:spLocks noGrp="1"/>
          </p:cNvSpPr>
          <p:nvPr>
            <p:ph type="sldNum" sz="quarter" idx="12"/>
          </p:nvPr>
        </p:nvSpPr>
        <p:spPr>
          <a:xfrm>
            <a:off x="9448800" y="6484141"/>
            <a:ext cx="2743200" cy="365125"/>
          </a:xfrm>
        </p:spPr>
        <p:txBody>
          <a:bodyPr anchor="ctr"/>
          <a:lstStyle/>
          <a:p>
            <a:fld id="{87102F09-8F7D-4EC1-9AE5-82CA77F49212}" type="slidenum">
              <a:rPr lang="en-ZA" b="1" smtClean="0">
                <a:solidFill>
                  <a:schemeClr val="tx1"/>
                </a:solidFill>
              </a:rPr>
              <a:t>5</a:t>
            </a:fld>
            <a:endParaRPr lang="en-ZA" b="1">
              <a:solidFill>
                <a:schemeClr val="tx1"/>
              </a:solidFill>
            </a:endParaRPr>
          </a:p>
        </p:txBody>
      </p:sp>
      <p:pic>
        <p:nvPicPr>
          <p:cNvPr id="50" name="Picture 2" descr="Image result for objectives">
            <a:extLst>
              <a:ext uri="{FF2B5EF4-FFF2-40B4-BE49-F238E27FC236}">
                <a16:creationId xmlns:a16="http://schemas.microsoft.com/office/drawing/2014/main" id="{893AA219-9750-4B89-AD79-74D3605ABB7D}"/>
              </a:ext>
            </a:extLst>
          </p:cNvPr>
          <p:cNvPicPr>
            <a:picLocks noChangeAspect="1" noChangeArrowheads="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320925" y="846295"/>
            <a:ext cx="9871076" cy="5672770"/>
          </a:xfrm>
          <a:prstGeom prst="rect">
            <a:avLst/>
          </a:prstGeom>
          <a:noFill/>
          <a:extLst>
            <a:ext uri="{909E8E84-426E-40DD-AFC4-6F175D3DCCD1}">
              <a14:hiddenFill xmlns:a14="http://schemas.microsoft.com/office/drawing/2010/main">
                <a:solidFill>
                  <a:srgbClr val="FFFFFF"/>
                </a:solidFill>
              </a14:hiddenFill>
            </a:ext>
          </a:extLst>
        </p:spPr>
      </p:pic>
      <p:sp>
        <p:nvSpPr>
          <p:cNvPr id="51" name="Rectangle 50">
            <a:extLst>
              <a:ext uri="{FF2B5EF4-FFF2-40B4-BE49-F238E27FC236}">
                <a16:creationId xmlns:a16="http://schemas.microsoft.com/office/drawing/2014/main" id="{E2DCAE28-6A96-409F-8C07-AE734FD7566E}"/>
              </a:ext>
            </a:extLst>
          </p:cNvPr>
          <p:cNvSpPr/>
          <p:nvPr/>
        </p:nvSpPr>
        <p:spPr>
          <a:xfrm>
            <a:off x="30143" y="860363"/>
            <a:ext cx="12161856" cy="5672770"/>
          </a:xfrm>
          <a:prstGeom prst="rect">
            <a:avLst/>
          </a:prstGeom>
          <a:gradFill flip="none" rotWithShape="1">
            <a:gsLst>
              <a:gs pos="15000">
                <a:schemeClr val="bg1"/>
              </a:gs>
              <a:gs pos="74000">
                <a:schemeClr val="bg1">
                  <a:alpha val="79000"/>
                </a:schemeClr>
              </a:gs>
              <a:gs pos="100000">
                <a:schemeClr val="bg1">
                  <a:alpha val="62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a:solidFill>
                <a:schemeClr val="bg1"/>
              </a:solidFill>
              <a:latin typeface="+mj-lt"/>
            </a:endParaRPr>
          </a:p>
        </p:txBody>
      </p:sp>
      <p:sp>
        <p:nvSpPr>
          <p:cNvPr id="6" name="TextBox 5">
            <a:extLst>
              <a:ext uri="{FF2B5EF4-FFF2-40B4-BE49-F238E27FC236}">
                <a16:creationId xmlns:a16="http://schemas.microsoft.com/office/drawing/2014/main" id="{BF050804-8493-4331-A3A9-B798516D548C}"/>
              </a:ext>
            </a:extLst>
          </p:cNvPr>
          <p:cNvSpPr txBox="1"/>
          <p:nvPr/>
        </p:nvSpPr>
        <p:spPr>
          <a:xfrm>
            <a:off x="463827" y="904659"/>
            <a:ext cx="11542644" cy="4247317"/>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en-GB"/>
              <a:t>The National Housing Finance Corporation SOC Ltd (NHFC) is a Schedule 3A Public Entity, supporting housing delivery through the provision of affordable housing finance.</a:t>
            </a:r>
          </a:p>
          <a:p>
            <a:pPr marL="285750" indent="-285750">
              <a:buFont typeface="Arial" panose="020B0604020202020204" pitchFamily="34" charset="0"/>
              <a:buChar char="•"/>
            </a:pPr>
            <a:endParaRPr lang="en-GB"/>
          </a:p>
          <a:p>
            <a:pPr marL="285750" indent="-285750">
              <a:buFont typeface="Arial" panose="020B0604020202020204" pitchFamily="34" charset="0"/>
              <a:buChar char="•"/>
            </a:pPr>
            <a:r>
              <a:rPr lang="en-GB"/>
              <a:t>Target Market : low- to middle-income housing  market with regular monthly income of between  </a:t>
            </a:r>
            <a:r>
              <a:rPr lang="en-GB" b="1"/>
              <a:t>R800 and R22 000</a:t>
            </a:r>
            <a:endParaRPr lang="en-GB" b="1">
              <a:cs typeface="Calibri"/>
            </a:endParaRPr>
          </a:p>
          <a:p>
            <a:pPr marL="285750" indent="-285750">
              <a:buFont typeface="Arial" panose="020B0604020202020204" pitchFamily="34" charset="0"/>
              <a:buChar char="•"/>
            </a:pPr>
            <a:endParaRPr lang="en-GB"/>
          </a:p>
          <a:p>
            <a:pPr marL="285750" indent="-285750">
              <a:buFont typeface="Arial" panose="020B0604020202020204" pitchFamily="34" charset="0"/>
              <a:buChar char="•"/>
            </a:pPr>
            <a:r>
              <a:rPr lang="en-GB"/>
              <a:t>Effective from 1 October 2018, the Rural Housing Loan Fund NPC (RHLF) and the National Urban Reconstruction and Housing Agency NPC (NURCHA) merged into the NHFC. </a:t>
            </a:r>
          </a:p>
          <a:p>
            <a:pPr marL="285750" indent="-285750">
              <a:buFont typeface="Arial" panose="020B0604020202020204" pitchFamily="34" charset="0"/>
              <a:buChar char="•"/>
            </a:pPr>
            <a:endParaRPr lang="en-GB">
              <a:cs typeface="Calibri" panose="020F0502020204030204"/>
            </a:endParaRPr>
          </a:p>
          <a:p>
            <a:pPr marL="285750" indent="-285750">
              <a:buFont typeface="Arial" panose="020B0604020202020204" pitchFamily="34" charset="0"/>
              <a:buChar char="•"/>
            </a:pPr>
            <a:r>
              <a:rPr lang="en-GB"/>
              <a:t>This merger was a crucial step towards the formation of the Human Settlements Development Bank (HSDB) </a:t>
            </a:r>
            <a:endParaRPr lang="en-GB">
              <a:cs typeface="Calibri"/>
            </a:endParaRPr>
          </a:p>
          <a:p>
            <a:pPr marL="285750" indent="-285750">
              <a:buFont typeface="Arial" panose="020B0604020202020204" pitchFamily="34" charset="0"/>
              <a:buChar char="•"/>
            </a:pPr>
            <a:endParaRPr lang="en-GB"/>
          </a:p>
          <a:p>
            <a:pPr marL="285750" indent="-285750">
              <a:buFont typeface="Arial" panose="020B0604020202020204" pitchFamily="34" charset="0"/>
              <a:buChar char="•"/>
            </a:pPr>
            <a:r>
              <a:rPr lang="en-GB"/>
              <a:t>HSDB aims to deliver sustained, equitable and accessible value creation by effectively and efficiently providing quality funding and financial support for the development of integrated human settlements in South Africa.</a:t>
            </a:r>
            <a:endParaRPr lang="en-GB">
              <a:cs typeface="Calibri"/>
            </a:endParaRPr>
          </a:p>
          <a:p>
            <a:pPr marL="285750" indent="-285750">
              <a:buFont typeface="Arial" panose="020B0604020202020204" pitchFamily="34" charset="0"/>
              <a:buChar char="•"/>
            </a:pPr>
            <a:endParaRPr lang="en-GB"/>
          </a:p>
          <a:p>
            <a:pPr marL="285750" indent="-285750">
              <a:buFont typeface="Arial" panose="020B0604020202020204" pitchFamily="34" charset="0"/>
              <a:buChar char="•"/>
            </a:pPr>
            <a:endParaRPr lang="en-GB"/>
          </a:p>
          <a:p>
            <a:pPr marL="285750" indent="-285750">
              <a:buFont typeface="Arial" panose="020B0604020202020204" pitchFamily="34" charset="0"/>
              <a:buChar char="•"/>
            </a:pPr>
            <a:endParaRPr lang="en-ZA"/>
          </a:p>
        </p:txBody>
      </p:sp>
      <p:sp>
        <p:nvSpPr>
          <p:cNvPr id="10" name="Flowchart: Connector 9">
            <a:extLst>
              <a:ext uri="{FF2B5EF4-FFF2-40B4-BE49-F238E27FC236}">
                <a16:creationId xmlns:a16="http://schemas.microsoft.com/office/drawing/2014/main" id="{7A0750B0-C005-4258-9434-E45A0544A73C}"/>
              </a:ext>
            </a:extLst>
          </p:cNvPr>
          <p:cNvSpPr/>
          <p:nvPr/>
        </p:nvSpPr>
        <p:spPr>
          <a:xfrm>
            <a:off x="5086429" y="4350808"/>
            <a:ext cx="1033669" cy="987048"/>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a:t>2018</a:t>
            </a:r>
          </a:p>
        </p:txBody>
      </p:sp>
      <p:sp>
        <p:nvSpPr>
          <p:cNvPr id="12" name="Flowchart: Connector 11">
            <a:extLst>
              <a:ext uri="{FF2B5EF4-FFF2-40B4-BE49-F238E27FC236}">
                <a16:creationId xmlns:a16="http://schemas.microsoft.com/office/drawing/2014/main" id="{412B0A84-4EC7-439D-9852-683F5DE7251A}"/>
              </a:ext>
            </a:extLst>
          </p:cNvPr>
          <p:cNvSpPr/>
          <p:nvPr/>
        </p:nvSpPr>
        <p:spPr>
          <a:xfrm>
            <a:off x="2204688" y="4402174"/>
            <a:ext cx="1033670" cy="97675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a:t>1996</a:t>
            </a:r>
          </a:p>
        </p:txBody>
      </p:sp>
      <p:cxnSp>
        <p:nvCxnSpPr>
          <p:cNvPr id="17" name="Straight Connector 16">
            <a:extLst>
              <a:ext uri="{FF2B5EF4-FFF2-40B4-BE49-F238E27FC236}">
                <a16:creationId xmlns:a16="http://schemas.microsoft.com/office/drawing/2014/main" id="{686676AB-2F94-4E6F-8D3C-15F3938E97DE}"/>
              </a:ext>
            </a:extLst>
          </p:cNvPr>
          <p:cNvCxnSpPr/>
          <p:nvPr/>
        </p:nvCxnSpPr>
        <p:spPr>
          <a:xfrm>
            <a:off x="2721521" y="5166064"/>
            <a:ext cx="0" cy="507360"/>
          </a:xfrm>
          <a:prstGeom prst="line">
            <a:avLst/>
          </a:prstGeom>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EBF8D111-3827-469B-B0EA-4731B835FEAD}"/>
              </a:ext>
            </a:extLst>
          </p:cNvPr>
          <p:cNvSpPr txBox="1"/>
          <p:nvPr/>
        </p:nvSpPr>
        <p:spPr>
          <a:xfrm>
            <a:off x="1838614" y="5677053"/>
            <a:ext cx="1795949" cy="584775"/>
          </a:xfrm>
          <a:prstGeom prst="rect">
            <a:avLst/>
          </a:prstGeom>
          <a:noFill/>
          <a:ln>
            <a:solidFill>
              <a:schemeClr val="accent1"/>
            </a:solidFill>
          </a:ln>
        </p:spPr>
        <p:txBody>
          <a:bodyPr wrap="square" rtlCol="0">
            <a:spAutoFit/>
          </a:bodyPr>
          <a:lstStyle/>
          <a:p>
            <a:pPr algn="ctr"/>
            <a:r>
              <a:rPr lang="en-ZA" sz="1600"/>
              <a:t>Establishment of the NHFC</a:t>
            </a:r>
          </a:p>
        </p:txBody>
      </p:sp>
      <p:cxnSp>
        <p:nvCxnSpPr>
          <p:cNvPr id="24" name="Straight Connector 23">
            <a:extLst>
              <a:ext uri="{FF2B5EF4-FFF2-40B4-BE49-F238E27FC236}">
                <a16:creationId xmlns:a16="http://schemas.microsoft.com/office/drawing/2014/main" id="{D4F4A7DE-B571-463D-9635-126A7E26057E}"/>
              </a:ext>
            </a:extLst>
          </p:cNvPr>
          <p:cNvCxnSpPr/>
          <p:nvPr/>
        </p:nvCxnSpPr>
        <p:spPr>
          <a:xfrm>
            <a:off x="5572537" y="5201765"/>
            <a:ext cx="0" cy="507360"/>
          </a:xfrm>
          <a:prstGeom prst="line">
            <a:avLst/>
          </a:prstGeom>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C7C192BB-6872-4663-99DD-AE1A43CF16D9}"/>
              </a:ext>
            </a:extLst>
          </p:cNvPr>
          <p:cNvSpPr txBox="1"/>
          <p:nvPr/>
        </p:nvSpPr>
        <p:spPr>
          <a:xfrm>
            <a:off x="4518991" y="5709125"/>
            <a:ext cx="2246243" cy="584775"/>
          </a:xfrm>
          <a:prstGeom prst="rect">
            <a:avLst/>
          </a:prstGeom>
          <a:noFill/>
          <a:ln>
            <a:solidFill>
              <a:schemeClr val="accent1"/>
            </a:solidFill>
          </a:ln>
        </p:spPr>
        <p:txBody>
          <a:bodyPr wrap="square" lIns="91440" tIns="45720" rIns="91440" bIns="45720" rtlCol="0" anchor="t">
            <a:spAutoFit/>
          </a:bodyPr>
          <a:lstStyle/>
          <a:p>
            <a:pPr algn="ctr"/>
            <a:r>
              <a:rPr lang="en-GB" sz="1600"/>
              <a:t>RHLF &amp; NURCHA merged into NHFC</a:t>
            </a:r>
          </a:p>
        </p:txBody>
      </p:sp>
      <p:sp>
        <p:nvSpPr>
          <p:cNvPr id="23" name="Flowchart: Connector 22">
            <a:extLst>
              <a:ext uri="{FF2B5EF4-FFF2-40B4-BE49-F238E27FC236}">
                <a16:creationId xmlns:a16="http://schemas.microsoft.com/office/drawing/2014/main" id="{BD66630E-1CC5-4C73-ABF9-5A24A4EAF819}"/>
              </a:ext>
            </a:extLst>
          </p:cNvPr>
          <p:cNvSpPr/>
          <p:nvPr/>
        </p:nvSpPr>
        <p:spPr>
          <a:xfrm>
            <a:off x="7760336" y="4365466"/>
            <a:ext cx="1063814" cy="97675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dirty="0"/>
              <a:t>2021</a:t>
            </a:r>
          </a:p>
        </p:txBody>
      </p:sp>
      <p:cxnSp>
        <p:nvCxnSpPr>
          <p:cNvPr id="29" name="Straight Connector 28">
            <a:extLst>
              <a:ext uri="{FF2B5EF4-FFF2-40B4-BE49-F238E27FC236}">
                <a16:creationId xmlns:a16="http://schemas.microsoft.com/office/drawing/2014/main" id="{64FCB148-B5B8-4C3C-BA86-8CD1F9FBF87D}"/>
              </a:ext>
            </a:extLst>
          </p:cNvPr>
          <p:cNvCxnSpPr/>
          <p:nvPr/>
        </p:nvCxnSpPr>
        <p:spPr>
          <a:xfrm>
            <a:off x="8308808" y="5274109"/>
            <a:ext cx="0" cy="507360"/>
          </a:xfrm>
          <a:prstGeom prst="line">
            <a:avLst/>
          </a:prstGeom>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38AE8616-7301-43AA-9832-35AC8D3FB528}"/>
              </a:ext>
            </a:extLst>
          </p:cNvPr>
          <p:cNvSpPr txBox="1"/>
          <p:nvPr/>
        </p:nvSpPr>
        <p:spPr>
          <a:xfrm>
            <a:off x="7217729" y="5762770"/>
            <a:ext cx="2231071" cy="584775"/>
          </a:xfrm>
          <a:prstGeom prst="rect">
            <a:avLst/>
          </a:prstGeom>
          <a:noFill/>
          <a:ln>
            <a:solidFill>
              <a:schemeClr val="accent1"/>
            </a:solidFill>
          </a:ln>
        </p:spPr>
        <p:txBody>
          <a:bodyPr wrap="square" rtlCol="0">
            <a:spAutoFit/>
          </a:bodyPr>
          <a:lstStyle/>
          <a:p>
            <a:pPr algn="ctr"/>
            <a:r>
              <a:rPr lang="en-GB" sz="1600"/>
              <a:t>Establishment of HSDB</a:t>
            </a:r>
          </a:p>
          <a:p>
            <a:pPr algn="ctr"/>
            <a:endParaRPr lang="en-GB" sz="1600"/>
          </a:p>
        </p:txBody>
      </p:sp>
      <p:cxnSp>
        <p:nvCxnSpPr>
          <p:cNvPr id="31" name="Straight Connector 30">
            <a:extLst>
              <a:ext uri="{FF2B5EF4-FFF2-40B4-BE49-F238E27FC236}">
                <a16:creationId xmlns:a16="http://schemas.microsoft.com/office/drawing/2014/main" id="{5DE5C1CE-7A40-4A1E-99B4-79859B647B75}"/>
              </a:ext>
            </a:extLst>
          </p:cNvPr>
          <p:cNvCxnSpPr>
            <a:cxnSpLocks/>
          </p:cNvCxnSpPr>
          <p:nvPr/>
        </p:nvCxnSpPr>
        <p:spPr>
          <a:xfrm flipV="1">
            <a:off x="3238358" y="4824525"/>
            <a:ext cx="1857098" cy="39614"/>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A1313C6-06EF-4E6D-B8EC-3358B6F12CDD}"/>
              </a:ext>
            </a:extLst>
          </p:cNvPr>
          <p:cNvCxnSpPr/>
          <p:nvPr/>
        </p:nvCxnSpPr>
        <p:spPr>
          <a:xfrm>
            <a:off x="6111071" y="4853841"/>
            <a:ext cx="1649263"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20956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1" y="-3231"/>
            <a:ext cx="12192001" cy="805723"/>
          </a:xfrm>
          <a:prstGeom prst="rect">
            <a:avLst/>
          </a:prstGeom>
          <a:solidFill>
            <a:srgbClr val="00266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rtlCol="0" anchor="ctr">
            <a:noAutofit/>
            <a:scene3d>
              <a:camera prst="orthographicFront"/>
              <a:lightRig rig="soft" dir="t"/>
            </a:scene3d>
            <a:sp3d prstMaterial="softEdge">
              <a:bevelT w="25400" h="25400"/>
            </a:sp3d>
          </a:bodyPr>
          <a:lstStyle>
            <a:lvl1pPr algn="r" rtl="0" eaLnBrk="1" latinLnBrk="0" hangingPunct="1">
              <a:spcBef>
                <a:spcPct val="0"/>
              </a:spcBef>
              <a:buNone/>
              <a:defRPr kumimoji="0" sz="3200" b="1" kern="1200">
                <a:solidFill>
                  <a:srgbClr val="9A9B9C"/>
                </a:solidFill>
                <a:effectLst>
                  <a:outerShdw blurRad="31750" dist="25400" dir="5400000" algn="tl" rotWithShape="0">
                    <a:srgbClr val="000000">
                      <a:alpha val="25000"/>
                    </a:srgbClr>
                  </a:outerShdw>
                </a:effectLst>
                <a:latin typeface="+mn-lt"/>
                <a:ea typeface="+mj-ea"/>
                <a:cs typeface="+mj-cs"/>
              </a:defRPr>
            </a:lvl1pPr>
            <a:lvl2pPr>
              <a:defRPr/>
            </a:lvl2pPr>
            <a:lvl3pPr>
              <a:defRPr/>
            </a:lvl3pPr>
            <a:lvl4pPr>
              <a:defRPr/>
            </a:lvl4pPr>
            <a:lvl5pPr>
              <a:defRPr/>
            </a:lvl5pPr>
            <a:lvl6pPr>
              <a:defRPr/>
            </a:lvl6pPr>
            <a:lvl7pPr>
              <a:defRPr/>
            </a:lvl7pPr>
            <a:lvl8pPr>
              <a:defRPr/>
            </a:lvl8pPr>
            <a:lvl9pPr>
              <a:defRPr/>
            </a:lvl9pPr>
            <a:extLst/>
          </a:lstStyle>
          <a:p>
            <a:pPr marL="354013" indent="7938" algn="ctr"/>
            <a:r>
              <a:rPr lang="en-GB" sz="4000" kern="0">
                <a:solidFill>
                  <a:prstClr val="white"/>
                </a:solidFill>
                <a:latin typeface="Arial" panose="020B0604020202020204" pitchFamily="34" charset="0"/>
                <a:cs typeface="Arial" panose="020B0604020202020204" pitchFamily="34" charset="0"/>
              </a:rPr>
              <a:t>Our Value Proposition</a:t>
            </a:r>
          </a:p>
        </p:txBody>
      </p:sp>
      <p:sp>
        <p:nvSpPr>
          <p:cNvPr id="8" name="Parallelogram 7"/>
          <p:cNvSpPr/>
          <p:nvPr/>
        </p:nvSpPr>
        <p:spPr>
          <a:xfrm>
            <a:off x="-2" y="6519067"/>
            <a:ext cx="9871077" cy="335757"/>
          </a:xfrm>
          <a:custGeom>
            <a:avLst/>
            <a:gdLst>
              <a:gd name="connsiteX0" fmla="*/ 0 w 10188575"/>
              <a:gd name="connsiteY0" fmla="*/ 166915 h 166915"/>
              <a:gd name="connsiteX1" fmla="*/ 41729 w 10188575"/>
              <a:gd name="connsiteY1" fmla="*/ 0 h 166915"/>
              <a:gd name="connsiteX2" fmla="*/ 10188575 w 10188575"/>
              <a:gd name="connsiteY2" fmla="*/ 0 h 166915"/>
              <a:gd name="connsiteX3" fmla="*/ 10146846 w 10188575"/>
              <a:gd name="connsiteY3" fmla="*/ 166915 h 166915"/>
              <a:gd name="connsiteX4" fmla="*/ 0 w 10188575"/>
              <a:gd name="connsiteY4" fmla="*/ 166915 h 166915"/>
              <a:gd name="connsiteX0" fmla="*/ 17802 w 10146846"/>
              <a:gd name="connsiteY0" fmla="*/ 166915 h 166915"/>
              <a:gd name="connsiteX1" fmla="*/ 0 w 10146846"/>
              <a:gd name="connsiteY1" fmla="*/ 0 h 166915"/>
              <a:gd name="connsiteX2" fmla="*/ 10146846 w 10146846"/>
              <a:gd name="connsiteY2" fmla="*/ 0 h 166915"/>
              <a:gd name="connsiteX3" fmla="*/ 10105117 w 10146846"/>
              <a:gd name="connsiteY3" fmla="*/ 166915 h 166915"/>
              <a:gd name="connsiteX4" fmla="*/ 17802 w 10146846"/>
              <a:gd name="connsiteY4" fmla="*/ 166915 h 166915"/>
              <a:gd name="connsiteX0" fmla="*/ 3514 w 10132558"/>
              <a:gd name="connsiteY0" fmla="*/ 166915 h 166915"/>
              <a:gd name="connsiteX1" fmla="*/ 0 w 10132558"/>
              <a:gd name="connsiteY1" fmla="*/ 2381 h 166915"/>
              <a:gd name="connsiteX2" fmla="*/ 10132558 w 10132558"/>
              <a:gd name="connsiteY2" fmla="*/ 0 h 166915"/>
              <a:gd name="connsiteX3" fmla="*/ 10090829 w 10132558"/>
              <a:gd name="connsiteY3" fmla="*/ 166915 h 166915"/>
              <a:gd name="connsiteX4" fmla="*/ 3514 w 10132558"/>
              <a:gd name="connsiteY4" fmla="*/ 166915 h 166915"/>
              <a:gd name="connsiteX0" fmla="*/ 154 w 10129198"/>
              <a:gd name="connsiteY0" fmla="*/ 166915 h 166915"/>
              <a:gd name="connsiteX1" fmla="*/ 3784 w 10129198"/>
              <a:gd name="connsiteY1" fmla="*/ 0 h 166915"/>
              <a:gd name="connsiteX2" fmla="*/ 10129198 w 10129198"/>
              <a:gd name="connsiteY2" fmla="*/ 0 h 166915"/>
              <a:gd name="connsiteX3" fmla="*/ 10087469 w 10129198"/>
              <a:gd name="connsiteY3" fmla="*/ 166915 h 166915"/>
              <a:gd name="connsiteX4" fmla="*/ 154 w 10129198"/>
              <a:gd name="connsiteY4" fmla="*/ 166915 h 166915"/>
              <a:gd name="connsiteX0" fmla="*/ 239 w 10126902"/>
              <a:gd name="connsiteY0" fmla="*/ 169296 h 169296"/>
              <a:gd name="connsiteX1" fmla="*/ 1488 w 10126902"/>
              <a:gd name="connsiteY1" fmla="*/ 0 h 169296"/>
              <a:gd name="connsiteX2" fmla="*/ 10126902 w 10126902"/>
              <a:gd name="connsiteY2" fmla="*/ 0 h 169296"/>
              <a:gd name="connsiteX3" fmla="*/ 10085173 w 10126902"/>
              <a:gd name="connsiteY3" fmla="*/ 166915 h 169296"/>
              <a:gd name="connsiteX4" fmla="*/ 239 w 10126902"/>
              <a:gd name="connsiteY4" fmla="*/ 169296 h 169296"/>
              <a:gd name="connsiteX0" fmla="*/ 239 w 10425352"/>
              <a:gd name="connsiteY0" fmla="*/ 175887 h 175887"/>
              <a:gd name="connsiteX1" fmla="*/ 1488 w 10425352"/>
              <a:gd name="connsiteY1" fmla="*/ 6591 h 175887"/>
              <a:gd name="connsiteX2" fmla="*/ 10425352 w 10425352"/>
              <a:gd name="connsiteY2" fmla="*/ 0 h 175887"/>
              <a:gd name="connsiteX3" fmla="*/ 10085173 w 10425352"/>
              <a:gd name="connsiteY3" fmla="*/ 173506 h 175887"/>
              <a:gd name="connsiteX4" fmla="*/ 239 w 10425352"/>
              <a:gd name="connsiteY4" fmla="*/ 175887 h 175887"/>
              <a:gd name="connsiteX0" fmla="*/ 239 w 10635515"/>
              <a:gd name="connsiteY0" fmla="*/ 179182 h 179182"/>
              <a:gd name="connsiteX1" fmla="*/ 1488 w 10635515"/>
              <a:gd name="connsiteY1" fmla="*/ 9886 h 179182"/>
              <a:gd name="connsiteX2" fmla="*/ 10635515 w 10635515"/>
              <a:gd name="connsiteY2" fmla="*/ 0 h 179182"/>
              <a:gd name="connsiteX3" fmla="*/ 10085173 w 10635515"/>
              <a:gd name="connsiteY3" fmla="*/ 176801 h 179182"/>
              <a:gd name="connsiteX4" fmla="*/ 239 w 10635515"/>
              <a:gd name="connsiteY4" fmla="*/ 179182 h 179182"/>
              <a:gd name="connsiteX0" fmla="*/ 239 w 10635515"/>
              <a:gd name="connsiteY0" fmla="*/ 179182 h 179182"/>
              <a:gd name="connsiteX1" fmla="*/ 1488 w 10635515"/>
              <a:gd name="connsiteY1" fmla="*/ 9886 h 179182"/>
              <a:gd name="connsiteX2" fmla="*/ 10635515 w 10635515"/>
              <a:gd name="connsiteY2" fmla="*/ 0 h 179182"/>
              <a:gd name="connsiteX3" fmla="*/ 10224620 w 10635515"/>
              <a:gd name="connsiteY3" fmla="*/ 178449 h 179182"/>
              <a:gd name="connsiteX4" fmla="*/ 239 w 10635515"/>
              <a:gd name="connsiteY4" fmla="*/ 179182 h 179182"/>
              <a:gd name="connsiteX0" fmla="*/ 239 w 10635515"/>
              <a:gd name="connsiteY0" fmla="*/ 174239 h 174239"/>
              <a:gd name="connsiteX1" fmla="*/ 1488 w 10635515"/>
              <a:gd name="connsiteY1" fmla="*/ 4943 h 174239"/>
              <a:gd name="connsiteX2" fmla="*/ 10635515 w 10635515"/>
              <a:gd name="connsiteY2" fmla="*/ 0 h 174239"/>
              <a:gd name="connsiteX3" fmla="*/ 10224620 w 10635515"/>
              <a:gd name="connsiteY3" fmla="*/ 173506 h 174239"/>
              <a:gd name="connsiteX4" fmla="*/ 239 w 10635515"/>
              <a:gd name="connsiteY4" fmla="*/ 174239 h 174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35515" h="174239">
                <a:moveTo>
                  <a:pt x="239" y="174239"/>
                </a:moveTo>
                <a:cubicBezTo>
                  <a:pt x="-932" y="119394"/>
                  <a:pt x="2659" y="59788"/>
                  <a:pt x="1488" y="4943"/>
                </a:cubicBezTo>
                <a:lnTo>
                  <a:pt x="10635515" y="0"/>
                </a:lnTo>
                <a:lnTo>
                  <a:pt x="10224620" y="173506"/>
                </a:lnTo>
                <a:lnTo>
                  <a:pt x="239" y="174239"/>
                </a:lnTo>
                <a:close/>
              </a:path>
            </a:pathLst>
          </a:custGeom>
          <a:pattFill prst="pct70">
            <a:fgClr>
              <a:schemeClr val="bg1">
                <a:lumMod val="75000"/>
              </a:schemeClr>
            </a:fgClr>
            <a:bgClr>
              <a:schemeClr val="bg1"/>
            </a:bgClr>
          </a:patt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11" name="Parallelogram 10"/>
          <p:cNvSpPr/>
          <p:nvPr/>
        </p:nvSpPr>
        <p:spPr>
          <a:xfrm>
            <a:off x="10360480" y="6519067"/>
            <a:ext cx="1831520" cy="330199"/>
          </a:xfrm>
          <a:custGeom>
            <a:avLst/>
            <a:gdLst>
              <a:gd name="connsiteX0" fmla="*/ 0 w 1983938"/>
              <a:gd name="connsiteY0" fmla="*/ 166914 h 166914"/>
              <a:gd name="connsiteX1" fmla="*/ 41729 w 1983938"/>
              <a:gd name="connsiteY1" fmla="*/ 0 h 166914"/>
              <a:gd name="connsiteX2" fmla="*/ 1983938 w 1983938"/>
              <a:gd name="connsiteY2" fmla="*/ 0 h 166914"/>
              <a:gd name="connsiteX3" fmla="*/ 1942210 w 1983938"/>
              <a:gd name="connsiteY3" fmla="*/ 166914 h 166914"/>
              <a:gd name="connsiteX4" fmla="*/ 0 w 1983938"/>
              <a:gd name="connsiteY4" fmla="*/ 166914 h 166914"/>
              <a:gd name="connsiteX0" fmla="*/ 0 w 1942210"/>
              <a:gd name="connsiteY0" fmla="*/ 166914 h 166914"/>
              <a:gd name="connsiteX1" fmla="*/ 41729 w 1942210"/>
              <a:gd name="connsiteY1" fmla="*/ 0 h 166914"/>
              <a:gd name="connsiteX2" fmla="*/ 1910120 w 1942210"/>
              <a:gd name="connsiteY2" fmla="*/ 0 h 166914"/>
              <a:gd name="connsiteX3" fmla="*/ 1942210 w 1942210"/>
              <a:gd name="connsiteY3" fmla="*/ 166914 h 166914"/>
              <a:gd name="connsiteX4" fmla="*/ 0 w 1942210"/>
              <a:gd name="connsiteY4" fmla="*/ 166914 h 166914"/>
              <a:gd name="connsiteX0" fmla="*/ 0 w 1913635"/>
              <a:gd name="connsiteY0" fmla="*/ 166914 h 166914"/>
              <a:gd name="connsiteX1" fmla="*/ 41729 w 1913635"/>
              <a:gd name="connsiteY1" fmla="*/ 0 h 166914"/>
              <a:gd name="connsiteX2" fmla="*/ 1910120 w 1913635"/>
              <a:gd name="connsiteY2" fmla="*/ 0 h 166914"/>
              <a:gd name="connsiteX3" fmla="*/ 1913635 w 1913635"/>
              <a:gd name="connsiteY3" fmla="*/ 166914 h 166914"/>
              <a:gd name="connsiteX4" fmla="*/ 0 w 1913635"/>
              <a:gd name="connsiteY4" fmla="*/ 166914 h 166914"/>
              <a:gd name="connsiteX0" fmla="*/ 0 w 1913635"/>
              <a:gd name="connsiteY0" fmla="*/ 170187 h 170187"/>
              <a:gd name="connsiteX1" fmla="*/ 352879 w 1913635"/>
              <a:gd name="connsiteY1" fmla="*/ 0 h 170187"/>
              <a:gd name="connsiteX2" fmla="*/ 1910120 w 1913635"/>
              <a:gd name="connsiteY2" fmla="*/ 3273 h 170187"/>
              <a:gd name="connsiteX3" fmla="*/ 1913635 w 1913635"/>
              <a:gd name="connsiteY3" fmla="*/ 170187 h 170187"/>
              <a:gd name="connsiteX4" fmla="*/ 0 w 1913635"/>
              <a:gd name="connsiteY4" fmla="*/ 170187 h 1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635" h="170187">
                <a:moveTo>
                  <a:pt x="0" y="170187"/>
                </a:moveTo>
                <a:lnTo>
                  <a:pt x="352879" y="0"/>
                </a:lnTo>
                <a:lnTo>
                  <a:pt x="1910120" y="3273"/>
                </a:lnTo>
                <a:cubicBezTo>
                  <a:pt x="1911292" y="58911"/>
                  <a:pt x="1912463" y="114549"/>
                  <a:pt x="1913635" y="170187"/>
                </a:cubicBezTo>
                <a:lnTo>
                  <a:pt x="0" y="170187"/>
                </a:lnTo>
                <a:close/>
              </a:path>
            </a:pathLst>
          </a:custGeom>
          <a:pattFill prst="pct70">
            <a:fgClr>
              <a:schemeClr val="accent4"/>
            </a:fgClr>
            <a:bgClr>
              <a:schemeClr val="bg1"/>
            </a:bgClr>
          </a:patt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3" name="Parallelogram 12"/>
          <p:cNvSpPr/>
          <p:nvPr/>
        </p:nvSpPr>
        <p:spPr>
          <a:xfrm>
            <a:off x="9680574" y="6524623"/>
            <a:ext cx="841376" cy="330201"/>
          </a:xfrm>
          <a:custGeom>
            <a:avLst/>
            <a:gdLst>
              <a:gd name="connsiteX0" fmla="*/ 0 w 812801"/>
              <a:gd name="connsiteY0" fmla="*/ 333376 h 333376"/>
              <a:gd name="connsiteX1" fmla="*/ 83344 w 812801"/>
              <a:gd name="connsiteY1" fmla="*/ 0 h 333376"/>
              <a:gd name="connsiteX2" fmla="*/ 812801 w 812801"/>
              <a:gd name="connsiteY2" fmla="*/ 0 h 333376"/>
              <a:gd name="connsiteX3" fmla="*/ 729457 w 812801"/>
              <a:gd name="connsiteY3" fmla="*/ 333376 h 333376"/>
              <a:gd name="connsiteX4" fmla="*/ 0 w 812801"/>
              <a:gd name="connsiteY4" fmla="*/ 333376 h 333376"/>
              <a:gd name="connsiteX0" fmla="*/ 0 w 1111251"/>
              <a:gd name="connsiteY0" fmla="*/ 330201 h 333376"/>
              <a:gd name="connsiteX1" fmla="*/ 381794 w 1111251"/>
              <a:gd name="connsiteY1" fmla="*/ 0 h 333376"/>
              <a:gd name="connsiteX2" fmla="*/ 1111251 w 1111251"/>
              <a:gd name="connsiteY2" fmla="*/ 0 h 333376"/>
              <a:gd name="connsiteX3" fmla="*/ 1027907 w 1111251"/>
              <a:gd name="connsiteY3" fmla="*/ 333376 h 333376"/>
              <a:gd name="connsiteX4" fmla="*/ 0 w 1111251"/>
              <a:gd name="connsiteY4" fmla="*/ 330201 h 333376"/>
              <a:gd name="connsiteX0" fmla="*/ 0 w 1111251"/>
              <a:gd name="connsiteY0" fmla="*/ 330201 h 330201"/>
              <a:gd name="connsiteX1" fmla="*/ 381794 w 1111251"/>
              <a:gd name="connsiteY1" fmla="*/ 0 h 330201"/>
              <a:gd name="connsiteX2" fmla="*/ 1111251 w 1111251"/>
              <a:gd name="connsiteY2" fmla="*/ 0 h 330201"/>
              <a:gd name="connsiteX3" fmla="*/ 805657 w 1111251"/>
              <a:gd name="connsiteY3" fmla="*/ 320676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815976"/>
              <a:gd name="connsiteY0" fmla="*/ 330201 h 330201"/>
              <a:gd name="connsiteX1" fmla="*/ 381794 w 815976"/>
              <a:gd name="connsiteY1" fmla="*/ 0 h 330201"/>
              <a:gd name="connsiteX2" fmla="*/ 815976 w 815976"/>
              <a:gd name="connsiteY2" fmla="*/ 0 h 330201"/>
              <a:gd name="connsiteX3" fmla="*/ 450057 w 815976"/>
              <a:gd name="connsiteY3" fmla="*/ 330201 h 330201"/>
              <a:gd name="connsiteX4" fmla="*/ 0 w 815976"/>
              <a:gd name="connsiteY4" fmla="*/ 330201 h 330201"/>
              <a:gd name="connsiteX0" fmla="*/ 0 w 841376"/>
              <a:gd name="connsiteY0" fmla="*/ 330201 h 330201"/>
              <a:gd name="connsiteX1" fmla="*/ 381794 w 841376"/>
              <a:gd name="connsiteY1" fmla="*/ 0 h 330201"/>
              <a:gd name="connsiteX2" fmla="*/ 841376 w 841376"/>
              <a:gd name="connsiteY2" fmla="*/ 0 h 330201"/>
              <a:gd name="connsiteX3" fmla="*/ 450057 w 841376"/>
              <a:gd name="connsiteY3" fmla="*/ 330201 h 330201"/>
              <a:gd name="connsiteX4" fmla="*/ 0 w 841376"/>
              <a:gd name="connsiteY4" fmla="*/ 330201 h 33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376" h="330201">
                <a:moveTo>
                  <a:pt x="0" y="330201"/>
                </a:moveTo>
                <a:lnTo>
                  <a:pt x="381794" y="0"/>
                </a:lnTo>
                <a:lnTo>
                  <a:pt x="841376" y="0"/>
                </a:lnTo>
                <a:lnTo>
                  <a:pt x="450057" y="330201"/>
                </a:lnTo>
                <a:lnTo>
                  <a:pt x="0" y="330201"/>
                </a:lnTo>
                <a:close/>
              </a:path>
            </a:pathLst>
          </a:custGeom>
          <a:pattFill prst="pct70">
            <a:fgClr>
              <a:schemeClr val="accent5">
                <a:lumMod val="50000"/>
              </a:schemeClr>
            </a:fgClr>
            <a:bgClr>
              <a:schemeClr val="bg1"/>
            </a:bgClr>
          </a:patt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A987B35D-F68B-4006-AC19-5A526609671C}"/>
              </a:ext>
            </a:extLst>
          </p:cNvPr>
          <p:cNvSpPr>
            <a:spLocks noGrp="1"/>
          </p:cNvSpPr>
          <p:nvPr>
            <p:ph type="sldNum" sz="quarter" idx="12"/>
          </p:nvPr>
        </p:nvSpPr>
        <p:spPr>
          <a:xfrm>
            <a:off x="9448800" y="6484141"/>
            <a:ext cx="2743200" cy="365125"/>
          </a:xfrm>
        </p:spPr>
        <p:txBody>
          <a:bodyPr anchor="ctr"/>
          <a:lstStyle/>
          <a:p>
            <a:fld id="{87102F09-8F7D-4EC1-9AE5-82CA77F49212}" type="slidenum">
              <a:rPr lang="en-ZA" b="1" smtClean="0">
                <a:solidFill>
                  <a:schemeClr val="tx1"/>
                </a:solidFill>
              </a:rPr>
              <a:t>6</a:t>
            </a:fld>
            <a:endParaRPr lang="en-ZA" b="1">
              <a:solidFill>
                <a:schemeClr val="tx1"/>
              </a:solidFill>
            </a:endParaRPr>
          </a:p>
        </p:txBody>
      </p:sp>
      <p:pic>
        <p:nvPicPr>
          <p:cNvPr id="50" name="Picture 2" descr="Image result for objectives">
            <a:extLst>
              <a:ext uri="{FF2B5EF4-FFF2-40B4-BE49-F238E27FC236}">
                <a16:creationId xmlns:a16="http://schemas.microsoft.com/office/drawing/2014/main" id="{893AA219-9750-4B89-AD79-74D3605ABB7D}"/>
              </a:ext>
            </a:extLst>
          </p:cNvPr>
          <p:cNvPicPr>
            <a:picLocks noChangeAspect="1" noChangeArrowheads="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320925" y="846295"/>
            <a:ext cx="9871076" cy="5672770"/>
          </a:xfrm>
          <a:prstGeom prst="rect">
            <a:avLst/>
          </a:prstGeom>
          <a:noFill/>
          <a:extLst>
            <a:ext uri="{909E8E84-426E-40DD-AFC4-6F175D3DCCD1}">
              <a14:hiddenFill xmlns:a14="http://schemas.microsoft.com/office/drawing/2010/main">
                <a:solidFill>
                  <a:srgbClr val="FFFFFF"/>
                </a:solidFill>
              </a14:hiddenFill>
            </a:ext>
          </a:extLst>
        </p:spPr>
      </p:pic>
      <p:sp>
        <p:nvSpPr>
          <p:cNvPr id="51" name="Rectangle 50">
            <a:extLst>
              <a:ext uri="{FF2B5EF4-FFF2-40B4-BE49-F238E27FC236}">
                <a16:creationId xmlns:a16="http://schemas.microsoft.com/office/drawing/2014/main" id="{E2DCAE28-6A96-409F-8C07-AE734FD7566E}"/>
              </a:ext>
            </a:extLst>
          </p:cNvPr>
          <p:cNvSpPr/>
          <p:nvPr/>
        </p:nvSpPr>
        <p:spPr>
          <a:xfrm>
            <a:off x="15072" y="847693"/>
            <a:ext cx="12161856" cy="5681646"/>
          </a:xfrm>
          <a:prstGeom prst="rect">
            <a:avLst/>
          </a:prstGeom>
          <a:gradFill flip="none" rotWithShape="1">
            <a:gsLst>
              <a:gs pos="15000">
                <a:schemeClr val="bg1"/>
              </a:gs>
              <a:gs pos="74000">
                <a:schemeClr val="bg1">
                  <a:alpha val="79000"/>
                </a:schemeClr>
              </a:gs>
              <a:gs pos="100000">
                <a:schemeClr val="bg1">
                  <a:alpha val="62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a:solidFill>
                <a:schemeClr val="bg1"/>
              </a:solidFill>
              <a:latin typeface="+mj-lt"/>
            </a:endParaRPr>
          </a:p>
        </p:txBody>
      </p:sp>
      <p:pic>
        <p:nvPicPr>
          <p:cNvPr id="4" name="Picture 3">
            <a:extLst>
              <a:ext uri="{FF2B5EF4-FFF2-40B4-BE49-F238E27FC236}">
                <a16:creationId xmlns:a16="http://schemas.microsoft.com/office/drawing/2014/main" id="{BCEDEE0F-F299-4B18-BE37-F44B666E81B2}"/>
              </a:ext>
            </a:extLst>
          </p:cNvPr>
          <p:cNvPicPr>
            <a:picLocks noChangeAspect="1"/>
          </p:cNvPicPr>
          <p:nvPr/>
        </p:nvPicPr>
        <p:blipFill>
          <a:blip r:embed="rId3"/>
          <a:stretch>
            <a:fillRect/>
          </a:stretch>
        </p:blipFill>
        <p:spPr>
          <a:xfrm>
            <a:off x="315924" y="1021595"/>
            <a:ext cx="1160462" cy="1144824"/>
          </a:xfrm>
          <a:prstGeom prst="rect">
            <a:avLst/>
          </a:prstGeom>
        </p:spPr>
      </p:pic>
      <p:sp>
        <p:nvSpPr>
          <p:cNvPr id="9" name="object 17">
            <a:extLst>
              <a:ext uri="{FF2B5EF4-FFF2-40B4-BE49-F238E27FC236}">
                <a16:creationId xmlns:a16="http://schemas.microsoft.com/office/drawing/2014/main" id="{B4806AC6-0CD4-4176-8C35-B68A32463A5F}"/>
              </a:ext>
            </a:extLst>
          </p:cNvPr>
          <p:cNvSpPr txBox="1"/>
          <p:nvPr/>
        </p:nvSpPr>
        <p:spPr>
          <a:xfrm>
            <a:off x="1549387" y="1044958"/>
            <a:ext cx="2476453" cy="1243930"/>
          </a:xfrm>
          <a:prstGeom prst="rect">
            <a:avLst/>
          </a:prstGeom>
        </p:spPr>
        <p:txBody>
          <a:bodyPr vert="horz" wrap="square" lIns="0" tIns="0" rIns="0" bIns="0" rtlCol="0">
            <a:spAutoFit/>
          </a:bodyPr>
          <a:lstStyle/>
          <a:p>
            <a:pPr marL="12700">
              <a:lnSpc>
                <a:spcPts val="1410"/>
              </a:lnSpc>
            </a:pPr>
            <a:r>
              <a:rPr sz="1200" b="1" spc="-75" dirty="0">
                <a:solidFill>
                  <a:schemeClr val="accent1"/>
                </a:solidFill>
                <a:latin typeface="Arial"/>
                <a:cs typeface="Arial"/>
              </a:rPr>
              <a:t>SOCIAL </a:t>
            </a:r>
            <a:r>
              <a:rPr sz="1200" b="1" spc="-50" dirty="0">
                <a:solidFill>
                  <a:schemeClr val="accent1"/>
                </a:solidFill>
                <a:latin typeface="Arial"/>
                <a:cs typeface="Arial"/>
              </a:rPr>
              <a:t>HOUSING</a:t>
            </a:r>
            <a:r>
              <a:rPr lang="en-ZA" sz="1200" b="1" spc="-50" dirty="0">
                <a:solidFill>
                  <a:schemeClr val="accent1"/>
                </a:solidFill>
                <a:latin typeface="Arial"/>
                <a:cs typeface="Arial"/>
              </a:rPr>
              <a:t> FINANCE</a:t>
            </a:r>
            <a:r>
              <a:rPr sz="1200" b="1" spc="-50" dirty="0">
                <a:solidFill>
                  <a:schemeClr val="accent1"/>
                </a:solidFill>
                <a:latin typeface="Arial"/>
                <a:cs typeface="Arial"/>
              </a:rPr>
              <a:t> </a:t>
            </a:r>
            <a:r>
              <a:rPr lang="en-ZA" sz="1200" b="1" spc="65" dirty="0">
                <a:solidFill>
                  <a:schemeClr val="accent1"/>
                </a:solidFill>
                <a:latin typeface="Arial"/>
                <a:cs typeface="Arial"/>
              </a:rPr>
              <a:t>–</a:t>
            </a:r>
            <a:r>
              <a:rPr sz="1200" b="1" spc="-35" dirty="0">
                <a:solidFill>
                  <a:schemeClr val="accent1"/>
                </a:solidFill>
                <a:latin typeface="Arial"/>
                <a:cs typeface="Arial"/>
              </a:rPr>
              <a:t> </a:t>
            </a:r>
            <a:r>
              <a:rPr lang="en-ZA" sz="1200" b="1" spc="-35" dirty="0">
                <a:solidFill>
                  <a:schemeClr val="accent1"/>
                </a:solidFill>
                <a:latin typeface="Arial"/>
                <a:cs typeface="Arial"/>
              </a:rPr>
              <a:t>SUBSIDISED </a:t>
            </a:r>
            <a:r>
              <a:rPr sz="1200" b="1" spc="-90" dirty="0">
                <a:solidFill>
                  <a:schemeClr val="accent1"/>
                </a:solidFill>
                <a:latin typeface="Arial"/>
                <a:cs typeface="Arial"/>
              </a:rPr>
              <a:t>RENTAL</a:t>
            </a:r>
            <a:r>
              <a:rPr lang="en-ZA" sz="1200" b="1" spc="-90" dirty="0">
                <a:solidFill>
                  <a:schemeClr val="accent1"/>
                </a:solidFill>
                <a:latin typeface="Arial"/>
                <a:cs typeface="Arial"/>
              </a:rPr>
              <a:t>  ACCOMODATION</a:t>
            </a:r>
            <a:endParaRPr lang="en-ZA" sz="1200" dirty="0">
              <a:solidFill>
                <a:schemeClr val="accent1"/>
              </a:solidFill>
              <a:latin typeface="Arial" panose="020B0604020202020204" pitchFamily="34" charset="0"/>
              <a:cs typeface="Arial" panose="020B0604020202020204" pitchFamily="34" charset="0"/>
            </a:endParaRPr>
          </a:p>
          <a:p>
            <a:pPr marL="12700" marR="42545">
              <a:lnSpc>
                <a:spcPts val="1080"/>
              </a:lnSpc>
              <a:spcBef>
                <a:spcPts val="5"/>
              </a:spcBef>
            </a:pPr>
            <a:r>
              <a:rPr lang="en-GB" sz="1200" spc="-40" dirty="0">
                <a:solidFill>
                  <a:srgbClr val="303843"/>
                </a:solidFill>
                <a:latin typeface="Arial" panose="020B0604020202020204" pitchFamily="34" charset="0"/>
                <a:cs typeface="Arial" panose="020B0604020202020204" pitchFamily="34" charset="0"/>
              </a:rPr>
              <a:t>We </a:t>
            </a:r>
            <a:r>
              <a:rPr lang="en-GB" sz="1200" dirty="0">
                <a:solidFill>
                  <a:srgbClr val="303843"/>
                </a:solidFill>
                <a:latin typeface="Arial" panose="020B0604020202020204" pitchFamily="34" charset="0"/>
                <a:cs typeface="Arial" panose="020B0604020202020204" pitchFamily="34" charset="0"/>
              </a:rPr>
              <a:t>provide long-term finance to Social Housing Institutions to develop </a:t>
            </a:r>
            <a:r>
              <a:rPr lang="en-GB" sz="1200" spc="-5" dirty="0">
                <a:solidFill>
                  <a:srgbClr val="303843"/>
                </a:solidFill>
                <a:latin typeface="Arial" panose="020B0604020202020204" pitchFamily="34" charset="0"/>
                <a:cs typeface="Arial" panose="020B0604020202020204" pitchFamily="34" charset="0"/>
              </a:rPr>
              <a:t>affordable </a:t>
            </a:r>
            <a:r>
              <a:rPr lang="en-GB" sz="1200" dirty="0">
                <a:solidFill>
                  <a:srgbClr val="303843"/>
                </a:solidFill>
                <a:latin typeface="Arial" panose="020B0604020202020204" pitchFamily="34" charset="0"/>
                <a:cs typeface="Arial" panose="020B0604020202020204" pitchFamily="34" charset="0"/>
              </a:rPr>
              <a:t>rental accommodation for HH earning R1 500 to R15 000.</a:t>
            </a:r>
            <a:endParaRPr lang="en-ZA" sz="1200" dirty="0">
              <a:solidFill>
                <a:srgbClr val="303843"/>
              </a:solidFill>
              <a:latin typeface="Arial" panose="020B0604020202020204" pitchFamily="34" charset="0"/>
              <a:cs typeface="Arial" panose="020B0604020202020204" pitchFamily="34" charset="0"/>
            </a:endParaRPr>
          </a:p>
        </p:txBody>
      </p:sp>
      <p:pic>
        <p:nvPicPr>
          <p:cNvPr id="12" name="Picture 11">
            <a:extLst>
              <a:ext uri="{FF2B5EF4-FFF2-40B4-BE49-F238E27FC236}">
                <a16:creationId xmlns:a16="http://schemas.microsoft.com/office/drawing/2014/main" id="{2644D2D9-491C-49DF-9A71-6D897BFAFC71}"/>
              </a:ext>
            </a:extLst>
          </p:cNvPr>
          <p:cNvPicPr>
            <a:picLocks noChangeAspect="1"/>
          </p:cNvPicPr>
          <p:nvPr/>
        </p:nvPicPr>
        <p:blipFill>
          <a:blip r:embed="rId4"/>
          <a:stretch>
            <a:fillRect/>
          </a:stretch>
        </p:blipFill>
        <p:spPr>
          <a:xfrm>
            <a:off x="315922" y="2810727"/>
            <a:ext cx="1160461" cy="1144824"/>
          </a:xfrm>
          <a:prstGeom prst="rect">
            <a:avLst/>
          </a:prstGeom>
        </p:spPr>
      </p:pic>
      <p:sp>
        <p:nvSpPr>
          <p:cNvPr id="15" name="object 16">
            <a:extLst>
              <a:ext uri="{FF2B5EF4-FFF2-40B4-BE49-F238E27FC236}">
                <a16:creationId xmlns:a16="http://schemas.microsoft.com/office/drawing/2014/main" id="{2B32B4E2-25F0-46E2-8A6A-99FD1FE8490C}"/>
              </a:ext>
            </a:extLst>
          </p:cNvPr>
          <p:cNvSpPr txBox="1"/>
          <p:nvPr/>
        </p:nvSpPr>
        <p:spPr>
          <a:xfrm>
            <a:off x="1549387" y="2810727"/>
            <a:ext cx="2306301" cy="1102866"/>
          </a:xfrm>
          <a:prstGeom prst="rect">
            <a:avLst/>
          </a:prstGeom>
        </p:spPr>
        <p:txBody>
          <a:bodyPr vert="horz" wrap="square" lIns="0" tIns="0" rIns="0" bIns="0" rtlCol="0">
            <a:spAutoFit/>
          </a:bodyPr>
          <a:lstStyle/>
          <a:p>
            <a:pPr marL="12700">
              <a:lnSpc>
                <a:spcPts val="1410"/>
              </a:lnSpc>
            </a:pPr>
            <a:r>
              <a:rPr sz="1200" b="1" spc="-80">
                <a:solidFill>
                  <a:schemeClr val="accent1"/>
                </a:solidFill>
                <a:latin typeface="Arial" panose="020B0604020202020204" pitchFamily="34" charset="0"/>
                <a:cs typeface="Arial" panose="020B0604020202020204" pitchFamily="34" charset="0"/>
              </a:rPr>
              <a:t>PRIVATELY</a:t>
            </a:r>
            <a:r>
              <a:rPr lang="en-ZA" sz="1200" b="1" spc="-80">
                <a:solidFill>
                  <a:schemeClr val="accent1"/>
                </a:solidFill>
                <a:latin typeface="Arial" panose="020B0604020202020204" pitchFamily="34" charset="0"/>
                <a:cs typeface="Arial" panose="020B0604020202020204" pitchFamily="34" charset="0"/>
              </a:rPr>
              <a:t> </a:t>
            </a:r>
            <a:r>
              <a:rPr sz="1200" b="1" spc="-80">
                <a:solidFill>
                  <a:schemeClr val="accent1"/>
                </a:solidFill>
                <a:latin typeface="Arial" panose="020B0604020202020204" pitchFamily="34" charset="0"/>
                <a:cs typeface="Arial" panose="020B0604020202020204" pitchFamily="34" charset="0"/>
              </a:rPr>
              <a:t>-</a:t>
            </a:r>
            <a:r>
              <a:rPr lang="en-ZA" sz="1200" b="1" spc="-80">
                <a:solidFill>
                  <a:schemeClr val="accent1"/>
                </a:solidFill>
                <a:latin typeface="Arial" panose="020B0604020202020204" pitchFamily="34" charset="0"/>
                <a:cs typeface="Arial" panose="020B0604020202020204" pitchFamily="34" charset="0"/>
              </a:rPr>
              <a:t>  </a:t>
            </a:r>
            <a:r>
              <a:rPr sz="1200" b="1" spc="-80">
                <a:solidFill>
                  <a:schemeClr val="accent1"/>
                </a:solidFill>
                <a:latin typeface="Arial" panose="020B0604020202020204" pitchFamily="34" charset="0"/>
                <a:cs typeface="Arial" panose="020B0604020202020204" pitchFamily="34" charset="0"/>
              </a:rPr>
              <a:t>OWNED </a:t>
            </a:r>
            <a:r>
              <a:rPr sz="1200" b="1" spc="-90">
                <a:solidFill>
                  <a:schemeClr val="accent1"/>
                </a:solidFill>
                <a:latin typeface="Arial" panose="020B0604020202020204" pitchFamily="34" charset="0"/>
                <a:cs typeface="Arial" panose="020B0604020202020204" pitchFamily="34" charset="0"/>
              </a:rPr>
              <a:t>RENTAL</a:t>
            </a:r>
            <a:r>
              <a:rPr sz="1200" b="1" spc="-50">
                <a:solidFill>
                  <a:schemeClr val="accent1"/>
                </a:solidFill>
                <a:latin typeface="Arial" panose="020B0604020202020204" pitchFamily="34" charset="0"/>
                <a:cs typeface="Arial" panose="020B0604020202020204" pitchFamily="34" charset="0"/>
              </a:rPr>
              <a:t> HOUSING</a:t>
            </a:r>
            <a:r>
              <a:rPr lang="en-ZA" sz="1200" b="1" spc="-50">
                <a:solidFill>
                  <a:schemeClr val="accent1"/>
                </a:solidFill>
                <a:latin typeface="Arial" panose="020B0604020202020204" pitchFamily="34" charset="0"/>
                <a:cs typeface="Arial" panose="020B0604020202020204" pitchFamily="34" charset="0"/>
              </a:rPr>
              <a:t> AND STUDENT ACCOMODATION FINANCE</a:t>
            </a:r>
            <a:endParaRPr sz="1200">
              <a:solidFill>
                <a:schemeClr val="accent1"/>
              </a:solidFill>
              <a:latin typeface="Arial" panose="020B0604020202020204" pitchFamily="34" charset="0"/>
              <a:cs typeface="Arial" panose="020B0604020202020204" pitchFamily="34" charset="0"/>
            </a:endParaRPr>
          </a:p>
          <a:p>
            <a:pPr marL="12700" marR="5080">
              <a:lnSpc>
                <a:spcPts val="1080"/>
              </a:lnSpc>
              <a:spcBef>
                <a:spcPts val="5"/>
              </a:spcBef>
            </a:pPr>
            <a:r>
              <a:rPr sz="1200" spc="-40">
                <a:solidFill>
                  <a:srgbClr val="303843"/>
                </a:solidFill>
                <a:latin typeface="Arial" panose="020B0604020202020204" pitchFamily="34" charset="0"/>
                <a:cs typeface="Arial" panose="020B0604020202020204" pitchFamily="34" charset="0"/>
              </a:rPr>
              <a:t>We </a:t>
            </a:r>
            <a:r>
              <a:rPr sz="1200">
                <a:solidFill>
                  <a:srgbClr val="303843"/>
                </a:solidFill>
                <a:latin typeface="Arial" panose="020B0604020202020204" pitchFamily="34" charset="0"/>
                <a:cs typeface="Arial" panose="020B0604020202020204" pitchFamily="34" charset="0"/>
              </a:rPr>
              <a:t>provide long-term f</a:t>
            </a:r>
            <a:r>
              <a:rPr lang="en-ZA" sz="1200" err="1">
                <a:solidFill>
                  <a:srgbClr val="303843"/>
                </a:solidFill>
                <a:latin typeface="Arial" panose="020B0604020202020204" pitchFamily="34" charset="0"/>
                <a:cs typeface="Arial" panose="020B0604020202020204" pitchFamily="34" charset="0"/>
              </a:rPr>
              <a:t>inance</a:t>
            </a:r>
            <a:r>
              <a:rPr sz="1200">
                <a:solidFill>
                  <a:srgbClr val="303843"/>
                </a:solidFill>
                <a:latin typeface="Arial" panose="020B0604020202020204" pitchFamily="34" charset="0"/>
                <a:cs typeface="Arial" panose="020B0604020202020204" pitchFamily="34" charset="0"/>
              </a:rPr>
              <a:t> to develop or refurbish</a:t>
            </a:r>
            <a:r>
              <a:rPr sz="1200" spc="-35">
                <a:solidFill>
                  <a:srgbClr val="303843"/>
                </a:solidFill>
                <a:latin typeface="Arial" panose="020B0604020202020204" pitchFamily="34" charset="0"/>
                <a:cs typeface="Arial" panose="020B0604020202020204" pitchFamily="34" charset="0"/>
              </a:rPr>
              <a:t> </a:t>
            </a:r>
            <a:r>
              <a:rPr sz="1200" spc="-5">
                <a:solidFill>
                  <a:srgbClr val="303843"/>
                </a:solidFill>
                <a:latin typeface="Arial" panose="020B0604020202020204" pitchFamily="34" charset="0"/>
                <a:cs typeface="Arial" panose="020B0604020202020204" pitchFamily="34" charset="0"/>
              </a:rPr>
              <a:t>affordable  </a:t>
            </a:r>
            <a:r>
              <a:rPr sz="1200">
                <a:solidFill>
                  <a:srgbClr val="303843"/>
                </a:solidFill>
                <a:latin typeface="Arial" panose="020B0604020202020204" pitchFamily="34" charset="0"/>
                <a:cs typeface="Arial" panose="020B0604020202020204" pitchFamily="34" charset="0"/>
              </a:rPr>
              <a:t>privately-owned rental </a:t>
            </a:r>
            <a:r>
              <a:rPr lang="en-ZA" sz="1200">
                <a:solidFill>
                  <a:srgbClr val="303843"/>
                </a:solidFill>
                <a:latin typeface="Arial" panose="020B0604020202020204" pitchFamily="34" charset="0"/>
                <a:cs typeface="Arial" panose="020B0604020202020204" pitchFamily="34" charset="0"/>
              </a:rPr>
              <a:t>(un-subsidised) </a:t>
            </a:r>
            <a:r>
              <a:rPr sz="1200">
                <a:solidFill>
                  <a:srgbClr val="303843"/>
                </a:solidFill>
                <a:latin typeface="Arial" panose="020B0604020202020204" pitchFamily="34" charset="0"/>
                <a:cs typeface="Arial" panose="020B0604020202020204" pitchFamily="34" charset="0"/>
              </a:rPr>
              <a:t>accommodation. </a:t>
            </a:r>
            <a:endParaRPr lang="en-ZA" sz="1200">
              <a:solidFill>
                <a:srgbClr val="303843"/>
              </a:solidFill>
              <a:latin typeface="Arial" panose="020B0604020202020204" pitchFamily="34" charset="0"/>
              <a:cs typeface="Arial" panose="020B0604020202020204" pitchFamily="34" charset="0"/>
            </a:endParaRPr>
          </a:p>
        </p:txBody>
      </p:sp>
      <p:pic>
        <p:nvPicPr>
          <p:cNvPr id="17" name="Picture 16">
            <a:extLst>
              <a:ext uri="{FF2B5EF4-FFF2-40B4-BE49-F238E27FC236}">
                <a16:creationId xmlns:a16="http://schemas.microsoft.com/office/drawing/2014/main" id="{2F7A510E-A8E5-4742-B590-8070499C15E5}"/>
              </a:ext>
            </a:extLst>
          </p:cNvPr>
          <p:cNvPicPr>
            <a:picLocks noChangeAspect="1"/>
          </p:cNvPicPr>
          <p:nvPr/>
        </p:nvPicPr>
        <p:blipFill>
          <a:blip r:embed="rId5"/>
          <a:stretch>
            <a:fillRect/>
          </a:stretch>
        </p:blipFill>
        <p:spPr>
          <a:xfrm>
            <a:off x="315923" y="4644385"/>
            <a:ext cx="1160460" cy="1192020"/>
          </a:xfrm>
          <a:prstGeom prst="rect">
            <a:avLst/>
          </a:prstGeom>
        </p:spPr>
      </p:pic>
      <p:sp>
        <p:nvSpPr>
          <p:cNvPr id="19" name="object 22">
            <a:extLst>
              <a:ext uri="{FF2B5EF4-FFF2-40B4-BE49-F238E27FC236}">
                <a16:creationId xmlns:a16="http://schemas.microsoft.com/office/drawing/2014/main" id="{1A5940E3-F972-4D3C-B6C1-A0E34F6306F1}"/>
              </a:ext>
            </a:extLst>
          </p:cNvPr>
          <p:cNvSpPr txBox="1"/>
          <p:nvPr/>
        </p:nvSpPr>
        <p:spPr>
          <a:xfrm>
            <a:off x="1476386" y="4644385"/>
            <a:ext cx="2891790" cy="1282402"/>
          </a:xfrm>
          <a:prstGeom prst="rect">
            <a:avLst/>
          </a:prstGeom>
        </p:spPr>
        <p:txBody>
          <a:bodyPr vert="horz" wrap="square" lIns="0" tIns="0" rIns="0" bIns="0" rtlCol="0">
            <a:spAutoFit/>
          </a:bodyPr>
          <a:lstStyle/>
          <a:p>
            <a:pPr marL="12700">
              <a:lnSpc>
                <a:spcPts val="1410"/>
              </a:lnSpc>
            </a:pPr>
            <a:r>
              <a:rPr lang="en-ZA" sz="1200" b="1" spc="-50">
                <a:solidFill>
                  <a:schemeClr val="accent1"/>
                </a:solidFill>
                <a:latin typeface="Arial" panose="020B0604020202020204" pitchFamily="34" charset="0"/>
                <a:cs typeface="Arial" panose="020B0604020202020204" pitchFamily="34" charset="0"/>
              </a:rPr>
              <a:t>SUBSIDY &amp; AFFORDABLE HOUSING</a:t>
            </a:r>
          </a:p>
          <a:p>
            <a:pPr marL="12700">
              <a:lnSpc>
                <a:spcPts val="1410"/>
              </a:lnSpc>
            </a:pPr>
            <a:r>
              <a:rPr lang="en-ZA" sz="1200" b="1" spc="-50">
                <a:solidFill>
                  <a:schemeClr val="accent1"/>
                </a:solidFill>
                <a:latin typeface="Arial" panose="020B0604020202020204" pitchFamily="34" charset="0"/>
                <a:cs typeface="Arial" panose="020B0604020202020204" pitchFamily="34" charset="0"/>
              </a:rPr>
              <a:t>FINANCE</a:t>
            </a:r>
            <a:endParaRPr sz="1200">
              <a:solidFill>
                <a:schemeClr val="accent1"/>
              </a:solidFill>
              <a:latin typeface="Arial" panose="020B0604020202020204" pitchFamily="34" charset="0"/>
              <a:cs typeface="Arial" panose="020B0604020202020204" pitchFamily="34" charset="0"/>
            </a:endParaRPr>
          </a:p>
          <a:p>
            <a:pPr lvl="0"/>
            <a:r>
              <a:rPr lang="en-GB" sz="1200">
                <a:latin typeface="Arial" panose="020B0604020202020204" pitchFamily="34" charset="0"/>
                <a:cs typeface="Arial" panose="020B0604020202020204" pitchFamily="34" charset="0"/>
              </a:rPr>
              <a:t>We provide bridging and development finance to contractors and developers involved in the development of fully subsidised (BNG) and affordable housing (GAP &amp; FLISP).</a:t>
            </a:r>
            <a:endParaRPr lang="en-ZA" sz="1200">
              <a:latin typeface="Arial" panose="020B0604020202020204" pitchFamily="34" charset="0"/>
              <a:cs typeface="Arial" panose="020B0604020202020204" pitchFamily="34" charset="0"/>
            </a:endParaRPr>
          </a:p>
        </p:txBody>
      </p:sp>
      <p:sp>
        <p:nvSpPr>
          <p:cNvPr id="23" name="object 24">
            <a:extLst>
              <a:ext uri="{FF2B5EF4-FFF2-40B4-BE49-F238E27FC236}">
                <a16:creationId xmlns:a16="http://schemas.microsoft.com/office/drawing/2014/main" id="{E6FC7668-D042-46F7-88BA-5681F940EE5B}"/>
              </a:ext>
            </a:extLst>
          </p:cNvPr>
          <p:cNvSpPr txBox="1"/>
          <p:nvPr/>
        </p:nvSpPr>
        <p:spPr>
          <a:xfrm>
            <a:off x="6316620" y="1006486"/>
            <a:ext cx="4563713" cy="918200"/>
          </a:xfrm>
          <a:prstGeom prst="rect">
            <a:avLst/>
          </a:prstGeom>
        </p:spPr>
        <p:txBody>
          <a:bodyPr vert="horz" wrap="square" lIns="0" tIns="0" rIns="0" bIns="0" rtlCol="0">
            <a:spAutoFit/>
          </a:bodyPr>
          <a:lstStyle/>
          <a:p>
            <a:pPr marL="12700">
              <a:lnSpc>
                <a:spcPts val="1410"/>
              </a:lnSpc>
              <a:spcBef>
                <a:spcPts val="5"/>
              </a:spcBef>
            </a:pPr>
            <a:r>
              <a:rPr sz="1200" b="1" spc="-75">
                <a:solidFill>
                  <a:schemeClr val="accent1"/>
                </a:solidFill>
                <a:latin typeface="Arial" panose="020B0604020202020204" pitchFamily="34" charset="0"/>
                <a:cs typeface="Arial" panose="020B0604020202020204" pitchFamily="34" charset="0"/>
              </a:rPr>
              <a:t>S</a:t>
            </a:r>
            <a:r>
              <a:rPr lang="en-ZA" sz="1200" b="1" spc="-75">
                <a:solidFill>
                  <a:schemeClr val="accent1"/>
                </a:solidFill>
                <a:latin typeface="Arial" panose="020B0604020202020204" pitchFamily="34" charset="0"/>
                <a:cs typeface="Arial" panose="020B0604020202020204" pitchFamily="34" charset="0"/>
              </a:rPr>
              <a:t>TRATEGIC PARTNERSHIPS AND INVESTMENTS</a:t>
            </a:r>
            <a:endParaRPr sz="1200">
              <a:solidFill>
                <a:schemeClr val="accent1"/>
              </a:solidFill>
              <a:latin typeface="Arial" panose="020B0604020202020204" pitchFamily="34" charset="0"/>
              <a:cs typeface="Arial" panose="020B0604020202020204" pitchFamily="34" charset="0"/>
            </a:endParaRPr>
          </a:p>
          <a:p>
            <a:pPr algn="l"/>
            <a:r>
              <a:rPr lang="en-GB" sz="1200" b="0" i="0" u="none" strike="noStrike" baseline="0">
                <a:latin typeface="Lato-Light"/>
              </a:rPr>
              <a:t>We work closely with private investors, developers and housing development agencies and funds to leverage private sector and development funders to finance and create affordable housing that caters to the market </a:t>
            </a:r>
            <a:r>
              <a:rPr lang="en-ZA" sz="1200" b="0" i="0" u="none" strike="noStrike" baseline="0">
                <a:latin typeface="Lato-Light"/>
              </a:rPr>
              <a:t>that we serve.</a:t>
            </a:r>
            <a:r>
              <a:rPr lang="en-US" sz="1200" spc="-15">
                <a:solidFill>
                  <a:srgbClr val="303843"/>
                </a:solidFill>
                <a:latin typeface="Arial" panose="020B0604020202020204" pitchFamily="34" charset="0"/>
                <a:cs typeface="Arial" panose="020B0604020202020204" pitchFamily="34" charset="0"/>
              </a:rPr>
              <a:t>. </a:t>
            </a:r>
            <a:endParaRPr sz="1200">
              <a:latin typeface="Arial" panose="020B0604020202020204" pitchFamily="34" charset="0"/>
              <a:cs typeface="Arial" panose="020B0604020202020204" pitchFamily="34" charset="0"/>
            </a:endParaRPr>
          </a:p>
        </p:txBody>
      </p:sp>
      <p:pic>
        <p:nvPicPr>
          <p:cNvPr id="25" name="Picture 24">
            <a:extLst>
              <a:ext uri="{FF2B5EF4-FFF2-40B4-BE49-F238E27FC236}">
                <a16:creationId xmlns:a16="http://schemas.microsoft.com/office/drawing/2014/main" id="{85AE2BD7-9351-4168-93EA-182E1C5A0127}"/>
              </a:ext>
            </a:extLst>
          </p:cNvPr>
          <p:cNvPicPr>
            <a:picLocks noChangeAspect="1"/>
          </p:cNvPicPr>
          <p:nvPr/>
        </p:nvPicPr>
        <p:blipFill>
          <a:blip r:embed="rId6"/>
          <a:stretch>
            <a:fillRect/>
          </a:stretch>
        </p:blipFill>
        <p:spPr>
          <a:xfrm>
            <a:off x="4495098" y="2836143"/>
            <a:ext cx="1777724" cy="1119408"/>
          </a:xfrm>
          <a:prstGeom prst="rect">
            <a:avLst/>
          </a:prstGeom>
        </p:spPr>
      </p:pic>
      <p:sp>
        <p:nvSpPr>
          <p:cNvPr id="27" name="object 24">
            <a:extLst>
              <a:ext uri="{FF2B5EF4-FFF2-40B4-BE49-F238E27FC236}">
                <a16:creationId xmlns:a16="http://schemas.microsoft.com/office/drawing/2014/main" id="{080B100D-6220-41BF-91CB-4157E75FB5D5}"/>
              </a:ext>
            </a:extLst>
          </p:cNvPr>
          <p:cNvSpPr txBox="1"/>
          <p:nvPr/>
        </p:nvSpPr>
        <p:spPr>
          <a:xfrm>
            <a:off x="6316621" y="2810727"/>
            <a:ext cx="2200223" cy="1205458"/>
          </a:xfrm>
          <a:prstGeom prst="rect">
            <a:avLst/>
          </a:prstGeom>
        </p:spPr>
        <p:txBody>
          <a:bodyPr vert="horz" wrap="square" lIns="0" tIns="0" rIns="0" bIns="0" rtlCol="0" anchor="t">
            <a:spAutoFit/>
          </a:bodyPr>
          <a:lstStyle/>
          <a:p>
            <a:pPr marL="12700">
              <a:lnSpc>
                <a:spcPts val="1410"/>
              </a:lnSpc>
            </a:pPr>
            <a:r>
              <a:rPr sz="1200" b="1" spc="-65">
                <a:solidFill>
                  <a:schemeClr val="accent1"/>
                </a:solidFill>
                <a:latin typeface="Arial"/>
                <a:cs typeface="Arial"/>
              </a:rPr>
              <a:t>INCREMENTAL</a:t>
            </a:r>
            <a:r>
              <a:rPr sz="1200" b="1" spc="-105">
                <a:solidFill>
                  <a:schemeClr val="accent1"/>
                </a:solidFill>
                <a:latin typeface="Arial"/>
                <a:cs typeface="Arial"/>
              </a:rPr>
              <a:t> </a:t>
            </a:r>
            <a:r>
              <a:rPr sz="1200" b="1" spc="-50">
                <a:solidFill>
                  <a:schemeClr val="accent1"/>
                </a:solidFill>
                <a:latin typeface="Arial"/>
                <a:cs typeface="Arial"/>
              </a:rPr>
              <a:t>HOUSING</a:t>
            </a:r>
            <a:r>
              <a:rPr lang="en-ZA" sz="1200" b="1" spc="-50">
                <a:solidFill>
                  <a:schemeClr val="accent1"/>
                </a:solidFill>
                <a:latin typeface="Arial"/>
                <a:cs typeface="Arial"/>
              </a:rPr>
              <a:t> FINANCE</a:t>
            </a:r>
            <a:endParaRPr sz="1200">
              <a:solidFill>
                <a:schemeClr val="accent1"/>
              </a:solidFill>
              <a:latin typeface="Arial"/>
              <a:cs typeface="Arial"/>
            </a:endParaRPr>
          </a:p>
          <a:p>
            <a:pPr marL="12700" marR="304165">
              <a:lnSpc>
                <a:spcPts val="1080"/>
              </a:lnSpc>
              <a:spcBef>
                <a:spcPts val="5"/>
              </a:spcBef>
            </a:pPr>
            <a:r>
              <a:rPr sz="1200" spc="-40">
                <a:solidFill>
                  <a:srgbClr val="303843"/>
                </a:solidFill>
                <a:latin typeface="Arial"/>
                <a:cs typeface="Arial"/>
              </a:rPr>
              <a:t>We </a:t>
            </a:r>
            <a:r>
              <a:rPr sz="1200">
                <a:solidFill>
                  <a:srgbClr val="303843"/>
                </a:solidFill>
                <a:latin typeface="Arial"/>
                <a:cs typeface="Arial"/>
              </a:rPr>
              <a:t>provide funding to non-banking intermediaries </a:t>
            </a:r>
            <a:r>
              <a:rPr sz="1200" spc="-5">
                <a:solidFill>
                  <a:srgbClr val="303843"/>
                </a:solidFill>
                <a:latin typeface="Arial"/>
                <a:cs typeface="Arial"/>
              </a:rPr>
              <a:t>who </a:t>
            </a:r>
            <a:r>
              <a:rPr sz="1200">
                <a:solidFill>
                  <a:srgbClr val="303843"/>
                </a:solidFill>
                <a:latin typeface="Arial"/>
                <a:cs typeface="Arial"/>
              </a:rPr>
              <a:t>on-lend funding to </a:t>
            </a:r>
            <a:r>
              <a:rPr lang="en-US" sz="1200">
                <a:solidFill>
                  <a:srgbClr val="303843"/>
                </a:solidFill>
                <a:latin typeface="Arial"/>
                <a:cs typeface="Arial"/>
              </a:rPr>
              <a:t>home-owners</a:t>
            </a:r>
            <a:r>
              <a:rPr sz="1200">
                <a:solidFill>
                  <a:srgbClr val="303843"/>
                </a:solidFill>
                <a:latin typeface="Arial"/>
                <a:cs typeface="Arial"/>
              </a:rPr>
              <a:t> for incremental</a:t>
            </a:r>
            <a:r>
              <a:rPr sz="1200" spc="-120">
                <a:solidFill>
                  <a:srgbClr val="303843"/>
                </a:solidFill>
                <a:latin typeface="Arial"/>
                <a:cs typeface="Arial"/>
              </a:rPr>
              <a:t> </a:t>
            </a:r>
            <a:r>
              <a:rPr lang="en-US" sz="1200" spc="-120">
                <a:solidFill>
                  <a:srgbClr val="303843"/>
                </a:solidFill>
                <a:latin typeface="Arial"/>
                <a:cs typeface="Arial"/>
              </a:rPr>
              <a:t>housing </a:t>
            </a:r>
            <a:r>
              <a:rPr lang="en-US" sz="1200">
                <a:solidFill>
                  <a:srgbClr val="303843"/>
                </a:solidFill>
                <a:latin typeface="Arial"/>
                <a:cs typeface="Arial"/>
              </a:rPr>
              <a:t>improvements</a:t>
            </a:r>
            <a:r>
              <a:rPr lang="en-ZA" sz="1200">
                <a:solidFill>
                  <a:srgbClr val="303843"/>
                </a:solidFill>
                <a:latin typeface="Arial"/>
                <a:cs typeface="Arial"/>
              </a:rPr>
              <a:t> (Rural &amp; Urban)</a:t>
            </a:r>
            <a:endParaRPr sz="1200">
              <a:latin typeface="Arial"/>
              <a:cs typeface="Arial"/>
            </a:endParaRPr>
          </a:p>
        </p:txBody>
      </p:sp>
      <p:pic>
        <p:nvPicPr>
          <p:cNvPr id="28" name="Picture 27">
            <a:extLst>
              <a:ext uri="{FF2B5EF4-FFF2-40B4-BE49-F238E27FC236}">
                <a16:creationId xmlns:a16="http://schemas.microsoft.com/office/drawing/2014/main" id="{3D0D227A-DCE5-4E35-BDB1-84DC6A7D9DA1}"/>
              </a:ext>
            </a:extLst>
          </p:cNvPr>
          <p:cNvPicPr>
            <a:picLocks noChangeAspect="1"/>
          </p:cNvPicPr>
          <p:nvPr/>
        </p:nvPicPr>
        <p:blipFill>
          <a:blip r:embed="rId7"/>
          <a:stretch>
            <a:fillRect/>
          </a:stretch>
        </p:blipFill>
        <p:spPr>
          <a:xfrm>
            <a:off x="4495098" y="4633221"/>
            <a:ext cx="1568795" cy="1203183"/>
          </a:xfrm>
          <a:prstGeom prst="rect">
            <a:avLst/>
          </a:prstGeom>
        </p:spPr>
      </p:pic>
      <p:sp>
        <p:nvSpPr>
          <p:cNvPr id="31" name="object 24">
            <a:extLst>
              <a:ext uri="{FF2B5EF4-FFF2-40B4-BE49-F238E27FC236}">
                <a16:creationId xmlns:a16="http://schemas.microsoft.com/office/drawing/2014/main" id="{103496D7-1C01-4FBB-A2D4-ACFBA0B13FC4}"/>
              </a:ext>
            </a:extLst>
          </p:cNvPr>
          <p:cNvSpPr txBox="1"/>
          <p:nvPr/>
        </p:nvSpPr>
        <p:spPr>
          <a:xfrm>
            <a:off x="6316621" y="4580962"/>
            <a:ext cx="3505840" cy="1064394"/>
          </a:xfrm>
          <a:prstGeom prst="rect">
            <a:avLst/>
          </a:prstGeom>
        </p:spPr>
        <p:txBody>
          <a:bodyPr vert="horz" wrap="square" lIns="0" tIns="0" rIns="0" bIns="0" rtlCol="0">
            <a:spAutoFit/>
          </a:bodyPr>
          <a:lstStyle/>
          <a:p>
            <a:pPr marL="12700">
              <a:lnSpc>
                <a:spcPts val="1410"/>
              </a:lnSpc>
            </a:pPr>
            <a:r>
              <a:rPr lang="en-GB" sz="1200" b="1" spc="-65">
                <a:solidFill>
                  <a:schemeClr val="accent1"/>
                </a:solidFill>
                <a:latin typeface="Arial" panose="020B0604020202020204" pitchFamily="34" charset="0"/>
                <a:cs typeface="Arial" panose="020B0604020202020204" pitchFamily="34" charset="0"/>
              </a:rPr>
              <a:t>FINANCE LINKED INDIVIDUAL SUBSIDY PROGRAMME (FLISP)</a:t>
            </a:r>
          </a:p>
          <a:p>
            <a:pPr marL="12700" marR="304165">
              <a:lnSpc>
                <a:spcPts val="1080"/>
              </a:lnSpc>
              <a:spcBef>
                <a:spcPts val="5"/>
              </a:spcBef>
            </a:pPr>
            <a:r>
              <a:rPr lang="en-GB" sz="1200" spc="-40">
                <a:solidFill>
                  <a:srgbClr val="303843"/>
                </a:solidFill>
                <a:latin typeface="Arial" panose="020B0604020202020204" pitchFamily="34" charset="0"/>
                <a:cs typeface="Arial" panose="020B0604020202020204" pitchFamily="34" charset="0"/>
              </a:rPr>
              <a:t>We are the implementing agent for FLISP nationally. FLISP enables qualifying beneficiaries to reduce the initial home  loan amount or augment the shortfall between the qualifying  loan and the total house price.</a:t>
            </a:r>
          </a:p>
        </p:txBody>
      </p:sp>
      <p:sp>
        <p:nvSpPr>
          <p:cNvPr id="34" name="object 24">
            <a:extLst>
              <a:ext uri="{FF2B5EF4-FFF2-40B4-BE49-F238E27FC236}">
                <a16:creationId xmlns:a16="http://schemas.microsoft.com/office/drawing/2014/main" id="{B15FDC8E-DECB-40CD-9059-31D99C6E13D4}"/>
              </a:ext>
            </a:extLst>
          </p:cNvPr>
          <p:cNvSpPr txBox="1"/>
          <p:nvPr/>
        </p:nvSpPr>
        <p:spPr>
          <a:xfrm>
            <a:off x="9871076" y="2623857"/>
            <a:ext cx="2305852" cy="2021066"/>
          </a:xfrm>
          <a:prstGeom prst="rect">
            <a:avLst/>
          </a:prstGeom>
        </p:spPr>
        <p:txBody>
          <a:bodyPr vert="horz" wrap="square" lIns="0" tIns="0" rIns="0" bIns="0" rtlCol="0">
            <a:spAutoFit/>
          </a:bodyPr>
          <a:lstStyle/>
          <a:p>
            <a:pPr marL="12700">
              <a:lnSpc>
                <a:spcPts val="1410"/>
              </a:lnSpc>
            </a:pPr>
            <a:r>
              <a:rPr lang="en-GB" sz="1200" b="1" spc="-65">
                <a:solidFill>
                  <a:schemeClr val="accent1"/>
                </a:solidFill>
                <a:latin typeface="Arial" panose="020B0604020202020204" pitchFamily="34" charset="0"/>
                <a:cs typeface="Arial" panose="020B0604020202020204" pitchFamily="34" charset="0"/>
              </a:rPr>
              <a:t>PROGRAMME &amp; FUND MANAGEMENT</a:t>
            </a:r>
          </a:p>
          <a:p>
            <a:pPr lvl="0"/>
            <a:r>
              <a:rPr lang="en-ZA" sz="1200">
                <a:latin typeface="Arial" panose="020B0604020202020204" pitchFamily="34" charset="0"/>
                <a:cs typeface="Arial" panose="020B0604020202020204" pitchFamily="34" charset="0"/>
              </a:rPr>
              <a:t>Programme management and project implementation </a:t>
            </a:r>
            <a:r>
              <a:rPr lang="en-GB" sz="1200">
                <a:latin typeface="Arial" panose="020B0604020202020204" pitchFamily="34" charset="0"/>
                <a:cs typeface="Arial" panose="020B0604020202020204" pitchFamily="34" charset="0"/>
              </a:rPr>
              <a:t>services are offered, under this programme, to provincial and local authorities to support the development of project and programme management capacity and enhance service delivery in the human </a:t>
            </a:r>
            <a:r>
              <a:rPr lang="en-ZA" sz="1200">
                <a:latin typeface="Arial" panose="020B0604020202020204" pitchFamily="34" charset="0"/>
                <a:cs typeface="Arial" panose="020B0604020202020204" pitchFamily="34" charset="0"/>
              </a:rPr>
              <a:t>settlement sector. </a:t>
            </a:r>
          </a:p>
        </p:txBody>
      </p:sp>
      <p:pic>
        <p:nvPicPr>
          <p:cNvPr id="35" name="Picture 34">
            <a:extLst>
              <a:ext uri="{FF2B5EF4-FFF2-40B4-BE49-F238E27FC236}">
                <a16:creationId xmlns:a16="http://schemas.microsoft.com/office/drawing/2014/main" id="{B281F3C9-11C2-4539-AE54-0CB35AA676EB}"/>
              </a:ext>
            </a:extLst>
          </p:cNvPr>
          <p:cNvPicPr>
            <a:picLocks noChangeAspect="1"/>
          </p:cNvPicPr>
          <p:nvPr/>
        </p:nvPicPr>
        <p:blipFill>
          <a:blip r:embed="rId8"/>
          <a:stretch>
            <a:fillRect/>
          </a:stretch>
        </p:blipFill>
        <p:spPr>
          <a:xfrm>
            <a:off x="8219326" y="2623857"/>
            <a:ext cx="1603135" cy="1331694"/>
          </a:xfrm>
          <a:prstGeom prst="rect">
            <a:avLst/>
          </a:prstGeom>
        </p:spPr>
      </p:pic>
      <p:pic>
        <p:nvPicPr>
          <p:cNvPr id="2" name="Picture 1">
            <a:extLst>
              <a:ext uri="{FF2B5EF4-FFF2-40B4-BE49-F238E27FC236}">
                <a16:creationId xmlns:a16="http://schemas.microsoft.com/office/drawing/2014/main" id="{AABE724E-256F-4F9D-8EDF-36B4B5112AF7}"/>
              </a:ext>
            </a:extLst>
          </p:cNvPr>
          <p:cNvPicPr>
            <a:picLocks noChangeAspect="1"/>
          </p:cNvPicPr>
          <p:nvPr/>
        </p:nvPicPr>
        <p:blipFill>
          <a:blip r:embed="rId9"/>
          <a:stretch>
            <a:fillRect/>
          </a:stretch>
        </p:blipFill>
        <p:spPr>
          <a:xfrm>
            <a:off x="4500081" y="947288"/>
            <a:ext cx="1777725" cy="1100229"/>
          </a:xfrm>
          <a:prstGeom prst="rect">
            <a:avLst/>
          </a:prstGeom>
        </p:spPr>
      </p:pic>
    </p:spTree>
    <p:extLst>
      <p:ext uri="{BB962C8B-B14F-4D97-AF65-F5344CB8AC3E}">
        <p14:creationId xmlns:p14="http://schemas.microsoft.com/office/powerpoint/2010/main" val="38034339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A282B52-CDAB-4AE7-971E-125A0F0EED6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5" name="think-cell Slide" r:id="rId5" imgW="425" imgH="424" progId="TCLayout.ActiveDocument.1">
                  <p:embed/>
                </p:oleObj>
              </mc:Choice>
              <mc:Fallback>
                <p:oleObj name="think-cell Slide" r:id="rId5" imgW="425"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F45F542-157F-4C1D-910D-B0AD9101F8D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ZA" sz="1600">
              <a:latin typeface="Calibri" panose="020F0502020204030204" pitchFamily="34" charset="0"/>
              <a:sym typeface="Calibri" panose="020F0502020204030204" pitchFamily="34" charset="0"/>
            </a:endParaRPr>
          </a:p>
        </p:txBody>
      </p:sp>
      <p:sp>
        <p:nvSpPr>
          <p:cNvPr id="18" name="Rectangle 17">
            <a:extLst>
              <a:ext uri="{FF2B5EF4-FFF2-40B4-BE49-F238E27FC236}">
                <a16:creationId xmlns:a16="http://schemas.microsoft.com/office/drawing/2014/main" id="{AD5B4FE6-B71B-499E-AFFE-303FB2402E67}"/>
              </a:ext>
            </a:extLst>
          </p:cNvPr>
          <p:cNvSpPr/>
          <p:nvPr/>
        </p:nvSpPr>
        <p:spPr>
          <a:xfrm>
            <a:off x="-3" y="762153"/>
            <a:ext cx="12192002" cy="571325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7" name="Title 2"/>
          <p:cNvSpPr txBox="1">
            <a:spLocks/>
          </p:cNvSpPr>
          <p:nvPr/>
        </p:nvSpPr>
        <p:spPr>
          <a:xfrm>
            <a:off x="-1" y="5646"/>
            <a:ext cx="12192001" cy="805723"/>
          </a:xfrm>
          <a:prstGeom prst="rect">
            <a:avLst/>
          </a:prstGeom>
          <a:solidFill>
            <a:srgbClr val="00266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rtlCol="0" anchor="ctr">
            <a:noAutofit/>
            <a:scene3d>
              <a:camera prst="orthographicFront"/>
              <a:lightRig rig="soft" dir="t"/>
            </a:scene3d>
            <a:sp3d prstMaterial="softEdge">
              <a:bevelT w="25400" h="25400"/>
            </a:sp3d>
          </a:bodyPr>
          <a:lstStyle>
            <a:lvl1pPr algn="r" rtl="0" eaLnBrk="1" latinLnBrk="0" hangingPunct="1">
              <a:spcBef>
                <a:spcPct val="0"/>
              </a:spcBef>
              <a:buNone/>
              <a:defRPr kumimoji="0" sz="3200" b="1" kern="1200">
                <a:solidFill>
                  <a:srgbClr val="9A9B9C"/>
                </a:solidFill>
                <a:effectLst>
                  <a:outerShdw blurRad="31750" dist="25400" dir="5400000" algn="tl" rotWithShape="0">
                    <a:srgbClr val="000000">
                      <a:alpha val="25000"/>
                    </a:srgbClr>
                  </a:outerShdw>
                </a:effectLst>
                <a:latin typeface="+mn-lt"/>
                <a:ea typeface="+mj-ea"/>
                <a:cs typeface="+mj-cs"/>
              </a:defRPr>
            </a:lvl1pPr>
            <a:lvl2pPr>
              <a:defRPr/>
            </a:lvl2pPr>
            <a:lvl3pPr>
              <a:defRPr/>
            </a:lvl3pPr>
            <a:lvl4pPr>
              <a:defRPr/>
            </a:lvl4pPr>
            <a:lvl5pPr>
              <a:defRPr/>
            </a:lvl5pPr>
            <a:lvl6pPr>
              <a:defRPr/>
            </a:lvl6pPr>
            <a:lvl7pPr>
              <a:defRPr/>
            </a:lvl7pPr>
            <a:lvl8pPr>
              <a:defRPr/>
            </a:lvl8pPr>
            <a:lvl9pPr>
              <a:defRPr/>
            </a:lvl9pPr>
            <a:extLst/>
          </a:lstStyle>
          <a:p>
            <a:pPr marL="354013" indent="7938" algn="l"/>
            <a:r>
              <a:rPr lang="en-ZA" sz="2000" kern="0" dirty="0">
                <a:solidFill>
                  <a:prstClr val="white"/>
                </a:solidFill>
              </a:rPr>
              <a:t>NHFC VALUES WILL BE FUNDAMENTAL TO HSDB ACHIEVING ITS OVERALL VISION OF BEING THE </a:t>
            </a:r>
          </a:p>
          <a:p>
            <a:pPr marL="354013" indent="7938" algn="l"/>
            <a:r>
              <a:rPr lang="en-ZA" sz="2000" kern="0" dirty="0">
                <a:solidFill>
                  <a:prstClr val="white"/>
                </a:solidFill>
              </a:rPr>
              <a:t>APEX HUMAN SETTLEMENTS FINANCING INSTITUTION IN SOUTH AFRICA </a:t>
            </a:r>
            <a:endParaRPr lang="en-GB" sz="2000" kern="0" dirty="0">
              <a:solidFill>
                <a:prstClr val="white"/>
              </a:solidFill>
            </a:endParaRPr>
          </a:p>
        </p:txBody>
      </p:sp>
      <p:sp>
        <p:nvSpPr>
          <p:cNvPr id="8" name="Parallelogram 7"/>
          <p:cNvSpPr/>
          <p:nvPr/>
        </p:nvSpPr>
        <p:spPr>
          <a:xfrm>
            <a:off x="-2" y="6519067"/>
            <a:ext cx="9871077" cy="335757"/>
          </a:xfrm>
          <a:custGeom>
            <a:avLst/>
            <a:gdLst>
              <a:gd name="connsiteX0" fmla="*/ 0 w 10188575"/>
              <a:gd name="connsiteY0" fmla="*/ 166915 h 166915"/>
              <a:gd name="connsiteX1" fmla="*/ 41729 w 10188575"/>
              <a:gd name="connsiteY1" fmla="*/ 0 h 166915"/>
              <a:gd name="connsiteX2" fmla="*/ 10188575 w 10188575"/>
              <a:gd name="connsiteY2" fmla="*/ 0 h 166915"/>
              <a:gd name="connsiteX3" fmla="*/ 10146846 w 10188575"/>
              <a:gd name="connsiteY3" fmla="*/ 166915 h 166915"/>
              <a:gd name="connsiteX4" fmla="*/ 0 w 10188575"/>
              <a:gd name="connsiteY4" fmla="*/ 166915 h 166915"/>
              <a:gd name="connsiteX0" fmla="*/ 17802 w 10146846"/>
              <a:gd name="connsiteY0" fmla="*/ 166915 h 166915"/>
              <a:gd name="connsiteX1" fmla="*/ 0 w 10146846"/>
              <a:gd name="connsiteY1" fmla="*/ 0 h 166915"/>
              <a:gd name="connsiteX2" fmla="*/ 10146846 w 10146846"/>
              <a:gd name="connsiteY2" fmla="*/ 0 h 166915"/>
              <a:gd name="connsiteX3" fmla="*/ 10105117 w 10146846"/>
              <a:gd name="connsiteY3" fmla="*/ 166915 h 166915"/>
              <a:gd name="connsiteX4" fmla="*/ 17802 w 10146846"/>
              <a:gd name="connsiteY4" fmla="*/ 166915 h 166915"/>
              <a:gd name="connsiteX0" fmla="*/ 3514 w 10132558"/>
              <a:gd name="connsiteY0" fmla="*/ 166915 h 166915"/>
              <a:gd name="connsiteX1" fmla="*/ 0 w 10132558"/>
              <a:gd name="connsiteY1" fmla="*/ 2381 h 166915"/>
              <a:gd name="connsiteX2" fmla="*/ 10132558 w 10132558"/>
              <a:gd name="connsiteY2" fmla="*/ 0 h 166915"/>
              <a:gd name="connsiteX3" fmla="*/ 10090829 w 10132558"/>
              <a:gd name="connsiteY3" fmla="*/ 166915 h 166915"/>
              <a:gd name="connsiteX4" fmla="*/ 3514 w 10132558"/>
              <a:gd name="connsiteY4" fmla="*/ 166915 h 166915"/>
              <a:gd name="connsiteX0" fmla="*/ 154 w 10129198"/>
              <a:gd name="connsiteY0" fmla="*/ 166915 h 166915"/>
              <a:gd name="connsiteX1" fmla="*/ 3784 w 10129198"/>
              <a:gd name="connsiteY1" fmla="*/ 0 h 166915"/>
              <a:gd name="connsiteX2" fmla="*/ 10129198 w 10129198"/>
              <a:gd name="connsiteY2" fmla="*/ 0 h 166915"/>
              <a:gd name="connsiteX3" fmla="*/ 10087469 w 10129198"/>
              <a:gd name="connsiteY3" fmla="*/ 166915 h 166915"/>
              <a:gd name="connsiteX4" fmla="*/ 154 w 10129198"/>
              <a:gd name="connsiteY4" fmla="*/ 166915 h 166915"/>
              <a:gd name="connsiteX0" fmla="*/ 239 w 10126902"/>
              <a:gd name="connsiteY0" fmla="*/ 169296 h 169296"/>
              <a:gd name="connsiteX1" fmla="*/ 1488 w 10126902"/>
              <a:gd name="connsiteY1" fmla="*/ 0 h 169296"/>
              <a:gd name="connsiteX2" fmla="*/ 10126902 w 10126902"/>
              <a:gd name="connsiteY2" fmla="*/ 0 h 169296"/>
              <a:gd name="connsiteX3" fmla="*/ 10085173 w 10126902"/>
              <a:gd name="connsiteY3" fmla="*/ 166915 h 169296"/>
              <a:gd name="connsiteX4" fmla="*/ 239 w 10126902"/>
              <a:gd name="connsiteY4" fmla="*/ 169296 h 169296"/>
              <a:gd name="connsiteX0" fmla="*/ 239 w 10425352"/>
              <a:gd name="connsiteY0" fmla="*/ 175887 h 175887"/>
              <a:gd name="connsiteX1" fmla="*/ 1488 w 10425352"/>
              <a:gd name="connsiteY1" fmla="*/ 6591 h 175887"/>
              <a:gd name="connsiteX2" fmla="*/ 10425352 w 10425352"/>
              <a:gd name="connsiteY2" fmla="*/ 0 h 175887"/>
              <a:gd name="connsiteX3" fmla="*/ 10085173 w 10425352"/>
              <a:gd name="connsiteY3" fmla="*/ 173506 h 175887"/>
              <a:gd name="connsiteX4" fmla="*/ 239 w 10425352"/>
              <a:gd name="connsiteY4" fmla="*/ 175887 h 175887"/>
              <a:gd name="connsiteX0" fmla="*/ 239 w 10635515"/>
              <a:gd name="connsiteY0" fmla="*/ 179182 h 179182"/>
              <a:gd name="connsiteX1" fmla="*/ 1488 w 10635515"/>
              <a:gd name="connsiteY1" fmla="*/ 9886 h 179182"/>
              <a:gd name="connsiteX2" fmla="*/ 10635515 w 10635515"/>
              <a:gd name="connsiteY2" fmla="*/ 0 h 179182"/>
              <a:gd name="connsiteX3" fmla="*/ 10085173 w 10635515"/>
              <a:gd name="connsiteY3" fmla="*/ 176801 h 179182"/>
              <a:gd name="connsiteX4" fmla="*/ 239 w 10635515"/>
              <a:gd name="connsiteY4" fmla="*/ 179182 h 179182"/>
              <a:gd name="connsiteX0" fmla="*/ 239 w 10635515"/>
              <a:gd name="connsiteY0" fmla="*/ 179182 h 179182"/>
              <a:gd name="connsiteX1" fmla="*/ 1488 w 10635515"/>
              <a:gd name="connsiteY1" fmla="*/ 9886 h 179182"/>
              <a:gd name="connsiteX2" fmla="*/ 10635515 w 10635515"/>
              <a:gd name="connsiteY2" fmla="*/ 0 h 179182"/>
              <a:gd name="connsiteX3" fmla="*/ 10224620 w 10635515"/>
              <a:gd name="connsiteY3" fmla="*/ 178449 h 179182"/>
              <a:gd name="connsiteX4" fmla="*/ 239 w 10635515"/>
              <a:gd name="connsiteY4" fmla="*/ 179182 h 179182"/>
              <a:gd name="connsiteX0" fmla="*/ 239 w 10635515"/>
              <a:gd name="connsiteY0" fmla="*/ 174239 h 174239"/>
              <a:gd name="connsiteX1" fmla="*/ 1488 w 10635515"/>
              <a:gd name="connsiteY1" fmla="*/ 4943 h 174239"/>
              <a:gd name="connsiteX2" fmla="*/ 10635515 w 10635515"/>
              <a:gd name="connsiteY2" fmla="*/ 0 h 174239"/>
              <a:gd name="connsiteX3" fmla="*/ 10224620 w 10635515"/>
              <a:gd name="connsiteY3" fmla="*/ 173506 h 174239"/>
              <a:gd name="connsiteX4" fmla="*/ 239 w 10635515"/>
              <a:gd name="connsiteY4" fmla="*/ 174239 h 174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35515" h="174239">
                <a:moveTo>
                  <a:pt x="239" y="174239"/>
                </a:moveTo>
                <a:cubicBezTo>
                  <a:pt x="-932" y="119394"/>
                  <a:pt x="2659" y="59788"/>
                  <a:pt x="1488" y="4943"/>
                </a:cubicBezTo>
                <a:lnTo>
                  <a:pt x="10635515" y="0"/>
                </a:lnTo>
                <a:lnTo>
                  <a:pt x="10224620" y="173506"/>
                </a:lnTo>
                <a:lnTo>
                  <a:pt x="239" y="174239"/>
                </a:lnTo>
                <a:close/>
              </a:path>
            </a:pathLst>
          </a:custGeom>
          <a:pattFill prst="pct70">
            <a:fgClr>
              <a:schemeClr val="bg1">
                <a:lumMod val="75000"/>
              </a:schemeClr>
            </a:fgClr>
            <a:bgClr>
              <a:schemeClr val="bg1"/>
            </a:bgClr>
          </a:patt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11" name="Parallelogram 10"/>
          <p:cNvSpPr/>
          <p:nvPr/>
        </p:nvSpPr>
        <p:spPr>
          <a:xfrm>
            <a:off x="10360480" y="6519067"/>
            <a:ext cx="1831520" cy="330199"/>
          </a:xfrm>
          <a:custGeom>
            <a:avLst/>
            <a:gdLst>
              <a:gd name="connsiteX0" fmla="*/ 0 w 1983938"/>
              <a:gd name="connsiteY0" fmla="*/ 166914 h 166914"/>
              <a:gd name="connsiteX1" fmla="*/ 41729 w 1983938"/>
              <a:gd name="connsiteY1" fmla="*/ 0 h 166914"/>
              <a:gd name="connsiteX2" fmla="*/ 1983938 w 1983938"/>
              <a:gd name="connsiteY2" fmla="*/ 0 h 166914"/>
              <a:gd name="connsiteX3" fmla="*/ 1942210 w 1983938"/>
              <a:gd name="connsiteY3" fmla="*/ 166914 h 166914"/>
              <a:gd name="connsiteX4" fmla="*/ 0 w 1983938"/>
              <a:gd name="connsiteY4" fmla="*/ 166914 h 166914"/>
              <a:gd name="connsiteX0" fmla="*/ 0 w 1942210"/>
              <a:gd name="connsiteY0" fmla="*/ 166914 h 166914"/>
              <a:gd name="connsiteX1" fmla="*/ 41729 w 1942210"/>
              <a:gd name="connsiteY1" fmla="*/ 0 h 166914"/>
              <a:gd name="connsiteX2" fmla="*/ 1910120 w 1942210"/>
              <a:gd name="connsiteY2" fmla="*/ 0 h 166914"/>
              <a:gd name="connsiteX3" fmla="*/ 1942210 w 1942210"/>
              <a:gd name="connsiteY3" fmla="*/ 166914 h 166914"/>
              <a:gd name="connsiteX4" fmla="*/ 0 w 1942210"/>
              <a:gd name="connsiteY4" fmla="*/ 166914 h 166914"/>
              <a:gd name="connsiteX0" fmla="*/ 0 w 1913635"/>
              <a:gd name="connsiteY0" fmla="*/ 166914 h 166914"/>
              <a:gd name="connsiteX1" fmla="*/ 41729 w 1913635"/>
              <a:gd name="connsiteY1" fmla="*/ 0 h 166914"/>
              <a:gd name="connsiteX2" fmla="*/ 1910120 w 1913635"/>
              <a:gd name="connsiteY2" fmla="*/ 0 h 166914"/>
              <a:gd name="connsiteX3" fmla="*/ 1913635 w 1913635"/>
              <a:gd name="connsiteY3" fmla="*/ 166914 h 166914"/>
              <a:gd name="connsiteX4" fmla="*/ 0 w 1913635"/>
              <a:gd name="connsiteY4" fmla="*/ 166914 h 166914"/>
              <a:gd name="connsiteX0" fmla="*/ 0 w 1913635"/>
              <a:gd name="connsiteY0" fmla="*/ 170187 h 170187"/>
              <a:gd name="connsiteX1" fmla="*/ 352879 w 1913635"/>
              <a:gd name="connsiteY1" fmla="*/ 0 h 170187"/>
              <a:gd name="connsiteX2" fmla="*/ 1910120 w 1913635"/>
              <a:gd name="connsiteY2" fmla="*/ 3273 h 170187"/>
              <a:gd name="connsiteX3" fmla="*/ 1913635 w 1913635"/>
              <a:gd name="connsiteY3" fmla="*/ 170187 h 170187"/>
              <a:gd name="connsiteX4" fmla="*/ 0 w 1913635"/>
              <a:gd name="connsiteY4" fmla="*/ 170187 h 1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635" h="170187">
                <a:moveTo>
                  <a:pt x="0" y="170187"/>
                </a:moveTo>
                <a:lnTo>
                  <a:pt x="352879" y="0"/>
                </a:lnTo>
                <a:lnTo>
                  <a:pt x="1910120" y="3273"/>
                </a:lnTo>
                <a:cubicBezTo>
                  <a:pt x="1911292" y="58911"/>
                  <a:pt x="1912463" y="114549"/>
                  <a:pt x="1913635" y="170187"/>
                </a:cubicBezTo>
                <a:lnTo>
                  <a:pt x="0" y="170187"/>
                </a:lnTo>
                <a:close/>
              </a:path>
            </a:pathLst>
          </a:custGeom>
          <a:pattFill prst="pct70">
            <a:fgClr>
              <a:schemeClr val="accent4"/>
            </a:fgClr>
            <a:bgClr>
              <a:schemeClr val="bg1"/>
            </a:bgClr>
          </a:patt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3" name="Parallelogram 12"/>
          <p:cNvSpPr/>
          <p:nvPr/>
        </p:nvSpPr>
        <p:spPr>
          <a:xfrm>
            <a:off x="9680574" y="6524623"/>
            <a:ext cx="841376" cy="330201"/>
          </a:xfrm>
          <a:custGeom>
            <a:avLst/>
            <a:gdLst>
              <a:gd name="connsiteX0" fmla="*/ 0 w 812801"/>
              <a:gd name="connsiteY0" fmla="*/ 333376 h 333376"/>
              <a:gd name="connsiteX1" fmla="*/ 83344 w 812801"/>
              <a:gd name="connsiteY1" fmla="*/ 0 h 333376"/>
              <a:gd name="connsiteX2" fmla="*/ 812801 w 812801"/>
              <a:gd name="connsiteY2" fmla="*/ 0 h 333376"/>
              <a:gd name="connsiteX3" fmla="*/ 729457 w 812801"/>
              <a:gd name="connsiteY3" fmla="*/ 333376 h 333376"/>
              <a:gd name="connsiteX4" fmla="*/ 0 w 812801"/>
              <a:gd name="connsiteY4" fmla="*/ 333376 h 333376"/>
              <a:gd name="connsiteX0" fmla="*/ 0 w 1111251"/>
              <a:gd name="connsiteY0" fmla="*/ 330201 h 333376"/>
              <a:gd name="connsiteX1" fmla="*/ 381794 w 1111251"/>
              <a:gd name="connsiteY1" fmla="*/ 0 h 333376"/>
              <a:gd name="connsiteX2" fmla="*/ 1111251 w 1111251"/>
              <a:gd name="connsiteY2" fmla="*/ 0 h 333376"/>
              <a:gd name="connsiteX3" fmla="*/ 1027907 w 1111251"/>
              <a:gd name="connsiteY3" fmla="*/ 333376 h 333376"/>
              <a:gd name="connsiteX4" fmla="*/ 0 w 1111251"/>
              <a:gd name="connsiteY4" fmla="*/ 330201 h 333376"/>
              <a:gd name="connsiteX0" fmla="*/ 0 w 1111251"/>
              <a:gd name="connsiteY0" fmla="*/ 330201 h 330201"/>
              <a:gd name="connsiteX1" fmla="*/ 381794 w 1111251"/>
              <a:gd name="connsiteY1" fmla="*/ 0 h 330201"/>
              <a:gd name="connsiteX2" fmla="*/ 1111251 w 1111251"/>
              <a:gd name="connsiteY2" fmla="*/ 0 h 330201"/>
              <a:gd name="connsiteX3" fmla="*/ 805657 w 1111251"/>
              <a:gd name="connsiteY3" fmla="*/ 320676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815976"/>
              <a:gd name="connsiteY0" fmla="*/ 330201 h 330201"/>
              <a:gd name="connsiteX1" fmla="*/ 381794 w 815976"/>
              <a:gd name="connsiteY1" fmla="*/ 0 h 330201"/>
              <a:gd name="connsiteX2" fmla="*/ 815976 w 815976"/>
              <a:gd name="connsiteY2" fmla="*/ 0 h 330201"/>
              <a:gd name="connsiteX3" fmla="*/ 450057 w 815976"/>
              <a:gd name="connsiteY3" fmla="*/ 330201 h 330201"/>
              <a:gd name="connsiteX4" fmla="*/ 0 w 815976"/>
              <a:gd name="connsiteY4" fmla="*/ 330201 h 330201"/>
              <a:gd name="connsiteX0" fmla="*/ 0 w 841376"/>
              <a:gd name="connsiteY0" fmla="*/ 330201 h 330201"/>
              <a:gd name="connsiteX1" fmla="*/ 381794 w 841376"/>
              <a:gd name="connsiteY1" fmla="*/ 0 h 330201"/>
              <a:gd name="connsiteX2" fmla="*/ 841376 w 841376"/>
              <a:gd name="connsiteY2" fmla="*/ 0 h 330201"/>
              <a:gd name="connsiteX3" fmla="*/ 450057 w 841376"/>
              <a:gd name="connsiteY3" fmla="*/ 330201 h 330201"/>
              <a:gd name="connsiteX4" fmla="*/ 0 w 841376"/>
              <a:gd name="connsiteY4" fmla="*/ 330201 h 33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376" h="330201">
                <a:moveTo>
                  <a:pt x="0" y="330201"/>
                </a:moveTo>
                <a:lnTo>
                  <a:pt x="381794" y="0"/>
                </a:lnTo>
                <a:lnTo>
                  <a:pt x="841376" y="0"/>
                </a:lnTo>
                <a:lnTo>
                  <a:pt x="450057" y="330201"/>
                </a:lnTo>
                <a:lnTo>
                  <a:pt x="0" y="330201"/>
                </a:lnTo>
                <a:close/>
              </a:path>
            </a:pathLst>
          </a:custGeom>
          <a:pattFill prst="pct70">
            <a:fgClr>
              <a:schemeClr val="accent5">
                <a:lumMod val="50000"/>
              </a:schemeClr>
            </a:fgClr>
            <a:bgClr>
              <a:schemeClr val="bg1"/>
            </a:bgClr>
          </a:patt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306EBDAB-6567-4BB5-A72D-B8C120B081C9}"/>
              </a:ext>
            </a:extLst>
          </p:cNvPr>
          <p:cNvSpPr txBox="1"/>
          <p:nvPr/>
        </p:nvSpPr>
        <p:spPr>
          <a:xfrm>
            <a:off x="30144" y="6484140"/>
            <a:ext cx="12161855" cy="373859"/>
          </a:xfrm>
          <a:prstGeom prst="rect">
            <a:avLst/>
          </a:prstGeom>
          <a:noFill/>
        </p:spPr>
        <p:txBody>
          <a:bodyPr wrap="square" rtlCol="0" anchor="ctr">
            <a:noAutofit/>
          </a:bodyPr>
          <a:lstStyle/>
          <a:p>
            <a:pPr indent="361950"/>
            <a:endParaRPr lang="en-ZA" sz="1000" b="1" dirty="0"/>
          </a:p>
        </p:txBody>
      </p:sp>
      <p:sp>
        <p:nvSpPr>
          <p:cNvPr id="5" name="Slide Number Placeholder 4">
            <a:extLst>
              <a:ext uri="{FF2B5EF4-FFF2-40B4-BE49-F238E27FC236}">
                <a16:creationId xmlns:a16="http://schemas.microsoft.com/office/drawing/2014/main" id="{A987B35D-F68B-4006-AC19-5A526609671C}"/>
              </a:ext>
            </a:extLst>
          </p:cNvPr>
          <p:cNvSpPr>
            <a:spLocks noGrp="1"/>
          </p:cNvSpPr>
          <p:nvPr>
            <p:ph type="sldNum" sz="quarter" idx="12"/>
          </p:nvPr>
        </p:nvSpPr>
        <p:spPr>
          <a:xfrm>
            <a:off x="9448800" y="6484141"/>
            <a:ext cx="2743200" cy="365125"/>
          </a:xfrm>
        </p:spPr>
        <p:txBody>
          <a:bodyPr anchor="ctr"/>
          <a:lstStyle/>
          <a:p>
            <a:fld id="{87102F09-8F7D-4EC1-9AE5-82CA77F49212}" type="slidenum">
              <a:rPr lang="en-ZA" b="1" smtClean="0">
                <a:solidFill>
                  <a:schemeClr val="tx1"/>
                </a:solidFill>
              </a:rPr>
              <a:t>7</a:t>
            </a:fld>
            <a:endParaRPr lang="en-ZA" b="1">
              <a:solidFill>
                <a:schemeClr val="tx1"/>
              </a:solidFill>
            </a:endParaRPr>
          </a:p>
        </p:txBody>
      </p:sp>
      <p:sp>
        <p:nvSpPr>
          <p:cNvPr id="90" name="TextBox 104">
            <a:extLst>
              <a:ext uri="{FF2B5EF4-FFF2-40B4-BE49-F238E27FC236}">
                <a16:creationId xmlns:a16="http://schemas.microsoft.com/office/drawing/2014/main" id="{D5A278F4-494E-415E-A3B1-D7D24FEB3AFD}"/>
              </a:ext>
            </a:extLst>
          </p:cNvPr>
          <p:cNvSpPr txBox="1"/>
          <p:nvPr/>
        </p:nvSpPr>
        <p:spPr>
          <a:xfrm>
            <a:off x="5696862" y="1329865"/>
            <a:ext cx="5084457" cy="553998"/>
          </a:xfrm>
          <a:prstGeom prst="rect">
            <a:avLst/>
          </a:prstGeom>
          <a:noFill/>
          <a:ln w="6350">
            <a:noFill/>
            <a:prstDash val="dash"/>
          </a:ln>
        </p:spPr>
        <p:txBody>
          <a:bodyPr wrap="squar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endParaRPr lang="en-ZA" sz="1600" dirty="0">
              <a:solidFill>
                <a:schemeClr val="bg1"/>
              </a:solidFill>
            </a:endParaRPr>
          </a:p>
          <a:p>
            <a:pPr algn="just"/>
            <a:r>
              <a:rPr lang="en-GB" sz="1600" dirty="0">
                <a:solidFill>
                  <a:schemeClr val="bg1"/>
                </a:solidFill>
              </a:rPr>
              <a:t>Serving the households evolving needs of access and affordability to adequate housing, in support of developing quality living environment</a:t>
            </a:r>
            <a:endParaRPr lang="en-ZA" sz="1600" dirty="0">
              <a:solidFill>
                <a:schemeClr val="bg1"/>
              </a:solidFill>
            </a:endParaRPr>
          </a:p>
          <a:p>
            <a:pPr algn="just"/>
            <a:endParaRPr lang="en-ZA" sz="1600" dirty="0">
              <a:solidFill>
                <a:schemeClr val="bg1"/>
              </a:solidFill>
            </a:endParaRPr>
          </a:p>
          <a:p>
            <a:pPr algn="just"/>
            <a:endParaRPr lang="en-ZA" sz="1600" dirty="0">
              <a:solidFill>
                <a:schemeClr val="bg1"/>
              </a:solidFill>
            </a:endParaRPr>
          </a:p>
        </p:txBody>
      </p:sp>
      <p:sp>
        <p:nvSpPr>
          <p:cNvPr id="91" name="TextBox 182">
            <a:extLst>
              <a:ext uri="{FF2B5EF4-FFF2-40B4-BE49-F238E27FC236}">
                <a16:creationId xmlns:a16="http://schemas.microsoft.com/office/drawing/2014/main" id="{EE50F7B8-CC31-465F-85E0-8367C4DBE2AA}"/>
              </a:ext>
            </a:extLst>
          </p:cNvPr>
          <p:cNvSpPr txBox="1"/>
          <p:nvPr/>
        </p:nvSpPr>
        <p:spPr>
          <a:xfrm>
            <a:off x="5757703" y="2551632"/>
            <a:ext cx="5092900" cy="539610"/>
          </a:xfrm>
          <a:prstGeom prst="rect">
            <a:avLst/>
          </a:prstGeom>
          <a:noFill/>
          <a:ln w="6350">
            <a:noFill/>
            <a:prstDash val="dash"/>
          </a:ln>
        </p:spPr>
        <p:txBody>
          <a:bodyPr wrap="square" lIns="0" tIns="0" rIns="0" bIns="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r>
              <a:rPr lang="en-GB" sz="1600" dirty="0">
                <a:solidFill>
                  <a:schemeClr val="bg1"/>
                </a:solidFill>
              </a:rPr>
              <a:t>To</a:t>
            </a:r>
            <a:r>
              <a:rPr lang="en-GB" sz="1600" dirty="0"/>
              <a:t> </a:t>
            </a:r>
            <a:r>
              <a:rPr lang="en-GB" sz="1600" dirty="0">
                <a:solidFill>
                  <a:schemeClr val="bg1"/>
                </a:solidFill>
              </a:rPr>
              <a:t>prioritise the development impact through Transformation and Sustainability </a:t>
            </a:r>
            <a:endParaRPr lang="en-ZA" sz="1600" dirty="0">
              <a:solidFill>
                <a:schemeClr val="bg1"/>
              </a:solidFill>
            </a:endParaRPr>
          </a:p>
        </p:txBody>
      </p:sp>
      <p:grpSp>
        <p:nvGrpSpPr>
          <p:cNvPr id="94" name="Group 93">
            <a:extLst>
              <a:ext uri="{FF2B5EF4-FFF2-40B4-BE49-F238E27FC236}">
                <a16:creationId xmlns:a16="http://schemas.microsoft.com/office/drawing/2014/main" id="{20784E08-2B9A-4318-AFEB-F8A321574AB2}"/>
              </a:ext>
            </a:extLst>
          </p:cNvPr>
          <p:cNvGrpSpPr/>
          <p:nvPr/>
        </p:nvGrpSpPr>
        <p:grpSpPr>
          <a:xfrm>
            <a:off x="494933" y="1112276"/>
            <a:ext cx="4977838" cy="4566709"/>
            <a:chOff x="1966751" y="1498241"/>
            <a:chExt cx="4771784" cy="4377673"/>
          </a:xfrm>
        </p:grpSpPr>
        <p:cxnSp>
          <p:nvCxnSpPr>
            <p:cNvPr id="95" name="Straight Connector 94">
              <a:extLst>
                <a:ext uri="{FF2B5EF4-FFF2-40B4-BE49-F238E27FC236}">
                  <a16:creationId xmlns:a16="http://schemas.microsoft.com/office/drawing/2014/main" id="{5E3764FF-297D-468C-A75A-0CEA444B86BA}"/>
                </a:ext>
              </a:extLst>
            </p:cNvPr>
            <p:cNvCxnSpPr/>
            <p:nvPr/>
          </p:nvCxnSpPr>
          <p:spPr>
            <a:xfrm flipV="1">
              <a:off x="4280661" y="1976396"/>
              <a:ext cx="2457874" cy="1"/>
            </a:xfrm>
            <a:prstGeom prst="line">
              <a:avLst/>
            </a:prstGeom>
            <a:ln>
              <a:solidFill>
                <a:schemeClr val="accent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6C0070A-1AA3-4219-BA3B-5F1606304F5B}"/>
                </a:ext>
              </a:extLst>
            </p:cNvPr>
            <p:cNvCxnSpPr/>
            <p:nvPr/>
          </p:nvCxnSpPr>
          <p:spPr>
            <a:xfrm>
              <a:off x="5715033" y="4512834"/>
              <a:ext cx="1023502" cy="1"/>
            </a:xfrm>
            <a:prstGeom prst="line">
              <a:avLst/>
            </a:prstGeom>
            <a:solidFill>
              <a:schemeClr val="accent5">
                <a:lumMod val="20000"/>
                <a:lumOff val="80000"/>
              </a:schemeClr>
            </a:solidFill>
            <a:ln>
              <a:solidFill>
                <a:schemeClr val="accent5">
                  <a:lumMod val="20000"/>
                  <a:lumOff val="8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A429CAAF-ED6C-4332-BDE1-A78467A52E34}"/>
                </a:ext>
              </a:extLst>
            </p:cNvPr>
            <p:cNvCxnSpPr/>
            <p:nvPr/>
          </p:nvCxnSpPr>
          <p:spPr>
            <a:xfrm>
              <a:off x="5769427" y="3097447"/>
              <a:ext cx="969108" cy="1"/>
            </a:xfrm>
            <a:prstGeom prst="line">
              <a:avLst/>
            </a:prstGeom>
            <a:ln>
              <a:solidFill>
                <a:schemeClr val="accent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9" name="Oval 98">
              <a:extLst>
                <a:ext uri="{FF2B5EF4-FFF2-40B4-BE49-F238E27FC236}">
                  <a16:creationId xmlns:a16="http://schemas.microsoft.com/office/drawing/2014/main" id="{1BE6BEE1-9E52-4136-8140-F6B84DED081B}"/>
                </a:ext>
              </a:extLst>
            </p:cNvPr>
            <p:cNvSpPr>
              <a:spLocks noChangeArrowheads="1"/>
            </p:cNvSpPr>
            <p:nvPr/>
          </p:nvSpPr>
          <p:spPr bwMode="auto">
            <a:xfrm>
              <a:off x="1966751" y="2189756"/>
              <a:ext cx="3686160" cy="3686158"/>
            </a:xfrm>
            <a:prstGeom prst="ellipse">
              <a:avLst/>
            </a:prstGeom>
            <a:solidFill>
              <a:schemeClr val="bg1">
                <a:lumMod val="95000"/>
              </a:schemeClr>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01" name="Freeform 13">
              <a:extLst>
                <a:ext uri="{FF2B5EF4-FFF2-40B4-BE49-F238E27FC236}">
                  <a16:creationId xmlns:a16="http://schemas.microsoft.com/office/drawing/2014/main" id="{6C279233-781C-446B-81A7-82340183E30D}"/>
                </a:ext>
              </a:extLst>
            </p:cNvPr>
            <p:cNvSpPr>
              <a:spLocks/>
            </p:cNvSpPr>
            <p:nvPr/>
          </p:nvSpPr>
          <p:spPr bwMode="auto">
            <a:xfrm>
              <a:off x="4246830" y="4041479"/>
              <a:ext cx="1811386" cy="1774888"/>
            </a:xfrm>
            <a:custGeom>
              <a:avLst/>
              <a:gdLst>
                <a:gd name="T0" fmla="*/ 231 w 398"/>
                <a:gd name="T1" fmla="*/ 390 h 390"/>
                <a:gd name="T2" fmla="*/ 0 w 398"/>
                <a:gd name="T3" fmla="*/ 148 h 390"/>
                <a:gd name="T4" fmla="*/ 80 w 398"/>
                <a:gd name="T5" fmla="*/ 28 h 390"/>
                <a:gd name="T6" fmla="*/ 398 w 398"/>
                <a:gd name="T7" fmla="*/ 0 h 390"/>
                <a:gd name="T8" fmla="*/ 396 w 398"/>
                <a:gd name="T9" fmla="*/ 27 h 390"/>
                <a:gd name="T10" fmla="*/ 231 w 398"/>
                <a:gd name="T11" fmla="*/ 390 h 390"/>
              </a:gdLst>
              <a:ahLst/>
              <a:cxnLst>
                <a:cxn ang="0">
                  <a:pos x="T0" y="T1"/>
                </a:cxn>
                <a:cxn ang="0">
                  <a:pos x="T2" y="T3"/>
                </a:cxn>
                <a:cxn ang="0">
                  <a:pos x="T4" y="T5"/>
                </a:cxn>
                <a:cxn ang="0">
                  <a:pos x="T6" y="T7"/>
                </a:cxn>
                <a:cxn ang="0">
                  <a:pos x="T8" y="T9"/>
                </a:cxn>
                <a:cxn ang="0">
                  <a:pos x="T10" y="T11"/>
                </a:cxn>
              </a:cxnLst>
              <a:rect l="0" t="0" r="r" b="b"/>
              <a:pathLst>
                <a:path w="398" h="390">
                  <a:moveTo>
                    <a:pt x="231" y="390"/>
                  </a:moveTo>
                  <a:cubicBezTo>
                    <a:pt x="0" y="148"/>
                    <a:pt x="0" y="148"/>
                    <a:pt x="0" y="148"/>
                  </a:cubicBezTo>
                  <a:cubicBezTo>
                    <a:pt x="80" y="28"/>
                    <a:pt x="80" y="28"/>
                    <a:pt x="80" y="28"/>
                  </a:cubicBezTo>
                  <a:cubicBezTo>
                    <a:pt x="398" y="0"/>
                    <a:pt x="398" y="0"/>
                    <a:pt x="398" y="0"/>
                  </a:cubicBezTo>
                  <a:cubicBezTo>
                    <a:pt x="396" y="27"/>
                    <a:pt x="396" y="27"/>
                    <a:pt x="396" y="27"/>
                  </a:cubicBezTo>
                  <a:cubicBezTo>
                    <a:pt x="396" y="27"/>
                    <a:pt x="388" y="250"/>
                    <a:pt x="231" y="390"/>
                  </a:cubicBezTo>
                  <a:close/>
                </a:path>
              </a:pathLst>
            </a:custGeom>
            <a:solidFill>
              <a:schemeClr val="accent5">
                <a:lumMod val="20000"/>
                <a:lumOff val="80000"/>
              </a:schemeClr>
            </a:solidFill>
            <a:ln w="3175" cap="flat">
              <a:noFill/>
              <a:prstDash val="solid"/>
              <a:miter lim="800000"/>
              <a:headEnd/>
              <a:tailEnd/>
            </a:ln>
            <a:effectLst>
              <a:outerShdw blurRad="38100" dist="25400" dir="5400000" algn="ctr" rotWithShape="0">
                <a:srgbClr val="000000">
                  <a:alpha val="20000"/>
                </a:srgbClr>
              </a:outerShdw>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02" name="Freeform 14">
              <a:extLst>
                <a:ext uri="{FF2B5EF4-FFF2-40B4-BE49-F238E27FC236}">
                  <a16:creationId xmlns:a16="http://schemas.microsoft.com/office/drawing/2014/main" id="{BC6AF994-E7AE-4469-98EF-9C0C26AE3047}"/>
                </a:ext>
              </a:extLst>
            </p:cNvPr>
            <p:cNvSpPr>
              <a:spLocks/>
            </p:cNvSpPr>
            <p:nvPr/>
          </p:nvSpPr>
          <p:spPr bwMode="auto">
            <a:xfrm>
              <a:off x="4360162" y="2303087"/>
              <a:ext cx="1840198" cy="1867090"/>
            </a:xfrm>
            <a:custGeom>
              <a:avLst/>
              <a:gdLst>
                <a:gd name="T0" fmla="*/ 403 w 404"/>
                <a:gd name="T1" fmla="*/ 409 h 410"/>
                <a:gd name="T2" fmla="*/ 55 w 404"/>
                <a:gd name="T3" fmla="*/ 410 h 410"/>
                <a:gd name="T4" fmla="*/ 0 w 404"/>
                <a:gd name="T5" fmla="*/ 256 h 410"/>
                <a:gd name="T6" fmla="*/ 222 w 404"/>
                <a:gd name="T7" fmla="*/ 0 h 410"/>
                <a:gd name="T8" fmla="*/ 244 w 404"/>
                <a:gd name="T9" fmla="*/ 17 h 410"/>
                <a:gd name="T10" fmla="*/ 403 w 404"/>
                <a:gd name="T11" fmla="*/ 409 h 410"/>
              </a:gdLst>
              <a:ahLst/>
              <a:cxnLst>
                <a:cxn ang="0">
                  <a:pos x="T0" y="T1"/>
                </a:cxn>
                <a:cxn ang="0">
                  <a:pos x="T2" y="T3"/>
                </a:cxn>
                <a:cxn ang="0">
                  <a:pos x="T4" y="T5"/>
                </a:cxn>
                <a:cxn ang="0">
                  <a:pos x="T6" y="T7"/>
                </a:cxn>
                <a:cxn ang="0">
                  <a:pos x="T8" y="T9"/>
                </a:cxn>
                <a:cxn ang="0">
                  <a:pos x="T10" y="T11"/>
                </a:cxn>
              </a:cxnLst>
              <a:rect l="0" t="0" r="r" b="b"/>
              <a:pathLst>
                <a:path w="404" h="410">
                  <a:moveTo>
                    <a:pt x="403" y="409"/>
                  </a:moveTo>
                  <a:cubicBezTo>
                    <a:pt x="55" y="410"/>
                    <a:pt x="55" y="410"/>
                    <a:pt x="55" y="410"/>
                  </a:cubicBezTo>
                  <a:cubicBezTo>
                    <a:pt x="0" y="256"/>
                    <a:pt x="0" y="256"/>
                    <a:pt x="0" y="256"/>
                  </a:cubicBezTo>
                  <a:cubicBezTo>
                    <a:pt x="222" y="0"/>
                    <a:pt x="222" y="0"/>
                    <a:pt x="222" y="0"/>
                  </a:cubicBezTo>
                  <a:cubicBezTo>
                    <a:pt x="244" y="17"/>
                    <a:pt x="244" y="17"/>
                    <a:pt x="244" y="17"/>
                  </a:cubicBezTo>
                  <a:cubicBezTo>
                    <a:pt x="244" y="17"/>
                    <a:pt x="404" y="167"/>
                    <a:pt x="403" y="409"/>
                  </a:cubicBezTo>
                  <a:close/>
                </a:path>
              </a:pathLst>
            </a:custGeom>
            <a:solidFill>
              <a:schemeClr val="accent1"/>
            </a:solidFill>
            <a:ln w="3175" cap="flat">
              <a:noFill/>
              <a:prstDash val="solid"/>
              <a:miter lim="800000"/>
              <a:headEnd/>
              <a:tailEnd/>
            </a:ln>
            <a:effectLst>
              <a:outerShdw blurRad="38100" dist="25400" dir="5400000" algn="ctr" rotWithShape="0">
                <a:srgbClr val="000000">
                  <a:alpha val="20000"/>
                </a:srgbClr>
              </a:outerShdw>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03" name="Freeform 15">
              <a:extLst>
                <a:ext uri="{FF2B5EF4-FFF2-40B4-BE49-F238E27FC236}">
                  <a16:creationId xmlns:a16="http://schemas.microsoft.com/office/drawing/2014/main" id="{9B304380-60EF-4180-AD35-B028B3663859}"/>
                </a:ext>
              </a:extLst>
            </p:cNvPr>
            <p:cNvSpPr>
              <a:spLocks/>
            </p:cNvSpPr>
            <p:nvPr/>
          </p:nvSpPr>
          <p:spPr bwMode="auto">
            <a:xfrm>
              <a:off x="3595653" y="1498241"/>
              <a:ext cx="1957372" cy="1984263"/>
            </a:xfrm>
            <a:custGeom>
              <a:avLst/>
              <a:gdLst>
                <a:gd name="T0" fmla="*/ 0 w 430"/>
                <a:gd name="T1" fmla="*/ 6 h 436"/>
                <a:gd name="T2" fmla="*/ 7 w 430"/>
                <a:gd name="T3" fmla="*/ 383 h 436"/>
                <a:gd name="T4" fmla="*/ 177 w 430"/>
                <a:gd name="T5" fmla="*/ 436 h 436"/>
                <a:gd name="T6" fmla="*/ 430 w 430"/>
                <a:gd name="T7" fmla="*/ 175 h 436"/>
                <a:gd name="T8" fmla="*/ 0 w 430"/>
                <a:gd name="T9" fmla="*/ 6 h 436"/>
              </a:gdLst>
              <a:ahLst/>
              <a:cxnLst>
                <a:cxn ang="0">
                  <a:pos x="T0" y="T1"/>
                </a:cxn>
                <a:cxn ang="0">
                  <a:pos x="T2" y="T3"/>
                </a:cxn>
                <a:cxn ang="0">
                  <a:pos x="T4" y="T5"/>
                </a:cxn>
                <a:cxn ang="0">
                  <a:pos x="T6" y="T7"/>
                </a:cxn>
                <a:cxn ang="0">
                  <a:pos x="T8" y="T9"/>
                </a:cxn>
              </a:cxnLst>
              <a:rect l="0" t="0" r="r" b="b"/>
              <a:pathLst>
                <a:path w="430" h="436">
                  <a:moveTo>
                    <a:pt x="0" y="6"/>
                  </a:moveTo>
                  <a:cubicBezTo>
                    <a:pt x="7" y="383"/>
                    <a:pt x="7" y="383"/>
                    <a:pt x="7" y="383"/>
                  </a:cubicBezTo>
                  <a:cubicBezTo>
                    <a:pt x="177" y="436"/>
                    <a:pt x="177" y="436"/>
                    <a:pt x="177" y="436"/>
                  </a:cubicBezTo>
                  <a:cubicBezTo>
                    <a:pt x="430" y="175"/>
                    <a:pt x="430" y="175"/>
                    <a:pt x="430" y="175"/>
                  </a:cubicBezTo>
                  <a:cubicBezTo>
                    <a:pt x="430" y="175"/>
                    <a:pt x="262" y="0"/>
                    <a:pt x="0" y="6"/>
                  </a:cubicBezTo>
                  <a:close/>
                </a:path>
              </a:pathLst>
            </a:custGeom>
            <a:solidFill>
              <a:schemeClr val="accent3"/>
            </a:solidFill>
            <a:ln w="3175" cap="flat">
              <a:noFill/>
              <a:prstDash val="solid"/>
              <a:miter lim="800000"/>
              <a:headEnd/>
              <a:tailEnd/>
            </a:ln>
            <a:effectLst>
              <a:outerShdw blurRad="38100" dist="25400" dir="5400000" algn="ctr" rotWithShape="0">
                <a:srgbClr val="000000">
                  <a:alpha val="20000"/>
                </a:srgbClr>
              </a:outerShdw>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nvGrpSpPr>
            <p:cNvPr id="104" name="Group 103">
              <a:extLst>
                <a:ext uri="{FF2B5EF4-FFF2-40B4-BE49-F238E27FC236}">
                  <a16:creationId xmlns:a16="http://schemas.microsoft.com/office/drawing/2014/main" id="{35E37AD1-6BDF-4478-BB11-94DEA85006F8}"/>
                </a:ext>
              </a:extLst>
            </p:cNvPr>
            <p:cNvGrpSpPr/>
            <p:nvPr/>
          </p:nvGrpSpPr>
          <p:grpSpPr>
            <a:xfrm>
              <a:off x="2844592" y="3067595"/>
              <a:ext cx="1930480" cy="1930479"/>
              <a:chOff x="1497013" y="3295650"/>
              <a:chExt cx="1595438" cy="1595437"/>
            </a:xfrm>
          </p:grpSpPr>
          <p:sp>
            <p:nvSpPr>
              <p:cNvPr id="116" name="Oval 115">
                <a:extLst>
                  <a:ext uri="{FF2B5EF4-FFF2-40B4-BE49-F238E27FC236}">
                    <a16:creationId xmlns:a16="http://schemas.microsoft.com/office/drawing/2014/main" id="{B945ED89-877D-4349-9091-BB15C7D0CF45}"/>
                  </a:ext>
                </a:extLst>
              </p:cNvPr>
              <p:cNvSpPr>
                <a:spLocks noChangeArrowheads="1"/>
              </p:cNvSpPr>
              <p:nvPr/>
            </p:nvSpPr>
            <p:spPr bwMode="auto">
              <a:xfrm>
                <a:off x="1497013" y="3295650"/>
                <a:ext cx="1595438" cy="1595437"/>
              </a:xfrm>
              <a:prstGeom prst="ellipse">
                <a:avLst/>
              </a:prstGeom>
              <a:solidFill>
                <a:schemeClr val="bg1"/>
              </a:solidFill>
              <a:ln w="3175" cap="flat">
                <a:noFill/>
                <a:prstDash val="solid"/>
                <a:miter lim="800000"/>
                <a:headEnd/>
                <a:tailEnd/>
              </a:ln>
              <a:effectLst>
                <a:outerShdw blurRad="38100" dist="25400" dir="5400000" algn="ctr" rotWithShape="0">
                  <a:srgbClr val="000000">
                    <a:alpha val="20000"/>
                  </a:srgbClr>
                </a:outerShdw>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7" name="Oval 116">
                <a:extLst>
                  <a:ext uri="{FF2B5EF4-FFF2-40B4-BE49-F238E27FC236}">
                    <a16:creationId xmlns:a16="http://schemas.microsoft.com/office/drawing/2014/main" id="{A394023A-B4A3-4971-99FA-058D2B817BF4}"/>
                  </a:ext>
                </a:extLst>
              </p:cNvPr>
              <p:cNvSpPr>
                <a:spLocks noChangeArrowheads="1"/>
              </p:cNvSpPr>
              <p:nvPr/>
            </p:nvSpPr>
            <p:spPr bwMode="auto">
              <a:xfrm>
                <a:off x="1625600" y="3424238"/>
                <a:ext cx="1338263" cy="1338262"/>
              </a:xfrm>
              <a:prstGeom prst="ellipse">
                <a:avLst/>
              </a:prstGeom>
              <a:solidFill>
                <a:srgbClr val="AAAAAA"/>
              </a:solidFill>
              <a:ln w="3175" cap="flat">
                <a:noFill/>
                <a:prstDash val="solid"/>
                <a:miter lim="800000"/>
                <a:headEnd/>
                <a:tailEnd/>
              </a:ln>
              <a:effectLst>
                <a:outerShdw blurRad="38100" dist="25400" dir="5400000" algn="ctr" rotWithShape="0">
                  <a:srgbClr val="000000">
                    <a:alpha val="20000"/>
                  </a:srgbClr>
                </a:outerShdw>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8" name="Oval 117">
                <a:extLst>
                  <a:ext uri="{FF2B5EF4-FFF2-40B4-BE49-F238E27FC236}">
                    <a16:creationId xmlns:a16="http://schemas.microsoft.com/office/drawing/2014/main" id="{FC30D48C-3A27-4867-AAE2-773CB8F7DC99}"/>
                  </a:ext>
                </a:extLst>
              </p:cNvPr>
              <p:cNvSpPr>
                <a:spLocks noChangeArrowheads="1"/>
              </p:cNvSpPr>
              <p:nvPr/>
            </p:nvSpPr>
            <p:spPr bwMode="auto">
              <a:xfrm>
                <a:off x="1733106" y="3531743"/>
                <a:ext cx="1123251" cy="1123251"/>
              </a:xfrm>
              <a:prstGeom prst="ellipse">
                <a:avLst/>
              </a:prstGeom>
              <a:solidFill>
                <a:schemeClr val="bg1"/>
              </a:solidFill>
              <a:ln w="3175" cap="flat">
                <a:noFill/>
                <a:prstDash val="solid"/>
                <a:miter lim="800000"/>
                <a:headEnd/>
                <a:tailEnd/>
              </a:ln>
              <a:effectLst>
                <a:outerShdw blurRad="38100" dist="25400" dir="5400000" algn="ctr" rotWithShape="0">
                  <a:srgbClr val="000000">
                    <a:alpha val="20000"/>
                  </a:srgbClr>
                </a:outerShdw>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105" name="TextBox 105">
              <a:extLst>
                <a:ext uri="{FF2B5EF4-FFF2-40B4-BE49-F238E27FC236}">
                  <a16:creationId xmlns:a16="http://schemas.microsoft.com/office/drawing/2014/main" id="{60F03AB1-2851-429F-86BE-7C9047779A30}"/>
                </a:ext>
              </a:extLst>
            </p:cNvPr>
            <p:cNvSpPr txBox="1"/>
            <p:nvPr/>
          </p:nvSpPr>
          <p:spPr>
            <a:xfrm>
              <a:off x="3794295" y="2389459"/>
              <a:ext cx="993205" cy="236029"/>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b="1" dirty="0">
                  <a:solidFill>
                    <a:schemeClr val="bg1"/>
                  </a:solidFill>
                </a:rPr>
                <a:t>Vision</a:t>
              </a:r>
            </a:p>
          </p:txBody>
        </p:sp>
        <p:sp>
          <p:nvSpPr>
            <p:cNvPr id="106" name="TextBox 128">
              <a:extLst>
                <a:ext uri="{FF2B5EF4-FFF2-40B4-BE49-F238E27FC236}">
                  <a16:creationId xmlns:a16="http://schemas.microsoft.com/office/drawing/2014/main" id="{3DF2AF37-6F9E-481D-B03A-0CC920709216}"/>
                </a:ext>
              </a:extLst>
            </p:cNvPr>
            <p:cNvSpPr txBox="1"/>
            <p:nvPr/>
          </p:nvSpPr>
          <p:spPr>
            <a:xfrm>
              <a:off x="4875831" y="3443084"/>
              <a:ext cx="993205" cy="236029"/>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b="1" dirty="0">
                  <a:solidFill>
                    <a:schemeClr val="bg1"/>
                  </a:solidFill>
                </a:rPr>
                <a:t>Purpose</a:t>
              </a:r>
            </a:p>
          </p:txBody>
        </p:sp>
        <p:sp>
          <p:nvSpPr>
            <p:cNvPr id="107" name="TextBox 133">
              <a:extLst>
                <a:ext uri="{FF2B5EF4-FFF2-40B4-BE49-F238E27FC236}">
                  <a16:creationId xmlns:a16="http://schemas.microsoft.com/office/drawing/2014/main" id="{729B9CC3-A224-4829-B247-508521F9ADEB}"/>
                </a:ext>
              </a:extLst>
            </p:cNvPr>
            <p:cNvSpPr txBox="1"/>
            <p:nvPr/>
          </p:nvSpPr>
          <p:spPr>
            <a:xfrm>
              <a:off x="4778966" y="4733793"/>
              <a:ext cx="993205" cy="236029"/>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600" b="1" dirty="0">
                  <a:solidFill>
                    <a:schemeClr val="bg1"/>
                  </a:solidFill>
                </a:rPr>
                <a:t>Values</a:t>
              </a:r>
            </a:p>
          </p:txBody>
        </p:sp>
        <p:sp>
          <p:nvSpPr>
            <p:cNvPr id="109" name="TextBox 105">
              <a:extLst>
                <a:ext uri="{FF2B5EF4-FFF2-40B4-BE49-F238E27FC236}">
                  <a16:creationId xmlns:a16="http://schemas.microsoft.com/office/drawing/2014/main" id="{B6343E04-E416-4AE8-B0A0-D0C439C9119A}"/>
                </a:ext>
              </a:extLst>
            </p:cNvPr>
            <p:cNvSpPr txBox="1"/>
            <p:nvPr/>
          </p:nvSpPr>
          <p:spPr>
            <a:xfrm>
              <a:off x="3851488" y="1972356"/>
              <a:ext cx="993205" cy="472059"/>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200" dirty="0">
                  <a:solidFill>
                    <a:schemeClr val="bg1"/>
                  </a:solidFill>
                </a:rPr>
                <a:t>01</a:t>
              </a:r>
            </a:p>
          </p:txBody>
        </p:sp>
        <p:sp>
          <p:nvSpPr>
            <p:cNvPr id="110" name="TextBox 105">
              <a:extLst>
                <a:ext uri="{FF2B5EF4-FFF2-40B4-BE49-F238E27FC236}">
                  <a16:creationId xmlns:a16="http://schemas.microsoft.com/office/drawing/2014/main" id="{E79C0EAE-0762-4315-8E73-A65C51B102A1}"/>
                </a:ext>
              </a:extLst>
            </p:cNvPr>
            <p:cNvSpPr txBox="1"/>
            <p:nvPr/>
          </p:nvSpPr>
          <p:spPr>
            <a:xfrm>
              <a:off x="4875831" y="3020710"/>
              <a:ext cx="993205" cy="472059"/>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200" dirty="0">
                  <a:solidFill>
                    <a:schemeClr val="bg1"/>
                  </a:solidFill>
                </a:rPr>
                <a:t>02</a:t>
              </a:r>
            </a:p>
          </p:txBody>
        </p:sp>
        <p:sp>
          <p:nvSpPr>
            <p:cNvPr id="111" name="TextBox 105">
              <a:extLst>
                <a:ext uri="{FF2B5EF4-FFF2-40B4-BE49-F238E27FC236}">
                  <a16:creationId xmlns:a16="http://schemas.microsoft.com/office/drawing/2014/main" id="{F36BC410-354B-419A-9EE7-9AC26740FDC0}"/>
                </a:ext>
              </a:extLst>
            </p:cNvPr>
            <p:cNvSpPr txBox="1"/>
            <p:nvPr/>
          </p:nvSpPr>
          <p:spPr>
            <a:xfrm>
              <a:off x="4787500" y="4334196"/>
              <a:ext cx="993205" cy="472059"/>
            </a:xfrm>
            <a:prstGeom prst="rect">
              <a:avLst/>
            </a:prstGeom>
            <a:noFill/>
            <a:ln w="6350">
              <a:noFill/>
              <a:prstDash val="dash"/>
            </a:ln>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3200" dirty="0">
                  <a:solidFill>
                    <a:schemeClr val="bg1"/>
                  </a:solidFill>
                </a:rPr>
                <a:t>03</a:t>
              </a:r>
            </a:p>
          </p:txBody>
        </p:sp>
        <p:grpSp>
          <p:nvGrpSpPr>
            <p:cNvPr id="113" name="Group 112">
              <a:extLst>
                <a:ext uri="{FF2B5EF4-FFF2-40B4-BE49-F238E27FC236}">
                  <a16:creationId xmlns:a16="http://schemas.microsoft.com/office/drawing/2014/main" id="{702B954C-F7F3-4A05-B906-42C5C156F32C}"/>
                </a:ext>
              </a:extLst>
            </p:cNvPr>
            <p:cNvGrpSpPr/>
            <p:nvPr/>
          </p:nvGrpSpPr>
          <p:grpSpPr>
            <a:xfrm>
              <a:off x="3486710" y="3711635"/>
              <a:ext cx="642400" cy="642400"/>
              <a:chOff x="7613650" y="1387475"/>
              <a:chExt cx="284163" cy="284163"/>
            </a:xfrm>
            <a:solidFill>
              <a:srgbClr val="AAAAAA"/>
            </a:solidFill>
            <a:effectLst>
              <a:outerShdw blurRad="38100" dist="25400" dir="5400000" algn="ctr" rotWithShape="0">
                <a:srgbClr val="000000">
                  <a:alpha val="20000"/>
                </a:srgbClr>
              </a:outerShdw>
            </a:effectLst>
          </p:grpSpPr>
          <p:sp>
            <p:nvSpPr>
              <p:cNvPr id="114" name="Freeform 4359">
                <a:extLst>
                  <a:ext uri="{FF2B5EF4-FFF2-40B4-BE49-F238E27FC236}">
                    <a16:creationId xmlns:a16="http://schemas.microsoft.com/office/drawing/2014/main" id="{930A54E5-BCB3-4AA0-B200-F8680636C2DC}"/>
                  </a:ext>
                </a:extLst>
              </p:cNvPr>
              <p:cNvSpPr>
                <a:spLocks noEditPoints="1"/>
              </p:cNvSpPr>
              <p:nvPr/>
            </p:nvSpPr>
            <p:spPr bwMode="auto">
              <a:xfrm>
                <a:off x="7613650" y="1471613"/>
                <a:ext cx="200025" cy="200025"/>
              </a:xfrm>
              <a:custGeom>
                <a:avLst/>
                <a:gdLst>
                  <a:gd name="T0" fmla="*/ 276 w 629"/>
                  <a:gd name="T1" fmla="*/ 436 h 629"/>
                  <a:gd name="T2" fmla="*/ 233 w 629"/>
                  <a:gd name="T3" fmla="*/ 411 h 629"/>
                  <a:gd name="T4" fmla="*/ 202 w 629"/>
                  <a:gd name="T5" fmla="*/ 374 h 629"/>
                  <a:gd name="T6" fmla="*/ 187 w 629"/>
                  <a:gd name="T7" fmla="*/ 325 h 629"/>
                  <a:gd name="T8" fmla="*/ 192 w 629"/>
                  <a:gd name="T9" fmla="*/ 274 h 629"/>
                  <a:gd name="T10" fmla="*/ 216 w 629"/>
                  <a:gd name="T11" fmla="*/ 231 h 629"/>
                  <a:gd name="T12" fmla="*/ 253 w 629"/>
                  <a:gd name="T13" fmla="*/ 199 h 629"/>
                  <a:gd name="T14" fmla="*/ 301 w 629"/>
                  <a:gd name="T15" fmla="*/ 184 h 629"/>
                  <a:gd name="T16" fmla="*/ 352 w 629"/>
                  <a:gd name="T17" fmla="*/ 190 h 629"/>
                  <a:gd name="T18" fmla="*/ 395 w 629"/>
                  <a:gd name="T19" fmla="*/ 213 h 629"/>
                  <a:gd name="T20" fmla="*/ 426 w 629"/>
                  <a:gd name="T21" fmla="*/ 252 h 629"/>
                  <a:gd name="T22" fmla="*/ 441 w 629"/>
                  <a:gd name="T23" fmla="*/ 300 h 629"/>
                  <a:gd name="T24" fmla="*/ 436 w 629"/>
                  <a:gd name="T25" fmla="*/ 350 h 629"/>
                  <a:gd name="T26" fmla="*/ 413 w 629"/>
                  <a:gd name="T27" fmla="*/ 394 h 629"/>
                  <a:gd name="T28" fmla="*/ 375 w 629"/>
                  <a:gd name="T29" fmla="*/ 425 h 629"/>
                  <a:gd name="T30" fmla="*/ 327 w 629"/>
                  <a:gd name="T31" fmla="*/ 440 h 629"/>
                  <a:gd name="T32" fmla="*/ 572 w 629"/>
                  <a:gd name="T33" fmla="*/ 346 h 629"/>
                  <a:gd name="T34" fmla="*/ 574 w 629"/>
                  <a:gd name="T35" fmla="*/ 302 h 629"/>
                  <a:gd name="T36" fmla="*/ 620 w 629"/>
                  <a:gd name="T37" fmla="*/ 241 h 629"/>
                  <a:gd name="T38" fmla="*/ 628 w 629"/>
                  <a:gd name="T39" fmla="*/ 231 h 629"/>
                  <a:gd name="T40" fmla="*/ 625 w 629"/>
                  <a:gd name="T41" fmla="*/ 219 h 629"/>
                  <a:gd name="T42" fmla="*/ 544 w 629"/>
                  <a:gd name="T43" fmla="*/ 84 h 629"/>
                  <a:gd name="T44" fmla="*/ 532 w 629"/>
                  <a:gd name="T45" fmla="*/ 83 h 629"/>
                  <a:gd name="T46" fmla="*/ 447 w 629"/>
                  <a:gd name="T47" fmla="*/ 88 h 629"/>
                  <a:gd name="T48" fmla="*/ 407 w 629"/>
                  <a:gd name="T49" fmla="*/ 69 h 629"/>
                  <a:gd name="T50" fmla="*/ 404 w 629"/>
                  <a:gd name="T51" fmla="*/ 7 h 629"/>
                  <a:gd name="T52" fmla="*/ 395 w 629"/>
                  <a:gd name="T53" fmla="*/ 0 h 629"/>
                  <a:gd name="T54" fmla="*/ 235 w 629"/>
                  <a:gd name="T55" fmla="*/ 1 h 629"/>
                  <a:gd name="T56" fmla="*/ 227 w 629"/>
                  <a:gd name="T57" fmla="*/ 10 h 629"/>
                  <a:gd name="T58" fmla="*/ 216 w 629"/>
                  <a:gd name="T59" fmla="*/ 72 h 629"/>
                  <a:gd name="T60" fmla="*/ 177 w 629"/>
                  <a:gd name="T61" fmla="*/ 91 h 629"/>
                  <a:gd name="T62" fmla="*/ 98 w 629"/>
                  <a:gd name="T63" fmla="*/ 84 h 629"/>
                  <a:gd name="T64" fmla="*/ 87 w 629"/>
                  <a:gd name="T65" fmla="*/ 83 h 629"/>
                  <a:gd name="T66" fmla="*/ 78 w 629"/>
                  <a:gd name="T67" fmla="*/ 90 h 629"/>
                  <a:gd name="T68" fmla="*/ 1 w 629"/>
                  <a:gd name="T69" fmla="*/ 228 h 629"/>
                  <a:gd name="T70" fmla="*/ 57 w 629"/>
                  <a:gd name="T71" fmla="*/ 269 h 629"/>
                  <a:gd name="T72" fmla="*/ 54 w 629"/>
                  <a:gd name="T73" fmla="*/ 313 h 629"/>
                  <a:gd name="T74" fmla="*/ 57 w 629"/>
                  <a:gd name="T75" fmla="*/ 355 h 629"/>
                  <a:gd name="T76" fmla="*/ 2 w 629"/>
                  <a:gd name="T77" fmla="*/ 391 h 629"/>
                  <a:gd name="T78" fmla="*/ 1 w 629"/>
                  <a:gd name="T79" fmla="*/ 402 h 629"/>
                  <a:gd name="T80" fmla="*/ 86 w 629"/>
                  <a:gd name="T81" fmla="*/ 543 h 629"/>
                  <a:gd name="T82" fmla="*/ 98 w 629"/>
                  <a:gd name="T83" fmla="*/ 542 h 629"/>
                  <a:gd name="T84" fmla="*/ 177 w 629"/>
                  <a:gd name="T85" fmla="*/ 533 h 629"/>
                  <a:gd name="T86" fmla="*/ 216 w 629"/>
                  <a:gd name="T87" fmla="*/ 552 h 629"/>
                  <a:gd name="T88" fmla="*/ 227 w 629"/>
                  <a:gd name="T89" fmla="*/ 620 h 629"/>
                  <a:gd name="T90" fmla="*/ 235 w 629"/>
                  <a:gd name="T91" fmla="*/ 628 h 629"/>
                  <a:gd name="T92" fmla="*/ 395 w 629"/>
                  <a:gd name="T93" fmla="*/ 629 h 629"/>
                  <a:gd name="T94" fmla="*/ 404 w 629"/>
                  <a:gd name="T95" fmla="*/ 623 h 629"/>
                  <a:gd name="T96" fmla="*/ 407 w 629"/>
                  <a:gd name="T97" fmla="*/ 556 h 629"/>
                  <a:gd name="T98" fmla="*/ 447 w 629"/>
                  <a:gd name="T99" fmla="*/ 538 h 629"/>
                  <a:gd name="T100" fmla="*/ 533 w 629"/>
                  <a:gd name="T101" fmla="*/ 543 h 629"/>
                  <a:gd name="T102" fmla="*/ 545 w 629"/>
                  <a:gd name="T103" fmla="*/ 543 h 629"/>
                  <a:gd name="T104" fmla="*/ 627 w 629"/>
                  <a:gd name="T105" fmla="*/ 405 h 629"/>
                  <a:gd name="T106" fmla="*/ 628 w 629"/>
                  <a:gd name="T107" fmla="*/ 394 h 629"/>
                  <a:gd name="T108" fmla="*/ 621 w 629"/>
                  <a:gd name="T109" fmla="*/ 385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29" h="629">
                    <a:moveTo>
                      <a:pt x="314" y="441"/>
                    </a:moveTo>
                    <a:lnTo>
                      <a:pt x="301" y="440"/>
                    </a:lnTo>
                    <a:lnTo>
                      <a:pt x="288" y="439"/>
                    </a:lnTo>
                    <a:lnTo>
                      <a:pt x="276" y="436"/>
                    </a:lnTo>
                    <a:lnTo>
                      <a:pt x="264" y="430"/>
                    </a:lnTo>
                    <a:lnTo>
                      <a:pt x="253" y="425"/>
                    </a:lnTo>
                    <a:lnTo>
                      <a:pt x="242" y="418"/>
                    </a:lnTo>
                    <a:lnTo>
                      <a:pt x="233" y="411"/>
                    </a:lnTo>
                    <a:lnTo>
                      <a:pt x="223" y="404"/>
                    </a:lnTo>
                    <a:lnTo>
                      <a:pt x="216" y="394"/>
                    </a:lnTo>
                    <a:lnTo>
                      <a:pt x="208" y="384"/>
                    </a:lnTo>
                    <a:lnTo>
                      <a:pt x="202" y="374"/>
                    </a:lnTo>
                    <a:lnTo>
                      <a:pt x="196" y="362"/>
                    </a:lnTo>
                    <a:lnTo>
                      <a:pt x="192" y="350"/>
                    </a:lnTo>
                    <a:lnTo>
                      <a:pt x="189" y="338"/>
                    </a:lnTo>
                    <a:lnTo>
                      <a:pt x="187" y="325"/>
                    </a:lnTo>
                    <a:lnTo>
                      <a:pt x="186" y="313"/>
                    </a:lnTo>
                    <a:lnTo>
                      <a:pt x="187" y="300"/>
                    </a:lnTo>
                    <a:lnTo>
                      <a:pt x="189" y="287"/>
                    </a:lnTo>
                    <a:lnTo>
                      <a:pt x="192" y="274"/>
                    </a:lnTo>
                    <a:lnTo>
                      <a:pt x="196" y="262"/>
                    </a:lnTo>
                    <a:lnTo>
                      <a:pt x="202" y="252"/>
                    </a:lnTo>
                    <a:lnTo>
                      <a:pt x="208" y="241"/>
                    </a:lnTo>
                    <a:lnTo>
                      <a:pt x="216" y="231"/>
                    </a:lnTo>
                    <a:lnTo>
                      <a:pt x="223" y="222"/>
                    </a:lnTo>
                    <a:lnTo>
                      <a:pt x="233" y="213"/>
                    </a:lnTo>
                    <a:lnTo>
                      <a:pt x="242" y="206"/>
                    </a:lnTo>
                    <a:lnTo>
                      <a:pt x="253" y="199"/>
                    </a:lnTo>
                    <a:lnTo>
                      <a:pt x="264" y="194"/>
                    </a:lnTo>
                    <a:lnTo>
                      <a:pt x="276" y="190"/>
                    </a:lnTo>
                    <a:lnTo>
                      <a:pt x="288" y="186"/>
                    </a:lnTo>
                    <a:lnTo>
                      <a:pt x="301" y="184"/>
                    </a:lnTo>
                    <a:lnTo>
                      <a:pt x="314" y="184"/>
                    </a:lnTo>
                    <a:lnTo>
                      <a:pt x="327" y="184"/>
                    </a:lnTo>
                    <a:lnTo>
                      <a:pt x="340" y="186"/>
                    </a:lnTo>
                    <a:lnTo>
                      <a:pt x="352" y="190"/>
                    </a:lnTo>
                    <a:lnTo>
                      <a:pt x="363" y="194"/>
                    </a:lnTo>
                    <a:lnTo>
                      <a:pt x="375" y="199"/>
                    </a:lnTo>
                    <a:lnTo>
                      <a:pt x="386" y="206"/>
                    </a:lnTo>
                    <a:lnTo>
                      <a:pt x="395" y="213"/>
                    </a:lnTo>
                    <a:lnTo>
                      <a:pt x="404" y="222"/>
                    </a:lnTo>
                    <a:lnTo>
                      <a:pt x="413" y="231"/>
                    </a:lnTo>
                    <a:lnTo>
                      <a:pt x="420" y="241"/>
                    </a:lnTo>
                    <a:lnTo>
                      <a:pt x="426" y="252"/>
                    </a:lnTo>
                    <a:lnTo>
                      <a:pt x="432" y="262"/>
                    </a:lnTo>
                    <a:lnTo>
                      <a:pt x="436" y="274"/>
                    </a:lnTo>
                    <a:lnTo>
                      <a:pt x="439" y="287"/>
                    </a:lnTo>
                    <a:lnTo>
                      <a:pt x="441" y="300"/>
                    </a:lnTo>
                    <a:lnTo>
                      <a:pt x="443" y="313"/>
                    </a:lnTo>
                    <a:lnTo>
                      <a:pt x="441" y="325"/>
                    </a:lnTo>
                    <a:lnTo>
                      <a:pt x="439" y="338"/>
                    </a:lnTo>
                    <a:lnTo>
                      <a:pt x="436" y="350"/>
                    </a:lnTo>
                    <a:lnTo>
                      <a:pt x="432" y="362"/>
                    </a:lnTo>
                    <a:lnTo>
                      <a:pt x="426" y="374"/>
                    </a:lnTo>
                    <a:lnTo>
                      <a:pt x="420" y="384"/>
                    </a:lnTo>
                    <a:lnTo>
                      <a:pt x="413" y="394"/>
                    </a:lnTo>
                    <a:lnTo>
                      <a:pt x="404" y="404"/>
                    </a:lnTo>
                    <a:lnTo>
                      <a:pt x="395" y="411"/>
                    </a:lnTo>
                    <a:lnTo>
                      <a:pt x="386" y="418"/>
                    </a:lnTo>
                    <a:lnTo>
                      <a:pt x="375" y="425"/>
                    </a:lnTo>
                    <a:lnTo>
                      <a:pt x="363" y="430"/>
                    </a:lnTo>
                    <a:lnTo>
                      <a:pt x="352" y="436"/>
                    </a:lnTo>
                    <a:lnTo>
                      <a:pt x="340" y="439"/>
                    </a:lnTo>
                    <a:lnTo>
                      <a:pt x="327" y="440"/>
                    </a:lnTo>
                    <a:lnTo>
                      <a:pt x="314" y="441"/>
                    </a:lnTo>
                    <a:close/>
                    <a:moveTo>
                      <a:pt x="621" y="385"/>
                    </a:moveTo>
                    <a:lnTo>
                      <a:pt x="571" y="355"/>
                    </a:lnTo>
                    <a:lnTo>
                      <a:pt x="572" y="346"/>
                    </a:lnTo>
                    <a:lnTo>
                      <a:pt x="573" y="335"/>
                    </a:lnTo>
                    <a:lnTo>
                      <a:pt x="574" y="323"/>
                    </a:lnTo>
                    <a:lnTo>
                      <a:pt x="574" y="313"/>
                    </a:lnTo>
                    <a:lnTo>
                      <a:pt x="574" y="302"/>
                    </a:lnTo>
                    <a:lnTo>
                      <a:pt x="573" y="291"/>
                    </a:lnTo>
                    <a:lnTo>
                      <a:pt x="572" y="280"/>
                    </a:lnTo>
                    <a:lnTo>
                      <a:pt x="570" y="269"/>
                    </a:lnTo>
                    <a:lnTo>
                      <a:pt x="620" y="241"/>
                    </a:lnTo>
                    <a:lnTo>
                      <a:pt x="623" y="239"/>
                    </a:lnTo>
                    <a:lnTo>
                      <a:pt x="624" y="237"/>
                    </a:lnTo>
                    <a:lnTo>
                      <a:pt x="627" y="234"/>
                    </a:lnTo>
                    <a:lnTo>
                      <a:pt x="628" y="231"/>
                    </a:lnTo>
                    <a:lnTo>
                      <a:pt x="628" y="228"/>
                    </a:lnTo>
                    <a:lnTo>
                      <a:pt x="628" y="226"/>
                    </a:lnTo>
                    <a:lnTo>
                      <a:pt x="628" y="223"/>
                    </a:lnTo>
                    <a:lnTo>
                      <a:pt x="625" y="219"/>
                    </a:lnTo>
                    <a:lnTo>
                      <a:pt x="551" y="90"/>
                    </a:lnTo>
                    <a:lnTo>
                      <a:pt x="548" y="87"/>
                    </a:lnTo>
                    <a:lnTo>
                      <a:pt x="546" y="85"/>
                    </a:lnTo>
                    <a:lnTo>
                      <a:pt x="544" y="84"/>
                    </a:lnTo>
                    <a:lnTo>
                      <a:pt x="541" y="83"/>
                    </a:lnTo>
                    <a:lnTo>
                      <a:pt x="539" y="81"/>
                    </a:lnTo>
                    <a:lnTo>
                      <a:pt x="536" y="81"/>
                    </a:lnTo>
                    <a:lnTo>
                      <a:pt x="532" y="83"/>
                    </a:lnTo>
                    <a:lnTo>
                      <a:pt x="530" y="84"/>
                    </a:lnTo>
                    <a:lnTo>
                      <a:pt x="481" y="113"/>
                    </a:lnTo>
                    <a:lnTo>
                      <a:pt x="465" y="99"/>
                    </a:lnTo>
                    <a:lnTo>
                      <a:pt x="447" y="88"/>
                    </a:lnTo>
                    <a:lnTo>
                      <a:pt x="438" y="83"/>
                    </a:lnTo>
                    <a:lnTo>
                      <a:pt x="429" y="77"/>
                    </a:lnTo>
                    <a:lnTo>
                      <a:pt x="418" y="73"/>
                    </a:lnTo>
                    <a:lnTo>
                      <a:pt x="407" y="69"/>
                    </a:lnTo>
                    <a:lnTo>
                      <a:pt x="407" y="15"/>
                    </a:lnTo>
                    <a:lnTo>
                      <a:pt x="407" y="12"/>
                    </a:lnTo>
                    <a:lnTo>
                      <a:pt x="406" y="10"/>
                    </a:lnTo>
                    <a:lnTo>
                      <a:pt x="404" y="7"/>
                    </a:lnTo>
                    <a:lnTo>
                      <a:pt x="403" y="4"/>
                    </a:lnTo>
                    <a:lnTo>
                      <a:pt x="401" y="2"/>
                    </a:lnTo>
                    <a:lnTo>
                      <a:pt x="398" y="1"/>
                    </a:lnTo>
                    <a:lnTo>
                      <a:pt x="395" y="0"/>
                    </a:lnTo>
                    <a:lnTo>
                      <a:pt x="392" y="0"/>
                    </a:lnTo>
                    <a:lnTo>
                      <a:pt x="241" y="0"/>
                    </a:lnTo>
                    <a:lnTo>
                      <a:pt x="238" y="0"/>
                    </a:lnTo>
                    <a:lnTo>
                      <a:pt x="235" y="1"/>
                    </a:lnTo>
                    <a:lnTo>
                      <a:pt x="233" y="2"/>
                    </a:lnTo>
                    <a:lnTo>
                      <a:pt x="231" y="4"/>
                    </a:lnTo>
                    <a:lnTo>
                      <a:pt x="229" y="7"/>
                    </a:lnTo>
                    <a:lnTo>
                      <a:pt x="227" y="10"/>
                    </a:lnTo>
                    <a:lnTo>
                      <a:pt x="226" y="12"/>
                    </a:lnTo>
                    <a:lnTo>
                      <a:pt x="226" y="15"/>
                    </a:lnTo>
                    <a:lnTo>
                      <a:pt x="226" y="69"/>
                    </a:lnTo>
                    <a:lnTo>
                      <a:pt x="216" y="72"/>
                    </a:lnTo>
                    <a:lnTo>
                      <a:pt x="206" y="76"/>
                    </a:lnTo>
                    <a:lnTo>
                      <a:pt x="196" y="80"/>
                    </a:lnTo>
                    <a:lnTo>
                      <a:pt x="187" y="86"/>
                    </a:lnTo>
                    <a:lnTo>
                      <a:pt x="177" y="91"/>
                    </a:lnTo>
                    <a:lnTo>
                      <a:pt x="168" y="98"/>
                    </a:lnTo>
                    <a:lnTo>
                      <a:pt x="159" y="105"/>
                    </a:lnTo>
                    <a:lnTo>
                      <a:pt x="149" y="113"/>
                    </a:lnTo>
                    <a:lnTo>
                      <a:pt x="98" y="84"/>
                    </a:lnTo>
                    <a:lnTo>
                      <a:pt x="96" y="83"/>
                    </a:lnTo>
                    <a:lnTo>
                      <a:pt x="93" y="81"/>
                    </a:lnTo>
                    <a:lnTo>
                      <a:pt x="90" y="81"/>
                    </a:lnTo>
                    <a:lnTo>
                      <a:pt x="87" y="83"/>
                    </a:lnTo>
                    <a:lnTo>
                      <a:pt x="84" y="84"/>
                    </a:lnTo>
                    <a:lnTo>
                      <a:pt x="82" y="85"/>
                    </a:lnTo>
                    <a:lnTo>
                      <a:pt x="80" y="87"/>
                    </a:lnTo>
                    <a:lnTo>
                      <a:pt x="78" y="90"/>
                    </a:lnTo>
                    <a:lnTo>
                      <a:pt x="3" y="219"/>
                    </a:lnTo>
                    <a:lnTo>
                      <a:pt x="1" y="222"/>
                    </a:lnTo>
                    <a:lnTo>
                      <a:pt x="1" y="225"/>
                    </a:lnTo>
                    <a:lnTo>
                      <a:pt x="1" y="228"/>
                    </a:lnTo>
                    <a:lnTo>
                      <a:pt x="1" y="230"/>
                    </a:lnTo>
                    <a:lnTo>
                      <a:pt x="4" y="236"/>
                    </a:lnTo>
                    <a:lnTo>
                      <a:pt x="8" y="241"/>
                    </a:lnTo>
                    <a:lnTo>
                      <a:pt x="57" y="269"/>
                    </a:lnTo>
                    <a:lnTo>
                      <a:pt x="56" y="280"/>
                    </a:lnTo>
                    <a:lnTo>
                      <a:pt x="55" y="291"/>
                    </a:lnTo>
                    <a:lnTo>
                      <a:pt x="54" y="302"/>
                    </a:lnTo>
                    <a:lnTo>
                      <a:pt x="54" y="313"/>
                    </a:lnTo>
                    <a:lnTo>
                      <a:pt x="54" y="323"/>
                    </a:lnTo>
                    <a:lnTo>
                      <a:pt x="55" y="335"/>
                    </a:lnTo>
                    <a:lnTo>
                      <a:pt x="56" y="346"/>
                    </a:lnTo>
                    <a:lnTo>
                      <a:pt x="57" y="355"/>
                    </a:lnTo>
                    <a:lnTo>
                      <a:pt x="7" y="385"/>
                    </a:lnTo>
                    <a:lnTo>
                      <a:pt x="5" y="387"/>
                    </a:lnTo>
                    <a:lnTo>
                      <a:pt x="3" y="389"/>
                    </a:lnTo>
                    <a:lnTo>
                      <a:pt x="2" y="391"/>
                    </a:lnTo>
                    <a:lnTo>
                      <a:pt x="1" y="394"/>
                    </a:lnTo>
                    <a:lnTo>
                      <a:pt x="0" y="396"/>
                    </a:lnTo>
                    <a:lnTo>
                      <a:pt x="1" y="399"/>
                    </a:lnTo>
                    <a:lnTo>
                      <a:pt x="1" y="402"/>
                    </a:lnTo>
                    <a:lnTo>
                      <a:pt x="2" y="405"/>
                    </a:lnTo>
                    <a:lnTo>
                      <a:pt x="78" y="536"/>
                    </a:lnTo>
                    <a:lnTo>
                      <a:pt x="81" y="540"/>
                    </a:lnTo>
                    <a:lnTo>
                      <a:pt x="86" y="543"/>
                    </a:lnTo>
                    <a:lnTo>
                      <a:pt x="89" y="544"/>
                    </a:lnTo>
                    <a:lnTo>
                      <a:pt x="93" y="544"/>
                    </a:lnTo>
                    <a:lnTo>
                      <a:pt x="95" y="543"/>
                    </a:lnTo>
                    <a:lnTo>
                      <a:pt x="98" y="542"/>
                    </a:lnTo>
                    <a:lnTo>
                      <a:pt x="149" y="513"/>
                    </a:lnTo>
                    <a:lnTo>
                      <a:pt x="159" y="520"/>
                    </a:lnTo>
                    <a:lnTo>
                      <a:pt x="168" y="527"/>
                    </a:lnTo>
                    <a:lnTo>
                      <a:pt x="177" y="533"/>
                    </a:lnTo>
                    <a:lnTo>
                      <a:pt x="187" y="539"/>
                    </a:lnTo>
                    <a:lnTo>
                      <a:pt x="196" y="544"/>
                    </a:lnTo>
                    <a:lnTo>
                      <a:pt x="206" y="549"/>
                    </a:lnTo>
                    <a:lnTo>
                      <a:pt x="216" y="552"/>
                    </a:lnTo>
                    <a:lnTo>
                      <a:pt x="226" y="556"/>
                    </a:lnTo>
                    <a:lnTo>
                      <a:pt x="226" y="614"/>
                    </a:lnTo>
                    <a:lnTo>
                      <a:pt x="226" y="617"/>
                    </a:lnTo>
                    <a:lnTo>
                      <a:pt x="227" y="620"/>
                    </a:lnTo>
                    <a:lnTo>
                      <a:pt x="229" y="623"/>
                    </a:lnTo>
                    <a:lnTo>
                      <a:pt x="231" y="625"/>
                    </a:lnTo>
                    <a:lnTo>
                      <a:pt x="233" y="627"/>
                    </a:lnTo>
                    <a:lnTo>
                      <a:pt x="235" y="628"/>
                    </a:lnTo>
                    <a:lnTo>
                      <a:pt x="238" y="629"/>
                    </a:lnTo>
                    <a:lnTo>
                      <a:pt x="241" y="629"/>
                    </a:lnTo>
                    <a:lnTo>
                      <a:pt x="392" y="629"/>
                    </a:lnTo>
                    <a:lnTo>
                      <a:pt x="395" y="629"/>
                    </a:lnTo>
                    <a:lnTo>
                      <a:pt x="398" y="628"/>
                    </a:lnTo>
                    <a:lnTo>
                      <a:pt x="401" y="627"/>
                    </a:lnTo>
                    <a:lnTo>
                      <a:pt x="403" y="625"/>
                    </a:lnTo>
                    <a:lnTo>
                      <a:pt x="404" y="623"/>
                    </a:lnTo>
                    <a:lnTo>
                      <a:pt x="406" y="620"/>
                    </a:lnTo>
                    <a:lnTo>
                      <a:pt x="407" y="617"/>
                    </a:lnTo>
                    <a:lnTo>
                      <a:pt x="407" y="614"/>
                    </a:lnTo>
                    <a:lnTo>
                      <a:pt x="407" y="556"/>
                    </a:lnTo>
                    <a:lnTo>
                      <a:pt x="418" y="552"/>
                    </a:lnTo>
                    <a:lnTo>
                      <a:pt x="429" y="548"/>
                    </a:lnTo>
                    <a:lnTo>
                      <a:pt x="438" y="544"/>
                    </a:lnTo>
                    <a:lnTo>
                      <a:pt x="447" y="538"/>
                    </a:lnTo>
                    <a:lnTo>
                      <a:pt x="465" y="527"/>
                    </a:lnTo>
                    <a:lnTo>
                      <a:pt x="481" y="513"/>
                    </a:lnTo>
                    <a:lnTo>
                      <a:pt x="530" y="542"/>
                    </a:lnTo>
                    <a:lnTo>
                      <a:pt x="533" y="543"/>
                    </a:lnTo>
                    <a:lnTo>
                      <a:pt x="537" y="544"/>
                    </a:lnTo>
                    <a:lnTo>
                      <a:pt x="539" y="544"/>
                    </a:lnTo>
                    <a:lnTo>
                      <a:pt x="542" y="543"/>
                    </a:lnTo>
                    <a:lnTo>
                      <a:pt x="545" y="543"/>
                    </a:lnTo>
                    <a:lnTo>
                      <a:pt x="547" y="540"/>
                    </a:lnTo>
                    <a:lnTo>
                      <a:pt x="550" y="539"/>
                    </a:lnTo>
                    <a:lnTo>
                      <a:pt x="552" y="536"/>
                    </a:lnTo>
                    <a:lnTo>
                      <a:pt x="627" y="405"/>
                    </a:lnTo>
                    <a:lnTo>
                      <a:pt x="628" y="402"/>
                    </a:lnTo>
                    <a:lnTo>
                      <a:pt x="628" y="399"/>
                    </a:lnTo>
                    <a:lnTo>
                      <a:pt x="629" y="396"/>
                    </a:lnTo>
                    <a:lnTo>
                      <a:pt x="628" y="394"/>
                    </a:lnTo>
                    <a:lnTo>
                      <a:pt x="627" y="391"/>
                    </a:lnTo>
                    <a:lnTo>
                      <a:pt x="625" y="389"/>
                    </a:lnTo>
                    <a:lnTo>
                      <a:pt x="623" y="387"/>
                    </a:lnTo>
                    <a:lnTo>
                      <a:pt x="621" y="3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Freeform 4360">
                <a:extLst>
                  <a:ext uri="{FF2B5EF4-FFF2-40B4-BE49-F238E27FC236}">
                    <a16:creationId xmlns:a16="http://schemas.microsoft.com/office/drawing/2014/main" id="{7626009A-31E2-4498-A343-9C759122CEA9}"/>
                  </a:ext>
                </a:extLst>
              </p:cNvPr>
              <p:cNvSpPr>
                <a:spLocks noEditPoints="1"/>
              </p:cNvSpPr>
              <p:nvPr/>
            </p:nvSpPr>
            <p:spPr bwMode="auto">
              <a:xfrm>
                <a:off x="7781925" y="1387475"/>
                <a:ext cx="115888" cy="117475"/>
              </a:xfrm>
              <a:custGeom>
                <a:avLst/>
                <a:gdLst>
                  <a:gd name="T0" fmla="*/ 160 w 362"/>
                  <a:gd name="T1" fmla="*/ 252 h 369"/>
                  <a:gd name="T2" fmla="*/ 135 w 362"/>
                  <a:gd name="T3" fmla="*/ 238 h 369"/>
                  <a:gd name="T4" fmla="*/ 118 w 362"/>
                  <a:gd name="T5" fmla="*/ 218 h 369"/>
                  <a:gd name="T6" fmla="*/ 109 w 362"/>
                  <a:gd name="T7" fmla="*/ 190 h 369"/>
                  <a:gd name="T8" fmla="*/ 113 w 362"/>
                  <a:gd name="T9" fmla="*/ 162 h 369"/>
                  <a:gd name="T10" fmla="*/ 125 w 362"/>
                  <a:gd name="T11" fmla="*/ 138 h 369"/>
                  <a:gd name="T12" fmla="*/ 147 w 362"/>
                  <a:gd name="T13" fmla="*/ 121 h 369"/>
                  <a:gd name="T14" fmla="*/ 174 w 362"/>
                  <a:gd name="T15" fmla="*/ 112 h 369"/>
                  <a:gd name="T16" fmla="*/ 202 w 362"/>
                  <a:gd name="T17" fmla="*/ 114 h 369"/>
                  <a:gd name="T18" fmla="*/ 226 w 362"/>
                  <a:gd name="T19" fmla="*/ 128 h 369"/>
                  <a:gd name="T20" fmla="*/ 244 w 362"/>
                  <a:gd name="T21" fmla="*/ 149 h 369"/>
                  <a:gd name="T22" fmla="*/ 252 w 362"/>
                  <a:gd name="T23" fmla="*/ 176 h 369"/>
                  <a:gd name="T24" fmla="*/ 250 w 362"/>
                  <a:gd name="T25" fmla="*/ 205 h 369"/>
                  <a:gd name="T26" fmla="*/ 236 w 362"/>
                  <a:gd name="T27" fmla="*/ 229 h 369"/>
                  <a:gd name="T28" fmla="*/ 215 w 362"/>
                  <a:gd name="T29" fmla="*/ 247 h 369"/>
                  <a:gd name="T30" fmla="*/ 189 w 362"/>
                  <a:gd name="T31" fmla="*/ 254 h 369"/>
                  <a:gd name="T32" fmla="*/ 328 w 362"/>
                  <a:gd name="T33" fmla="*/ 195 h 369"/>
                  <a:gd name="T34" fmla="*/ 354 w 362"/>
                  <a:gd name="T35" fmla="*/ 144 h 369"/>
                  <a:gd name="T36" fmla="*/ 361 w 362"/>
                  <a:gd name="T37" fmla="*/ 136 h 369"/>
                  <a:gd name="T38" fmla="*/ 360 w 362"/>
                  <a:gd name="T39" fmla="*/ 124 h 369"/>
                  <a:gd name="T40" fmla="*/ 316 w 362"/>
                  <a:gd name="T41" fmla="*/ 53 h 369"/>
                  <a:gd name="T42" fmla="*/ 304 w 362"/>
                  <a:gd name="T43" fmla="*/ 52 h 369"/>
                  <a:gd name="T44" fmla="*/ 256 w 362"/>
                  <a:gd name="T45" fmla="*/ 56 h 369"/>
                  <a:gd name="T46" fmla="*/ 236 w 362"/>
                  <a:gd name="T47" fmla="*/ 10 h 369"/>
                  <a:gd name="T48" fmla="*/ 229 w 362"/>
                  <a:gd name="T49" fmla="*/ 2 h 369"/>
                  <a:gd name="T50" fmla="*/ 146 w 362"/>
                  <a:gd name="T51" fmla="*/ 0 h 369"/>
                  <a:gd name="T52" fmla="*/ 135 w 362"/>
                  <a:gd name="T53" fmla="*/ 3 h 369"/>
                  <a:gd name="T54" fmla="*/ 131 w 362"/>
                  <a:gd name="T55" fmla="*/ 14 h 369"/>
                  <a:gd name="T56" fmla="*/ 99 w 362"/>
                  <a:gd name="T57" fmla="*/ 63 h 369"/>
                  <a:gd name="T58" fmla="*/ 55 w 362"/>
                  <a:gd name="T59" fmla="*/ 51 h 369"/>
                  <a:gd name="T60" fmla="*/ 44 w 362"/>
                  <a:gd name="T61" fmla="*/ 54 h 369"/>
                  <a:gd name="T62" fmla="*/ 1 w 362"/>
                  <a:gd name="T63" fmla="*/ 126 h 369"/>
                  <a:gd name="T64" fmla="*/ 2 w 362"/>
                  <a:gd name="T65" fmla="*/ 139 h 369"/>
                  <a:gd name="T66" fmla="*/ 36 w 362"/>
                  <a:gd name="T67" fmla="*/ 160 h 369"/>
                  <a:gd name="T68" fmla="*/ 36 w 362"/>
                  <a:gd name="T69" fmla="*/ 207 h 369"/>
                  <a:gd name="T70" fmla="*/ 1 w 362"/>
                  <a:gd name="T71" fmla="*/ 230 h 369"/>
                  <a:gd name="T72" fmla="*/ 1 w 362"/>
                  <a:gd name="T73" fmla="*/ 240 h 369"/>
                  <a:gd name="T74" fmla="*/ 44 w 362"/>
                  <a:gd name="T75" fmla="*/ 313 h 369"/>
                  <a:gd name="T76" fmla="*/ 60 w 362"/>
                  <a:gd name="T77" fmla="*/ 314 h 369"/>
                  <a:gd name="T78" fmla="*/ 120 w 362"/>
                  <a:gd name="T79" fmla="*/ 316 h 369"/>
                  <a:gd name="T80" fmla="*/ 132 w 362"/>
                  <a:gd name="T81" fmla="*/ 359 h 369"/>
                  <a:gd name="T82" fmla="*/ 140 w 362"/>
                  <a:gd name="T83" fmla="*/ 368 h 369"/>
                  <a:gd name="T84" fmla="*/ 225 w 362"/>
                  <a:gd name="T85" fmla="*/ 368 h 369"/>
                  <a:gd name="T86" fmla="*/ 233 w 362"/>
                  <a:gd name="T87" fmla="*/ 361 h 369"/>
                  <a:gd name="T88" fmla="*/ 237 w 362"/>
                  <a:gd name="T89" fmla="*/ 321 h 369"/>
                  <a:gd name="T90" fmla="*/ 274 w 362"/>
                  <a:gd name="T91" fmla="*/ 298 h 369"/>
                  <a:gd name="T92" fmla="*/ 310 w 362"/>
                  <a:gd name="T93" fmla="*/ 316 h 369"/>
                  <a:gd name="T94" fmla="*/ 360 w 362"/>
                  <a:gd name="T95" fmla="*/ 243 h 369"/>
                  <a:gd name="T96" fmla="*/ 362 w 362"/>
                  <a:gd name="T97" fmla="*/ 232 h 369"/>
                  <a:gd name="T98" fmla="*/ 354 w 362"/>
                  <a:gd name="T99" fmla="*/ 223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62" h="369">
                    <a:moveTo>
                      <a:pt x="181" y="255"/>
                    </a:moveTo>
                    <a:lnTo>
                      <a:pt x="174" y="254"/>
                    </a:lnTo>
                    <a:lnTo>
                      <a:pt x="166" y="253"/>
                    </a:lnTo>
                    <a:lnTo>
                      <a:pt x="160" y="252"/>
                    </a:lnTo>
                    <a:lnTo>
                      <a:pt x="153" y="249"/>
                    </a:lnTo>
                    <a:lnTo>
                      <a:pt x="147" y="247"/>
                    </a:lnTo>
                    <a:lnTo>
                      <a:pt x="141" y="243"/>
                    </a:lnTo>
                    <a:lnTo>
                      <a:pt x="135" y="238"/>
                    </a:lnTo>
                    <a:lnTo>
                      <a:pt x="131" y="234"/>
                    </a:lnTo>
                    <a:lnTo>
                      <a:pt x="125" y="229"/>
                    </a:lnTo>
                    <a:lnTo>
                      <a:pt x="122" y="223"/>
                    </a:lnTo>
                    <a:lnTo>
                      <a:pt x="118" y="218"/>
                    </a:lnTo>
                    <a:lnTo>
                      <a:pt x="115" y="212"/>
                    </a:lnTo>
                    <a:lnTo>
                      <a:pt x="113" y="205"/>
                    </a:lnTo>
                    <a:lnTo>
                      <a:pt x="110" y="198"/>
                    </a:lnTo>
                    <a:lnTo>
                      <a:pt x="109" y="190"/>
                    </a:lnTo>
                    <a:lnTo>
                      <a:pt x="109" y="183"/>
                    </a:lnTo>
                    <a:lnTo>
                      <a:pt x="109" y="176"/>
                    </a:lnTo>
                    <a:lnTo>
                      <a:pt x="110" y="169"/>
                    </a:lnTo>
                    <a:lnTo>
                      <a:pt x="113" y="162"/>
                    </a:lnTo>
                    <a:lnTo>
                      <a:pt x="115" y="156"/>
                    </a:lnTo>
                    <a:lnTo>
                      <a:pt x="118" y="149"/>
                    </a:lnTo>
                    <a:lnTo>
                      <a:pt x="122" y="143"/>
                    </a:lnTo>
                    <a:lnTo>
                      <a:pt x="125" y="138"/>
                    </a:lnTo>
                    <a:lnTo>
                      <a:pt x="131" y="132"/>
                    </a:lnTo>
                    <a:lnTo>
                      <a:pt x="135" y="128"/>
                    </a:lnTo>
                    <a:lnTo>
                      <a:pt x="141" y="124"/>
                    </a:lnTo>
                    <a:lnTo>
                      <a:pt x="147" y="121"/>
                    </a:lnTo>
                    <a:lnTo>
                      <a:pt x="153" y="117"/>
                    </a:lnTo>
                    <a:lnTo>
                      <a:pt x="160" y="114"/>
                    </a:lnTo>
                    <a:lnTo>
                      <a:pt x="166" y="113"/>
                    </a:lnTo>
                    <a:lnTo>
                      <a:pt x="174" y="112"/>
                    </a:lnTo>
                    <a:lnTo>
                      <a:pt x="181" y="111"/>
                    </a:lnTo>
                    <a:lnTo>
                      <a:pt x="189" y="112"/>
                    </a:lnTo>
                    <a:lnTo>
                      <a:pt x="195" y="113"/>
                    </a:lnTo>
                    <a:lnTo>
                      <a:pt x="202" y="114"/>
                    </a:lnTo>
                    <a:lnTo>
                      <a:pt x="209" y="117"/>
                    </a:lnTo>
                    <a:lnTo>
                      <a:pt x="215" y="121"/>
                    </a:lnTo>
                    <a:lnTo>
                      <a:pt x="221" y="124"/>
                    </a:lnTo>
                    <a:lnTo>
                      <a:pt x="226" y="128"/>
                    </a:lnTo>
                    <a:lnTo>
                      <a:pt x="231" y="132"/>
                    </a:lnTo>
                    <a:lnTo>
                      <a:pt x="236" y="138"/>
                    </a:lnTo>
                    <a:lnTo>
                      <a:pt x="240" y="143"/>
                    </a:lnTo>
                    <a:lnTo>
                      <a:pt x="244" y="149"/>
                    </a:lnTo>
                    <a:lnTo>
                      <a:pt x="247" y="156"/>
                    </a:lnTo>
                    <a:lnTo>
                      <a:pt x="250" y="162"/>
                    </a:lnTo>
                    <a:lnTo>
                      <a:pt x="251" y="169"/>
                    </a:lnTo>
                    <a:lnTo>
                      <a:pt x="252" y="176"/>
                    </a:lnTo>
                    <a:lnTo>
                      <a:pt x="253" y="183"/>
                    </a:lnTo>
                    <a:lnTo>
                      <a:pt x="252" y="190"/>
                    </a:lnTo>
                    <a:lnTo>
                      <a:pt x="251" y="198"/>
                    </a:lnTo>
                    <a:lnTo>
                      <a:pt x="250" y="205"/>
                    </a:lnTo>
                    <a:lnTo>
                      <a:pt x="247" y="212"/>
                    </a:lnTo>
                    <a:lnTo>
                      <a:pt x="244" y="218"/>
                    </a:lnTo>
                    <a:lnTo>
                      <a:pt x="240" y="223"/>
                    </a:lnTo>
                    <a:lnTo>
                      <a:pt x="236" y="229"/>
                    </a:lnTo>
                    <a:lnTo>
                      <a:pt x="231" y="234"/>
                    </a:lnTo>
                    <a:lnTo>
                      <a:pt x="226" y="238"/>
                    </a:lnTo>
                    <a:lnTo>
                      <a:pt x="221" y="243"/>
                    </a:lnTo>
                    <a:lnTo>
                      <a:pt x="215" y="247"/>
                    </a:lnTo>
                    <a:lnTo>
                      <a:pt x="209" y="249"/>
                    </a:lnTo>
                    <a:lnTo>
                      <a:pt x="202" y="252"/>
                    </a:lnTo>
                    <a:lnTo>
                      <a:pt x="195" y="253"/>
                    </a:lnTo>
                    <a:lnTo>
                      <a:pt x="189" y="254"/>
                    </a:lnTo>
                    <a:lnTo>
                      <a:pt x="181" y="255"/>
                    </a:lnTo>
                    <a:close/>
                    <a:moveTo>
                      <a:pt x="354" y="223"/>
                    </a:moveTo>
                    <a:lnTo>
                      <a:pt x="327" y="207"/>
                    </a:lnTo>
                    <a:lnTo>
                      <a:pt x="328" y="195"/>
                    </a:lnTo>
                    <a:lnTo>
                      <a:pt x="328" y="183"/>
                    </a:lnTo>
                    <a:lnTo>
                      <a:pt x="328" y="172"/>
                    </a:lnTo>
                    <a:lnTo>
                      <a:pt x="327" y="160"/>
                    </a:lnTo>
                    <a:lnTo>
                      <a:pt x="354" y="144"/>
                    </a:lnTo>
                    <a:lnTo>
                      <a:pt x="357" y="143"/>
                    </a:lnTo>
                    <a:lnTo>
                      <a:pt x="359" y="141"/>
                    </a:lnTo>
                    <a:lnTo>
                      <a:pt x="360" y="139"/>
                    </a:lnTo>
                    <a:lnTo>
                      <a:pt x="361" y="136"/>
                    </a:lnTo>
                    <a:lnTo>
                      <a:pt x="362" y="132"/>
                    </a:lnTo>
                    <a:lnTo>
                      <a:pt x="362" y="129"/>
                    </a:lnTo>
                    <a:lnTo>
                      <a:pt x="361" y="126"/>
                    </a:lnTo>
                    <a:lnTo>
                      <a:pt x="360" y="124"/>
                    </a:lnTo>
                    <a:lnTo>
                      <a:pt x="322" y="59"/>
                    </a:lnTo>
                    <a:lnTo>
                      <a:pt x="320" y="56"/>
                    </a:lnTo>
                    <a:lnTo>
                      <a:pt x="318" y="54"/>
                    </a:lnTo>
                    <a:lnTo>
                      <a:pt x="316" y="53"/>
                    </a:lnTo>
                    <a:lnTo>
                      <a:pt x="313" y="51"/>
                    </a:lnTo>
                    <a:lnTo>
                      <a:pt x="309" y="51"/>
                    </a:lnTo>
                    <a:lnTo>
                      <a:pt x="307" y="51"/>
                    </a:lnTo>
                    <a:lnTo>
                      <a:pt x="304" y="52"/>
                    </a:lnTo>
                    <a:lnTo>
                      <a:pt x="301" y="53"/>
                    </a:lnTo>
                    <a:lnTo>
                      <a:pt x="274" y="69"/>
                    </a:lnTo>
                    <a:lnTo>
                      <a:pt x="266" y="63"/>
                    </a:lnTo>
                    <a:lnTo>
                      <a:pt x="256" y="56"/>
                    </a:lnTo>
                    <a:lnTo>
                      <a:pt x="246" y="51"/>
                    </a:lnTo>
                    <a:lnTo>
                      <a:pt x="237" y="47"/>
                    </a:lnTo>
                    <a:lnTo>
                      <a:pt x="237" y="14"/>
                    </a:lnTo>
                    <a:lnTo>
                      <a:pt x="236" y="10"/>
                    </a:lnTo>
                    <a:lnTo>
                      <a:pt x="236" y="8"/>
                    </a:lnTo>
                    <a:lnTo>
                      <a:pt x="233" y="5"/>
                    </a:lnTo>
                    <a:lnTo>
                      <a:pt x="232" y="3"/>
                    </a:lnTo>
                    <a:lnTo>
                      <a:pt x="229" y="2"/>
                    </a:lnTo>
                    <a:lnTo>
                      <a:pt x="227" y="1"/>
                    </a:lnTo>
                    <a:lnTo>
                      <a:pt x="224" y="0"/>
                    </a:lnTo>
                    <a:lnTo>
                      <a:pt x="222" y="0"/>
                    </a:lnTo>
                    <a:lnTo>
                      <a:pt x="146" y="0"/>
                    </a:lnTo>
                    <a:lnTo>
                      <a:pt x="143" y="0"/>
                    </a:lnTo>
                    <a:lnTo>
                      <a:pt x="140" y="1"/>
                    </a:lnTo>
                    <a:lnTo>
                      <a:pt x="137" y="2"/>
                    </a:lnTo>
                    <a:lnTo>
                      <a:pt x="135" y="3"/>
                    </a:lnTo>
                    <a:lnTo>
                      <a:pt x="134" y="5"/>
                    </a:lnTo>
                    <a:lnTo>
                      <a:pt x="132" y="8"/>
                    </a:lnTo>
                    <a:lnTo>
                      <a:pt x="132" y="10"/>
                    </a:lnTo>
                    <a:lnTo>
                      <a:pt x="131" y="14"/>
                    </a:lnTo>
                    <a:lnTo>
                      <a:pt x="131" y="47"/>
                    </a:lnTo>
                    <a:lnTo>
                      <a:pt x="120" y="52"/>
                    </a:lnTo>
                    <a:lnTo>
                      <a:pt x="109" y="57"/>
                    </a:lnTo>
                    <a:lnTo>
                      <a:pt x="99" y="63"/>
                    </a:lnTo>
                    <a:lnTo>
                      <a:pt x="90" y="69"/>
                    </a:lnTo>
                    <a:lnTo>
                      <a:pt x="61" y="53"/>
                    </a:lnTo>
                    <a:lnTo>
                      <a:pt x="58" y="52"/>
                    </a:lnTo>
                    <a:lnTo>
                      <a:pt x="55" y="51"/>
                    </a:lnTo>
                    <a:lnTo>
                      <a:pt x="53" y="51"/>
                    </a:lnTo>
                    <a:lnTo>
                      <a:pt x="49" y="51"/>
                    </a:lnTo>
                    <a:lnTo>
                      <a:pt x="47" y="52"/>
                    </a:lnTo>
                    <a:lnTo>
                      <a:pt x="44" y="54"/>
                    </a:lnTo>
                    <a:lnTo>
                      <a:pt x="42" y="56"/>
                    </a:lnTo>
                    <a:lnTo>
                      <a:pt x="41" y="59"/>
                    </a:lnTo>
                    <a:lnTo>
                      <a:pt x="2" y="124"/>
                    </a:lnTo>
                    <a:lnTo>
                      <a:pt x="1" y="126"/>
                    </a:lnTo>
                    <a:lnTo>
                      <a:pt x="0" y="129"/>
                    </a:lnTo>
                    <a:lnTo>
                      <a:pt x="0" y="132"/>
                    </a:lnTo>
                    <a:lnTo>
                      <a:pt x="1" y="136"/>
                    </a:lnTo>
                    <a:lnTo>
                      <a:pt x="2" y="139"/>
                    </a:lnTo>
                    <a:lnTo>
                      <a:pt x="3" y="141"/>
                    </a:lnTo>
                    <a:lnTo>
                      <a:pt x="6" y="143"/>
                    </a:lnTo>
                    <a:lnTo>
                      <a:pt x="8" y="144"/>
                    </a:lnTo>
                    <a:lnTo>
                      <a:pt x="36" y="160"/>
                    </a:lnTo>
                    <a:lnTo>
                      <a:pt x="34" y="172"/>
                    </a:lnTo>
                    <a:lnTo>
                      <a:pt x="34" y="183"/>
                    </a:lnTo>
                    <a:lnTo>
                      <a:pt x="34" y="195"/>
                    </a:lnTo>
                    <a:lnTo>
                      <a:pt x="36" y="207"/>
                    </a:lnTo>
                    <a:lnTo>
                      <a:pt x="8" y="223"/>
                    </a:lnTo>
                    <a:lnTo>
                      <a:pt x="6" y="224"/>
                    </a:lnTo>
                    <a:lnTo>
                      <a:pt x="3" y="227"/>
                    </a:lnTo>
                    <a:lnTo>
                      <a:pt x="1" y="230"/>
                    </a:lnTo>
                    <a:lnTo>
                      <a:pt x="0" y="233"/>
                    </a:lnTo>
                    <a:lnTo>
                      <a:pt x="0" y="235"/>
                    </a:lnTo>
                    <a:lnTo>
                      <a:pt x="0" y="237"/>
                    </a:lnTo>
                    <a:lnTo>
                      <a:pt x="1" y="240"/>
                    </a:lnTo>
                    <a:lnTo>
                      <a:pt x="2" y="243"/>
                    </a:lnTo>
                    <a:lnTo>
                      <a:pt x="40" y="309"/>
                    </a:lnTo>
                    <a:lnTo>
                      <a:pt x="42" y="311"/>
                    </a:lnTo>
                    <a:lnTo>
                      <a:pt x="44" y="313"/>
                    </a:lnTo>
                    <a:lnTo>
                      <a:pt x="46" y="314"/>
                    </a:lnTo>
                    <a:lnTo>
                      <a:pt x="48" y="315"/>
                    </a:lnTo>
                    <a:lnTo>
                      <a:pt x="55" y="316"/>
                    </a:lnTo>
                    <a:lnTo>
                      <a:pt x="60" y="314"/>
                    </a:lnTo>
                    <a:lnTo>
                      <a:pt x="90" y="297"/>
                    </a:lnTo>
                    <a:lnTo>
                      <a:pt x="99" y="304"/>
                    </a:lnTo>
                    <a:lnTo>
                      <a:pt x="109" y="310"/>
                    </a:lnTo>
                    <a:lnTo>
                      <a:pt x="120" y="316"/>
                    </a:lnTo>
                    <a:lnTo>
                      <a:pt x="131" y="321"/>
                    </a:lnTo>
                    <a:lnTo>
                      <a:pt x="131" y="354"/>
                    </a:lnTo>
                    <a:lnTo>
                      <a:pt x="132" y="356"/>
                    </a:lnTo>
                    <a:lnTo>
                      <a:pt x="132" y="359"/>
                    </a:lnTo>
                    <a:lnTo>
                      <a:pt x="134" y="361"/>
                    </a:lnTo>
                    <a:lnTo>
                      <a:pt x="135" y="363"/>
                    </a:lnTo>
                    <a:lnTo>
                      <a:pt x="137" y="366"/>
                    </a:lnTo>
                    <a:lnTo>
                      <a:pt x="140" y="368"/>
                    </a:lnTo>
                    <a:lnTo>
                      <a:pt x="143" y="368"/>
                    </a:lnTo>
                    <a:lnTo>
                      <a:pt x="146" y="369"/>
                    </a:lnTo>
                    <a:lnTo>
                      <a:pt x="222" y="369"/>
                    </a:lnTo>
                    <a:lnTo>
                      <a:pt x="225" y="368"/>
                    </a:lnTo>
                    <a:lnTo>
                      <a:pt x="227" y="368"/>
                    </a:lnTo>
                    <a:lnTo>
                      <a:pt x="229" y="366"/>
                    </a:lnTo>
                    <a:lnTo>
                      <a:pt x="232" y="363"/>
                    </a:lnTo>
                    <a:lnTo>
                      <a:pt x="233" y="361"/>
                    </a:lnTo>
                    <a:lnTo>
                      <a:pt x="236" y="359"/>
                    </a:lnTo>
                    <a:lnTo>
                      <a:pt x="236" y="356"/>
                    </a:lnTo>
                    <a:lnTo>
                      <a:pt x="237" y="354"/>
                    </a:lnTo>
                    <a:lnTo>
                      <a:pt x="237" y="321"/>
                    </a:lnTo>
                    <a:lnTo>
                      <a:pt x="246" y="316"/>
                    </a:lnTo>
                    <a:lnTo>
                      <a:pt x="256" y="311"/>
                    </a:lnTo>
                    <a:lnTo>
                      <a:pt x="266" y="305"/>
                    </a:lnTo>
                    <a:lnTo>
                      <a:pt x="274" y="298"/>
                    </a:lnTo>
                    <a:lnTo>
                      <a:pt x="302" y="313"/>
                    </a:lnTo>
                    <a:lnTo>
                      <a:pt x="305" y="315"/>
                    </a:lnTo>
                    <a:lnTo>
                      <a:pt x="307" y="315"/>
                    </a:lnTo>
                    <a:lnTo>
                      <a:pt x="310" y="316"/>
                    </a:lnTo>
                    <a:lnTo>
                      <a:pt x="314" y="316"/>
                    </a:lnTo>
                    <a:lnTo>
                      <a:pt x="319" y="313"/>
                    </a:lnTo>
                    <a:lnTo>
                      <a:pt x="322" y="309"/>
                    </a:lnTo>
                    <a:lnTo>
                      <a:pt x="360" y="243"/>
                    </a:lnTo>
                    <a:lnTo>
                      <a:pt x="362" y="240"/>
                    </a:lnTo>
                    <a:lnTo>
                      <a:pt x="362" y="237"/>
                    </a:lnTo>
                    <a:lnTo>
                      <a:pt x="362" y="234"/>
                    </a:lnTo>
                    <a:lnTo>
                      <a:pt x="362" y="232"/>
                    </a:lnTo>
                    <a:lnTo>
                      <a:pt x="361" y="229"/>
                    </a:lnTo>
                    <a:lnTo>
                      <a:pt x="359" y="227"/>
                    </a:lnTo>
                    <a:lnTo>
                      <a:pt x="357" y="224"/>
                    </a:lnTo>
                    <a:lnTo>
                      <a:pt x="354" y="2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36607935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1" y="5646"/>
            <a:ext cx="12192001" cy="805723"/>
          </a:xfrm>
          <a:prstGeom prst="rect">
            <a:avLst/>
          </a:prstGeom>
          <a:solidFill>
            <a:srgbClr val="00266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rtlCol="0" anchor="ctr">
            <a:noAutofit/>
            <a:scene3d>
              <a:camera prst="orthographicFront"/>
              <a:lightRig rig="soft" dir="t"/>
            </a:scene3d>
            <a:sp3d prstMaterial="softEdge">
              <a:bevelT w="25400" h="25400"/>
            </a:sp3d>
          </a:bodyPr>
          <a:lstStyle>
            <a:lvl1pPr algn="r" rtl="0" eaLnBrk="1" latinLnBrk="0" hangingPunct="1">
              <a:spcBef>
                <a:spcPct val="0"/>
              </a:spcBef>
              <a:buNone/>
              <a:defRPr kumimoji="0" sz="3200" b="1" kern="1200">
                <a:solidFill>
                  <a:srgbClr val="9A9B9C"/>
                </a:solidFill>
                <a:effectLst>
                  <a:outerShdw blurRad="31750" dist="25400" dir="5400000" algn="tl" rotWithShape="0">
                    <a:srgbClr val="000000">
                      <a:alpha val="25000"/>
                    </a:srgbClr>
                  </a:outerShdw>
                </a:effectLst>
                <a:latin typeface="+mn-lt"/>
                <a:ea typeface="+mj-ea"/>
                <a:cs typeface="+mj-cs"/>
              </a:defRPr>
            </a:lvl1pPr>
            <a:lvl2pPr>
              <a:defRPr/>
            </a:lvl2pPr>
            <a:lvl3pPr>
              <a:defRPr/>
            </a:lvl3pPr>
            <a:lvl4pPr>
              <a:defRPr/>
            </a:lvl4pPr>
            <a:lvl5pPr>
              <a:defRPr/>
            </a:lvl5pPr>
            <a:lvl6pPr>
              <a:defRPr/>
            </a:lvl6pPr>
            <a:lvl7pPr>
              <a:defRPr/>
            </a:lvl7pPr>
            <a:lvl8pPr>
              <a:defRPr/>
            </a:lvl8pPr>
            <a:lvl9pPr>
              <a:defRPr/>
            </a:lvl9pPr>
            <a:extLst/>
          </a:lstStyle>
          <a:p>
            <a:pPr marL="354013" indent="7938" algn="l"/>
            <a:r>
              <a:rPr lang="en-ZA" sz="2400" kern="0" dirty="0">
                <a:solidFill>
                  <a:prstClr val="white"/>
                </a:solidFill>
              </a:rPr>
              <a:t>NHFC will offer a variety of products and services to its primary customers operating in different markets</a:t>
            </a:r>
            <a:endParaRPr lang="en-GB" sz="2400" kern="0" dirty="0">
              <a:solidFill>
                <a:prstClr val="white"/>
              </a:solidFill>
            </a:endParaRPr>
          </a:p>
        </p:txBody>
      </p:sp>
      <p:sp>
        <p:nvSpPr>
          <p:cNvPr id="8" name="Parallelogram 7"/>
          <p:cNvSpPr/>
          <p:nvPr/>
        </p:nvSpPr>
        <p:spPr>
          <a:xfrm>
            <a:off x="-2" y="6519067"/>
            <a:ext cx="9871077" cy="335757"/>
          </a:xfrm>
          <a:custGeom>
            <a:avLst/>
            <a:gdLst>
              <a:gd name="connsiteX0" fmla="*/ 0 w 10188575"/>
              <a:gd name="connsiteY0" fmla="*/ 166915 h 166915"/>
              <a:gd name="connsiteX1" fmla="*/ 41729 w 10188575"/>
              <a:gd name="connsiteY1" fmla="*/ 0 h 166915"/>
              <a:gd name="connsiteX2" fmla="*/ 10188575 w 10188575"/>
              <a:gd name="connsiteY2" fmla="*/ 0 h 166915"/>
              <a:gd name="connsiteX3" fmla="*/ 10146846 w 10188575"/>
              <a:gd name="connsiteY3" fmla="*/ 166915 h 166915"/>
              <a:gd name="connsiteX4" fmla="*/ 0 w 10188575"/>
              <a:gd name="connsiteY4" fmla="*/ 166915 h 166915"/>
              <a:gd name="connsiteX0" fmla="*/ 17802 w 10146846"/>
              <a:gd name="connsiteY0" fmla="*/ 166915 h 166915"/>
              <a:gd name="connsiteX1" fmla="*/ 0 w 10146846"/>
              <a:gd name="connsiteY1" fmla="*/ 0 h 166915"/>
              <a:gd name="connsiteX2" fmla="*/ 10146846 w 10146846"/>
              <a:gd name="connsiteY2" fmla="*/ 0 h 166915"/>
              <a:gd name="connsiteX3" fmla="*/ 10105117 w 10146846"/>
              <a:gd name="connsiteY3" fmla="*/ 166915 h 166915"/>
              <a:gd name="connsiteX4" fmla="*/ 17802 w 10146846"/>
              <a:gd name="connsiteY4" fmla="*/ 166915 h 166915"/>
              <a:gd name="connsiteX0" fmla="*/ 3514 w 10132558"/>
              <a:gd name="connsiteY0" fmla="*/ 166915 h 166915"/>
              <a:gd name="connsiteX1" fmla="*/ 0 w 10132558"/>
              <a:gd name="connsiteY1" fmla="*/ 2381 h 166915"/>
              <a:gd name="connsiteX2" fmla="*/ 10132558 w 10132558"/>
              <a:gd name="connsiteY2" fmla="*/ 0 h 166915"/>
              <a:gd name="connsiteX3" fmla="*/ 10090829 w 10132558"/>
              <a:gd name="connsiteY3" fmla="*/ 166915 h 166915"/>
              <a:gd name="connsiteX4" fmla="*/ 3514 w 10132558"/>
              <a:gd name="connsiteY4" fmla="*/ 166915 h 166915"/>
              <a:gd name="connsiteX0" fmla="*/ 154 w 10129198"/>
              <a:gd name="connsiteY0" fmla="*/ 166915 h 166915"/>
              <a:gd name="connsiteX1" fmla="*/ 3784 w 10129198"/>
              <a:gd name="connsiteY1" fmla="*/ 0 h 166915"/>
              <a:gd name="connsiteX2" fmla="*/ 10129198 w 10129198"/>
              <a:gd name="connsiteY2" fmla="*/ 0 h 166915"/>
              <a:gd name="connsiteX3" fmla="*/ 10087469 w 10129198"/>
              <a:gd name="connsiteY3" fmla="*/ 166915 h 166915"/>
              <a:gd name="connsiteX4" fmla="*/ 154 w 10129198"/>
              <a:gd name="connsiteY4" fmla="*/ 166915 h 166915"/>
              <a:gd name="connsiteX0" fmla="*/ 239 w 10126902"/>
              <a:gd name="connsiteY0" fmla="*/ 169296 h 169296"/>
              <a:gd name="connsiteX1" fmla="*/ 1488 w 10126902"/>
              <a:gd name="connsiteY1" fmla="*/ 0 h 169296"/>
              <a:gd name="connsiteX2" fmla="*/ 10126902 w 10126902"/>
              <a:gd name="connsiteY2" fmla="*/ 0 h 169296"/>
              <a:gd name="connsiteX3" fmla="*/ 10085173 w 10126902"/>
              <a:gd name="connsiteY3" fmla="*/ 166915 h 169296"/>
              <a:gd name="connsiteX4" fmla="*/ 239 w 10126902"/>
              <a:gd name="connsiteY4" fmla="*/ 169296 h 169296"/>
              <a:gd name="connsiteX0" fmla="*/ 239 w 10425352"/>
              <a:gd name="connsiteY0" fmla="*/ 175887 h 175887"/>
              <a:gd name="connsiteX1" fmla="*/ 1488 w 10425352"/>
              <a:gd name="connsiteY1" fmla="*/ 6591 h 175887"/>
              <a:gd name="connsiteX2" fmla="*/ 10425352 w 10425352"/>
              <a:gd name="connsiteY2" fmla="*/ 0 h 175887"/>
              <a:gd name="connsiteX3" fmla="*/ 10085173 w 10425352"/>
              <a:gd name="connsiteY3" fmla="*/ 173506 h 175887"/>
              <a:gd name="connsiteX4" fmla="*/ 239 w 10425352"/>
              <a:gd name="connsiteY4" fmla="*/ 175887 h 175887"/>
              <a:gd name="connsiteX0" fmla="*/ 239 w 10635515"/>
              <a:gd name="connsiteY0" fmla="*/ 179182 h 179182"/>
              <a:gd name="connsiteX1" fmla="*/ 1488 w 10635515"/>
              <a:gd name="connsiteY1" fmla="*/ 9886 h 179182"/>
              <a:gd name="connsiteX2" fmla="*/ 10635515 w 10635515"/>
              <a:gd name="connsiteY2" fmla="*/ 0 h 179182"/>
              <a:gd name="connsiteX3" fmla="*/ 10085173 w 10635515"/>
              <a:gd name="connsiteY3" fmla="*/ 176801 h 179182"/>
              <a:gd name="connsiteX4" fmla="*/ 239 w 10635515"/>
              <a:gd name="connsiteY4" fmla="*/ 179182 h 179182"/>
              <a:gd name="connsiteX0" fmla="*/ 239 w 10635515"/>
              <a:gd name="connsiteY0" fmla="*/ 179182 h 179182"/>
              <a:gd name="connsiteX1" fmla="*/ 1488 w 10635515"/>
              <a:gd name="connsiteY1" fmla="*/ 9886 h 179182"/>
              <a:gd name="connsiteX2" fmla="*/ 10635515 w 10635515"/>
              <a:gd name="connsiteY2" fmla="*/ 0 h 179182"/>
              <a:gd name="connsiteX3" fmla="*/ 10224620 w 10635515"/>
              <a:gd name="connsiteY3" fmla="*/ 178449 h 179182"/>
              <a:gd name="connsiteX4" fmla="*/ 239 w 10635515"/>
              <a:gd name="connsiteY4" fmla="*/ 179182 h 179182"/>
              <a:gd name="connsiteX0" fmla="*/ 239 w 10635515"/>
              <a:gd name="connsiteY0" fmla="*/ 174239 h 174239"/>
              <a:gd name="connsiteX1" fmla="*/ 1488 w 10635515"/>
              <a:gd name="connsiteY1" fmla="*/ 4943 h 174239"/>
              <a:gd name="connsiteX2" fmla="*/ 10635515 w 10635515"/>
              <a:gd name="connsiteY2" fmla="*/ 0 h 174239"/>
              <a:gd name="connsiteX3" fmla="*/ 10224620 w 10635515"/>
              <a:gd name="connsiteY3" fmla="*/ 173506 h 174239"/>
              <a:gd name="connsiteX4" fmla="*/ 239 w 10635515"/>
              <a:gd name="connsiteY4" fmla="*/ 174239 h 174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35515" h="174239">
                <a:moveTo>
                  <a:pt x="239" y="174239"/>
                </a:moveTo>
                <a:cubicBezTo>
                  <a:pt x="-932" y="119394"/>
                  <a:pt x="2659" y="59788"/>
                  <a:pt x="1488" y="4943"/>
                </a:cubicBezTo>
                <a:lnTo>
                  <a:pt x="10635515" y="0"/>
                </a:lnTo>
                <a:lnTo>
                  <a:pt x="10224620" y="173506"/>
                </a:lnTo>
                <a:lnTo>
                  <a:pt x="239" y="174239"/>
                </a:lnTo>
                <a:close/>
              </a:path>
            </a:pathLst>
          </a:custGeom>
          <a:pattFill prst="pct70">
            <a:fgClr>
              <a:schemeClr val="bg1">
                <a:lumMod val="75000"/>
              </a:schemeClr>
            </a:fgClr>
            <a:bgClr>
              <a:schemeClr val="bg1"/>
            </a:bgClr>
          </a:patt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dirty="0"/>
          </a:p>
        </p:txBody>
      </p:sp>
      <p:sp>
        <p:nvSpPr>
          <p:cNvPr id="11" name="Parallelogram 10"/>
          <p:cNvSpPr/>
          <p:nvPr/>
        </p:nvSpPr>
        <p:spPr>
          <a:xfrm>
            <a:off x="10360480" y="6519067"/>
            <a:ext cx="1831520" cy="330199"/>
          </a:xfrm>
          <a:custGeom>
            <a:avLst/>
            <a:gdLst>
              <a:gd name="connsiteX0" fmla="*/ 0 w 1983938"/>
              <a:gd name="connsiteY0" fmla="*/ 166914 h 166914"/>
              <a:gd name="connsiteX1" fmla="*/ 41729 w 1983938"/>
              <a:gd name="connsiteY1" fmla="*/ 0 h 166914"/>
              <a:gd name="connsiteX2" fmla="*/ 1983938 w 1983938"/>
              <a:gd name="connsiteY2" fmla="*/ 0 h 166914"/>
              <a:gd name="connsiteX3" fmla="*/ 1942210 w 1983938"/>
              <a:gd name="connsiteY3" fmla="*/ 166914 h 166914"/>
              <a:gd name="connsiteX4" fmla="*/ 0 w 1983938"/>
              <a:gd name="connsiteY4" fmla="*/ 166914 h 166914"/>
              <a:gd name="connsiteX0" fmla="*/ 0 w 1942210"/>
              <a:gd name="connsiteY0" fmla="*/ 166914 h 166914"/>
              <a:gd name="connsiteX1" fmla="*/ 41729 w 1942210"/>
              <a:gd name="connsiteY1" fmla="*/ 0 h 166914"/>
              <a:gd name="connsiteX2" fmla="*/ 1910120 w 1942210"/>
              <a:gd name="connsiteY2" fmla="*/ 0 h 166914"/>
              <a:gd name="connsiteX3" fmla="*/ 1942210 w 1942210"/>
              <a:gd name="connsiteY3" fmla="*/ 166914 h 166914"/>
              <a:gd name="connsiteX4" fmla="*/ 0 w 1942210"/>
              <a:gd name="connsiteY4" fmla="*/ 166914 h 166914"/>
              <a:gd name="connsiteX0" fmla="*/ 0 w 1913635"/>
              <a:gd name="connsiteY0" fmla="*/ 166914 h 166914"/>
              <a:gd name="connsiteX1" fmla="*/ 41729 w 1913635"/>
              <a:gd name="connsiteY1" fmla="*/ 0 h 166914"/>
              <a:gd name="connsiteX2" fmla="*/ 1910120 w 1913635"/>
              <a:gd name="connsiteY2" fmla="*/ 0 h 166914"/>
              <a:gd name="connsiteX3" fmla="*/ 1913635 w 1913635"/>
              <a:gd name="connsiteY3" fmla="*/ 166914 h 166914"/>
              <a:gd name="connsiteX4" fmla="*/ 0 w 1913635"/>
              <a:gd name="connsiteY4" fmla="*/ 166914 h 166914"/>
              <a:gd name="connsiteX0" fmla="*/ 0 w 1913635"/>
              <a:gd name="connsiteY0" fmla="*/ 170187 h 170187"/>
              <a:gd name="connsiteX1" fmla="*/ 352879 w 1913635"/>
              <a:gd name="connsiteY1" fmla="*/ 0 h 170187"/>
              <a:gd name="connsiteX2" fmla="*/ 1910120 w 1913635"/>
              <a:gd name="connsiteY2" fmla="*/ 3273 h 170187"/>
              <a:gd name="connsiteX3" fmla="*/ 1913635 w 1913635"/>
              <a:gd name="connsiteY3" fmla="*/ 170187 h 170187"/>
              <a:gd name="connsiteX4" fmla="*/ 0 w 1913635"/>
              <a:gd name="connsiteY4" fmla="*/ 170187 h 1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635" h="170187">
                <a:moveTo>
                  <a:pt x="0" y="170187"/>
                </a:moveTo>
                <a:lnTo>
                  <a:pt x="352879" y="0"/>
                </a:lnTo>
                <a:lnTo>
                  <a:pt x="1910120" y="3273"/>
                </a:lnTo>
                <a:cubicBezTo>
                  <a:pt x="1911292" y="58911"/>
                  <a:pt x="1912463" y="114549"/>
                  <a:pt x="1913635" y="170187"/>
                </a:cubicBezTo>
                <a:lnTo>
                  <a:pt x="0" y="170187"/>
                </a:lnTo>
                <a:close/>
              </a:path>
            </a:pathLst>
          </a:custGeom>
          <a:pattFill prst="pct70">
            <a:fgClr>
              <a:schemeClr val="accent4"/>
            </a:fgClr>
            <a:bgClr>
              <a:schemeClr val="bg1"/>
            </a:bgClr>
          </a:patt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sp>
        <p:nvSpPr>
          <p:cNvPr id="13" name="Parallelogram 12"/>
          <p:cNvSpPr/>
          <p:nvPr/>
        </p:nvSpPr>
        <p:spPr>
          <a:xfrm>
            <a:off x="9680574" y="6524623"/>
            <a:ext cx="841376" cy="330201"/>
          </a:xfrm>
          <a:custGeom>
            <a:avLst/>
            <a:gdLst>
              <a:gd name="connsiteX0" fmla="*/ 0 w 812801"/>
              <a:gd name="connsiteY0" fmla="*/ 333376 h 333376"/>
              <a:gd name="connsiteX1" fmla="*/ 83344 w 812801"/>
              <a:gd name="connsiteY1" fmla="*/ 0 h 333376"/>
              <a:gd name="connsiteX2" fmla="*/ 812801 w 812801"/>
              <a:gd name="connsiteY2" fmla="*/ 0 h 333376"/>
              <a:gd name="connsiteX3" fmla="*/ 729457 w 812801"/>
              <a:gd name="connsiteY3" fmla="*/ 333376 h 333376"/>
              <a:gd name="connsiteX4" fmla="*/ 0 w 812801"/>
              <a:gd name="connsiteY4" fmla="*/ 333376 h 333376"/>
              <a:gd name="connsiteX0" fmla="*/ 0 w 1111251"/>
              <a:gd name="connsiteY0" fmla="*/ 330201 h 333376"/>
              <a:gd name="connsiteX1" fmla="*/ 381794 w 1111251"/>
              <a:gd name="connsiteY1" fmla="*/ 0 h 333376"/>
              <a:gd name="connsiteX2" fmla="*/ 1111251 w 1111251"/>
              <a:gd name="connsiteY2" fmla="*/ 0 h 333376"/>
              <a:gd name="connsiteX3" fmla="*/ 1027907 w 1111251"/>
              <a:gd name="connsiteY3" fmla="*/ 333376 h 333376"/>
              <a:gd name="connsiteX4" fmla="*/ 0 w 1111251"/>
              <a:gd name="connsiteY4" fmla="*/ 330201 h 333376"/>
              <a:gd name="connsiteX0" fmla="*/ 0 w 1111251"/>
              <a:gd name="connsiteY0" fmla="*/ 330201 h 330201"/>
              <a:gd name="connsiteX1" fmla="*/ 381794 w 1111251"/>
              <a:gd name="connsiteY1" fmla="*/ 0 h 330201"/>
              <a:gd name="connsiteX2" fmla="*/ 1111251 w 1111251"/>
              <a:gd name="connsiteY2" fmla="*/ 0 h 330201"/>
              <a:gd name="connsiteX3" fmla="*/ 805657 w 1111251"/>
              <a:gd name="connsiteY3" fmla="*/ 320676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815976"/>
              <a:gd name="connsiteY0" fmla="*/ 330201 h 330201"/>
              <a:gd name="connsiteX1" fmla="*/ 381794 w 815976"/>
              <a:gd name="connsiteY1" fmla="*/ 0 h 330201"/>
              <a:gd name="connsiteX2" fmla="*/ 815976 w 815976"/>
              <a:gd name="connsiteY2" fmla="*/ 0 h 330201"/>
              <a:gd name="connsiteX3" fmla="*/ 450057 w 815976"/>
              <a:gd name="connsiteY3" fmla="*/ 330201 h 330201"/>
              <a:gd name="connsiteX4" fmla="*/ 0 w 815976"/>
              <a:gd name="connsiteY4" fmla="*/ 330201 h 330201"/>
              <a:gd name="connsiteX0" fmla="*/ 0 w 841376"/>
              <a:gd name="connsiteY0" fmla="*/ 330201 h 330201"/>
              <a:gd name="connsiteX1" fmla="*/ 381794 w 841376"/>
              <a:gd name="connsiteY1" fmla="*/ 0 h 330201"/>
              <a:gd name="connsiteX2" fmla="*/ 841376 w 841376"/>
              <a:gd name="connsiteY2" fmla="*/ 0 h 330201"/>
              <a:gd name="connsiteX3" fmla="*/ 450057 w 841376"/>
              <a:gd name="connsiteY3" fmla="*/ 330201 h 330201"/>
              <a:gd name="connsiteX4" fmla="*/ 0 w 841376"/>
              <a:gd name="connsiteY4" fmla="*/ 330201 h 33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376" h="330201">
                <a:moveTo>
                  <a:pt x="0" y="330201"/>
                </a:moveTo>
                <a:lnTo>
                  <a:pt x="381794" y="0"/>
                </a:lnTo>
                <a:lnTo>
                  <a:pt x="841376" y="0"/>
                </a:lnTo>
                <a:lnTo>
                  <a:pt x="450057" y="330201"/>
                </a:lnTo>
                <a:lnTo>
                  <a:pt x="0" y="330201"/>
                </a:lnTo>
                <a:close/>
              </a:path>
            </a:pathLst>
          </a:custGeom>
          <a:pattFill prst="pct70">
            <a:fgClr>
              <a:schemeClr val="accent5">
                <a:lumMod val="50000"/>
              </a:schemeClr>
            </a:fgClr>
            <a:bgClr>
              <a:schemeClr val="bg1"/>
            </a:bgClr>
          </a:patt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p>
        </p:txBody>
      </p:sp>
      <p:sp>
        <p:nvSpPr>
          <p:cNvPr id="3" name="TextBox 2">
            <a:extLst>
              <a:ext uri="{FF2B5EF4-FFF2-40B4-BE49-F238E27FC236}">
                <a16:creationId xmlns:a16="http://schemas.microsoft.com/office/drawing/2014/main" id="{306EBDAB-6567-4BB5-A72D-B8C120B081C9}"/>
              </a:ext>
            </a:extLst>
          </p:cNvPr>
          <p:cNvSpPr txBox="1"/>
          <p:nvPr/>
        </p:nvSpPr>
        <p:spPr>
          <a:xfrm>
            <a:off x="30144" y="6484140"/>
            <a:ext cx="12161855" cy="373859"/>
          </a:xfrm>
          <a:prstGeom prst="rect">
            <a:avLst/>
          </a:prstGeom>
          <a:noFill/>
        </p:spPr>
        <p:txBody>
          <a:bodyPr wrap="square" rtlCol="0" anchor="ctr">
            <a:noAutofit/>
          </a:bodyPr>
          <a:lstStyle/>
          <a:p>
            <a:pPr indent="361950"/>
            <a:endParaRPr lang="en-ZA" sz="1000" b="1" dirty="0"/>
          </a:p>
        </p:txBody>
      </p:sp>
      <p:sp>
        <p:nvSpPr>
          <p:cNvPr id="5" name="Slide Number Placeholder 4">
            <a:extLst>
              <a:ext uri="{FF2B5EF4-FFF2-40B4-BE49-F238E27FC236}">
                <a16:creationId xmlns:a16="http://schemas.microsoft.com/office/drawing/2014/main" id="{A987B35D-F68B-4006-AC19-5A526609671C}"/>
              </a:ext>
            </a:extLst>
          </p:cNvPr>
          <p:cNvSpPr>
            <a:spLocks noGrp="1"/>
          </p:cNvSpPr>
          <p:nvPr>
            <p:ph type="sldNum" sz="quarter" idx="12"/>
          </p:nvPr>
        </p:nvSpPr>
        <p:spPr>
          <a:xfrm>
            <a:off x="9448800" y="6484141"/>
            <a:ext cx="2743200" cy="365125"/>
          </a:xfrm>
        </p:spPr>
        <p:txBody>
          <a:bodyPr anchor="ctr"/>
          <a:lstStyle/>
          <a:p>
            <a:fld id="{87102F09-8F7D-4EC1-9AE5-82CA77F49212}" type="slidenum">
              <a:rPr lang="en-ZA" b="1" smtClean="0">
                <a:solidFill>
                  <a:schemeClr val="tx1"/>
                </a:solidFill>
              </a:rPr>
              <a:t>8</a:t>
            </a:fld>
            <a:endParaRPr lang="en-ZA" b="1" dirty="0">
              <a:solidFill>
                <a:schemeClr val="tx1"/>
              </a:solidFill>
            </a:endParaRPr>
          </a:p>
        </p:txBody>
      </p:sp>
      <p:sp>
        <p:nvSpPr>
          <p:cNvPr id="75" name="Rectangle 74">
            <a:extLst>
              <a:ext uri="{FF2B5EF4-FFF2-40B4-BE49-F238E27FC236}">
                <a16:creationId xmlns:a16="http://schemas.microsoft.com/office/drawing/2014/main" id="{F373B2A5-8ECD-4D02-AA9A-635E41B5D5E0}"/>
              </a:ext>
            </a:extLst>
          </p:cNvPr>
          <p:cNvSpPr/>
          <p:nvPr/>
        </p:nvSpPr>
        <p:spPr>
          <a:xfrm>
            <a:off x="491613" y="981860"/>
            <a:ext cx="6793107" cy="326696"/>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1400" dirty="0">
                <a:cs typeface="Segoe UI" panose="020B0502040204020203" pitchFamily="34" charset="0"/>
              </a:rPr>
              <a:t>Product and services</a:t>
            </a:r>
          </a:p>
        </p:txBody>
      </p:sp>
      <p:grpSp>
        <p:nvGrpSpPr>
          <p:cNvPr id="6" name="Group 5">
            <a:extLst>
              <a:ext uri="{FF2B5EF4-FFF2-40B4-BE49-F238E27FC236}">
                <a16:creationId xmlns:a16="http://schemas.microsoft.com/office/drawing/2014/main" id="{80913A2B-7BD1-404C-8327-B039ED8D3F0D}"/>
              </a:ext>
            </a:extLst>
          </p:cNvPr>
          <p:cNvGrpSpPr/>
          <p:nvPr/>
        </p:nvGrpSpPr>
        <p:grpSpPr>
          <a:xfrm>
            <a:off x="491612" y="1394180"/>
            <a:ext cx="6685935" cy="4763356"/>
            <a:chOff x="-222185" y="940907"/>
            <a:chExt cx="7177882" cy="5225541"/>
          </a:xfrm>
        </p:grpSpPr>
        <p:sp>
          <p:nvSpPr>
            <p:cNvPr id="2" name="Rectangle 1">
              <a:extLst>
                <a:ext uri="{FF2B5EF4-FFF2-40B4-BE49-F238E27FC236}">
                  <a16:creationId xmlns:a16="http://schemas.microsoft.com/office/drawing/2014/main" id="{4EA59DD2-69ED-4B8D-AA6C-02962AA4B7E4}"/>
                </a:ext>
              </a:extLst>
            </p:cNvPr>
            <p:cNvSpPr/>
            <p:nvPr/>
          </p:nvSpPr>
          <p:spPr>
            <a:xfrm>
              <a:off x="4877752" y="1928901"/>
              <a:ext cx="2077944" cy="3005380"/>
            </a:xfrm>
            <a:prstGeom prst="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cs typeface="Segoe UI" panose="020B0502040204020203" pitchFamily="34" charset="0"/>
              </a:endParaRPr>
            </a:p>
          </p:txBody>
        </p:sp>
        <p:sp>
          <p:nvSpPr>
            <p:cNvPr id="19" name="Freeform 6">
              <a:extLst>
                <a:ext uri="{FF2B5EF4-FFF2-40B4-BE49-F238E27FC236}">
                  <a16:creationId xmlns:a16="http://schemas.microsoft.com/office/drawing/2014/main" id="{FB888156-0B97-48BA-A343-AB88DEE9CC71}"/>
                </a:ext>
              </a:extLst>
            </p:cNvPr>
            <p:cNvSpPr>
              <a:spLocks/>
            </p:cNvSpPr>
            <p:nvPr/>
          </p:nvSpPr>
          <p:spPr bwMode="auto">
            <a:xfrm>
              <a:off x="3465604" y="4019693"/>
              <a:ext cx="660999" cy="665632"/>
            </a:xfrm>
            <a:custGeom>
              <a:avLst/>
              <a:gdLst>
                <a:gd name="T0" fmla="*/ 66 w 141"/>
                <a:gd name="T1" fmla="*/ 135 h 142"/>
                <a:gd name="T2" fmla="*/ 54 w 141"/>
                <a:gd name="T3" fmla="*/ 140 h 142"/>
                <a:gd name="T4" fmla="*/ 49 w 141"/>
                <a:gd name="T5" fmla="*/ 132 h 142"/>
                <a:gd name="T6" fmla="*/ 42 w 141"/>
                <a:gd name="T7" fmla="*/ 129 h 142"/>
                <a:gd name="T8" fmla="*/ 29 w 141"/>
                <a:gd name="T9" fmla="*/ 128 h 142"/>
                <a:gd name="T10" fmla="*/ 28 w 141"/>
                <a:gd name="T11" fmla="*/ 119 h 142"/>
                <a:gd name="T12" fmla="*/ 22 w 141"/>
                <a:gd name="T13" fmla="*/ 114 h 142"/>
                <a:gd name="T14" fmla="*/ 10 w 141"/>
                <a:gd name="T15" fmla="*/ 108 h 142"/>
                <a:gd name="T16" fmla="*/ 12 w 141"/>
                <a:gd name="T17" fmla="*/ 99 h 142"/>
                <a:gd name="T18" fmla="*/ 10 w 141"/>
                <a:gd name="T19" fmla="*/ 92 h 142"/>
                <a:gd name="T20" fmla="*/ 1 w 141"/>
                <a:gd name="T21" fmla="*/ 82 h 142"/>
                <a:gd name="T22" fmla="*/ 6 w 141"/>
                <a:gd name="T23" fmla="*/ 75 h 142"/>
                <a:gd name="T24" fmla="*/ 6 w 141"/>
                <a:gd name="T25" fmla="*/ 67 h 142"/>
                <a:gd name="T26" fmla="*/ 1 w 141"/>
                <a:gd name="T27" fmla="*/ 60 h 142"/>
                <a:gd name="T28" fmla="*/ 10 w 141"/>
                <a:gd name="T29" fmla="*/ 50 h 142"/>
                <a:gd name="T30" fmla="*/ 12 w 141"/>
                <a:gd name="T31" fmla="*/ 43 h 142"/>
                <a:gd name="T32" fmla="*/ 10 w 141"/>
                <a:gd name="T33" fmla="*/ 34 h 142"/>
                <a:gd name="T34" fmla="*/ 22 w 141"/>
                <a:gd name="T35" fmla="*/ 29 h 142"/>
                <a:gd name="T36" fmla="*/ 28 w 141"/>
                <a:gd name="T37" fmla="*/ 23 h 142"/>
                <a:gd name="T38" fmla="*/ 29 w 141"/>
                <a:gd name="T39" fmla="*/ 14 h 142"/>
                <a:gd name="T40" fmla="*/ 42 w 141"/>
                <a:gd name="T41" fmla="*/ 13 h 142"/>
                <a:gd name="T42" fmla="*/ 49 w 141"/>
                <a:gd name="T43" fmla="*/ 10 h 142"/>
                <a:gd name="T44" fmla="*/ 54 w 141"/>
                <a:gd name="T45" fmla="*/ 2 h 142"/>
                <a:gd name="T46" fmla="*/ 66 w 141"/>
                <a:gd name="T47" fmla="*/ 7 h 142"/>
                <a:gd name="T48" fmla="*/ 73 w 141"/>
                <a:gd name="T49" fmla="*/ 0 h 142"/>
                <a:gd name="T50" fmla="*/ 79 w 141"/>
                <a:gd name="T51" fmla="*/ 7 h 142"/>
                <a:gd name="T52" fmla="*/ 87 w 141"/>
                <a:gd name="T53" fmla="*/ 9 h 142"/>
                <a:gd name="T54" fmla="*/ 100 w 141"/>
                <a:gd name="T55" fmla="*/ 7 h 142"/>
                <a:gd name="T56" fmla="*/ 103 w 141"/>
                <a:gd name="T57" fmla="*/ 16 h 142"/>
                <a:gd name="T58" fmla="*/ 109 w 141"/>
                <a:gd name="T59" fmla="*/ 20 h 142"/>
                <a:gd name="T60" fmla="*/ 122 w 141"/>
                <a:gd name="T61" fmla="*/ 23 h 142"/>
                <a:gd name="T62" fmla="*/ 122 w 141"/>
                <a:gd name="T63" fmla="*/ 32 h 142"/>
                <a:gd name="T64" fmla="*/ 126 w 141"/>
                <a:gd name="T65" fmla="*/ 39 h 142"/>
                <a:gd name="T66" fmla="*/ 137 w 141"/>
                <a:gd name="T67" fmla="*/ 47 h 142"/>
                <a:gd name="T68" fmla="*/ 133 w 141"/>
                <a:gd name="T69" fmla="*/ 55 h 142"/>
                <a:gd name="T70" fmla="*/ 134 w 141"/>
                <a:gd name="T71" fmla="*/ 62 h 142"/>
                <a:gd name="T72" fmla="*/ 141 w 141"/>
                <a:gd name="T73" fmla="*/ 71 h 142"/>
                <a:gd name="T74" fmla="*/ 134 w 141"/>
                <a:gd name="T75" fmla="*/ 80 h 142"/>
                <a:gd name="T76" fmla="*/ 133 w 141"/>
                <a:gd name="T77" fmla="*/ 87 h 142"/>
                <a:gd name="T78" fmla="*/ 137 w 141"/>
                <a:gd name="T79" fmla="*/ 95 h 142"/>
                <a:gd name="T80" fmla="*/ 126 w 141"/>
                <a:gd name="T81" fmla="*/ 103 h 142"/>
                <a:gd name="T82" fmla="*/ 122 w 141"/>
                <a:gd name="T83" fmla="*/ 110 h 142"/>
                <a:gd name="T84" fmla="*/ 122 w 141"/>
                <a:gd name="T85" fmla="*/ 119 h 142"/>
                <a:gd name="T86" fmla="*/ 109 w 141"/>
                <a:gd name="T87" fmla="*/ 122 h 142"/>
                <a:gd name="T88" fmla="*/ 103 w 141"/>
                <a:gd name="T89" fmla="*/ 126 h 142"/>
                <a:gd name="T90" fmla="*/ 100 w 141"/>
                <a:gd name="T91" fmla="*/ 135 h 142"/>
                <a:gd name="T92" fmla="*/ 87 w 141"/>
                <a:gd name="T93" fmla="*/ 133 h 142"/>
                <a:gd name="T94" fmla="*/ 79 w 141"/>
                <a:gd name="T95" fmla="*/ 135 h 142"/>
                <a:gd name="T96" fmla="*/ 73 w 141"/>
                <a:gd name="T9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 h="142">
                  <a:moveTo>
                    <a:pt x="70" y="142"/>
                  </a:moveTo>
                  <a:cubicBezTo>
                    <a:pt x="69" y="142"/>
                    <a:pt x="68" y="142"/>
                    <a:pt x="67" y="142"/>
                  </a:cubicBezTo>
                  <a:cubicBezTo>
                    <a:pt x="67" y="135"/>
                    <a:pt x="67" y="135"/>
                    <a:pt x="67" y="135"/>
                  </a:cubicBezTo>
                  <a:cubicBezTo>
                    <a:pt x="66" y="135"/>
                    <a:pt x="66" y="135"/>
                    <a:pt x="66" y="135"/>
                  </a:cubicBezTo>
                  <a:cubicBezTo>
                    <a:pt x="65" y="135"/>
                    <a:pt x="63" y="135"/>
                    <a:pt x="62" y="135"/>
                  </a:cubicBezTo>
                  <a:cubicBezTo>
                    <a:pt x="61" y="135"/>
                    <a:pt x="61" y="135"/>
                    <a:pt x="61" y="135"/>
                  </a:cubicBezTo>
                  <a:cubicBezTo>
                    <a:pt x="60" y="141"/>
                    <a:pt x="60" y="141"/>
                    <a:pt x="60" y="141"/>
                  </a:cubicBezTo>
                  <a:cubicBezTo>
                    <a:pt x="58" y="141"/>
                    <a:pt x="56" y="140"/>
                    <a:pt x="54" y="140"/>
                  </a:cubicBezTo>
                  <a:cubicBezTo>
                    <a:pt x="54" y="133"/>
                    <a:pt x="54" y="133"/>
                    <a:pt x="54" y="133"/>
                  </a:cubicBezTo>
                  <a:cubicBezTo>
                    <a:pt x="54" y="133"/>
                    <a:pt x="54" y="133"/>
                    <a:pt x="54" y="133"/>
                  </a:cubicBezTo>
                  <a:cubicBezTo>
                    <a:pt x="52" y="133"/>
                    <a:pt x="51" y="132"/>
                    <a:pt x="50" y="132"/>
                  </a:cubicBezTo>
                  <a:cubicBezTo>
                    <a:pt x="49" y="132"/>
                    <a:pt x="49" y="132"/>
                    <a:pt x="49" y="132"/>
                  </a:cubicBezTo>
                  <a:cubicBezTo>
                    <a:pt x="46" y="137"/>
                    <a:pt x="46" y="137"/>
                    <a:pt x="46" y="137"/>
                  </a:cubicBezTo>
                  <a:cubicBezTo>
                    <a:pt x="44" y="137"/>
                    <a:pt x="42" y="136"/>
                    <a:pt x="41" y="135"/>
                  </a:cubicBezTo>
                  <a:cubicBezTo>
                    <a:pt x="42" y="129"/>
                    <a:pt x="42" y="129"/>
                    <a:pt x="42" y="129"/>
                  </a:cubicBezTo>
                  <a:cubicBezTo>
                    <a:pt x="42" y="129"/>
                    <a:pt x="42" y="129"/>
                    <a:pt x="42" y="129"/>
                  </a:cubicBezTo>
                  <a:cubicBezTo>
                    <a:pt x="41" y="128"/>
                    <a:pt x="39" y="127"/>
                    <a:pt x="38" y="127"/>
                  </a:cubicBezTo>
                  <a:cubicBezTo>
                    <a:pt x="38" y="126"/>
                    <a:pt x="38" y="126"/>
                    <a:pt x="38" y="126"/>
                  </a:cubicBezTo>
                  <a:cubicBezTo>
                    <a:pt x="34" y="131"/>
                    <a:pt x="34" y="131"/>
                    <a:pt x="34" y="131"/>
                  </a:cubicBezTo>
                  <a:cubicBezTo>
                    <a:pt x="32" y="130"/>
                    <a:pt x="30" y="129"/>
                    <a:pt x="29" y="128"/>
                  </a:cubicBezTo>
                  <a:cubicBezTo>
                    <a:pt x="32" y="122"/>
                    <a:pt x="32" y="122"/>
                    <a:pt x="32" y="122"/>
                  </a:cubicBezTo>
                  <a:cubicBezTo>
                    <a:pt x="31" y="122"/>
                    <a:pt x="31" y="122"/>
                    <a:pt x="31" y="122"/>
                  </a:cubicBezTo>
                  <a:cubicBezTo>
                    <a:pt x="30" y="121"/>
                    <a:pt x="29" y="120"/>
                    <a:pt x="28" y="119"/>
                  </a:cubicBezTo>
                  <a:cubicBezTo>
                    <a:pt x="28" y="119"/>
                    <a:pt x="28" y="119"/>
                    <a:pt x="28" y="119"/>
                  </a:cubicBezTo>
                  <a:cubicBezTo>
                    <a:pt x="23" y="123"/>
                    <a:pt x="23" y="123"/>
                    <a:pt x="23" y="123"/>
                  </a:cubicBezTo>
                  <a:cubicBezTo>
                    <a:pt x="21" y="122"/>
                    <a:pt x="20" y="120"/>
                    <a:pt x="18" y="119"/>
                  </a:cubicBezTo>
                  <a:cubicBezTo>
                    <a:pt x="22" y="114"/>
                    <a:pt x="22" y="114"/>
                    <a:pt x="22" y="114"/>
                  </a:cubicBezTo>
                  <a:cubicBezTo>
                    <a:pt x="22" y="114"/>
                    <a:pt x="22" y="114"/>
                    <a:pt x="22" y="114"/>
                  </a:cubicBezTo>
                  <a:cubicBezTo>
                    <a:pt x="21" y="112"/>
                    <a:pt x="20" y="111"/>
                    <a:pt x="19" y="110"/>
                  </a:cubicBezTo>
                  <a:cubicBezTo>
                    <a:pt x="19" y="110"/>
                    <a:pt x="19" y="110"/>
                    <a:pt x="19" y="110"/>
                  </a:cubicBezTo>
                  <a:cubicBezTo>
                    <a:pt x="13" y="113"/>
                    <a:pt x="13" y="113"/>
                    <a:pt x="13" y="113"/>
                  </a:cubicBezTo>
                  <a:cubicBezTo>
                    <a:pt x="12" y="111"/>
                    <a:pt x="11" y="109"/>
                    <a:pt x="10" y="108"/>
                  </a:cubicBezTo>
                  <a:cubicBezTo>
                    <a:pt x="15" y="104"/>
                    <a:pt x="15" y="104"/>
                    <a:pt x="15" y="104"/>
                  </a:cubicBezTo>
                  <a:cubicBezTo>
                    <a:pt x="15" y="103"/>
                    <a:pt x="15" y="103"/>
                    <a:pt x="15" y="103"/>
                  </a:cubicBezTo>
                  <a:cubicBezTo>
                    <a:pt x="14" y="102"/>
                    <a:pt x="13" y="101"/>
                    <a:pt x="13" y="99"/>
                  </a:cubicBezTo>
                  <a:cubicBezTo>
                    <a:pt x="12" y="99"/>
                    <a:pt x="12" y="99"/>
                    <a:pt x="12" y="99"/>
                  </a:cubicBezTo>
                  <a:cubicBezTo>
                    <a:pt x="6" y="101"/>
                    <a:pt x="6" y="101"/>
                    <a:pt x="6" y="101"/>
                  </a:cubicBezTo>
                  <a:cubicBezTo>
                    <a:pt x="5" y="99"/>
                    <a:pt x="5" y="97"/>
                    <a:pt x="4" y="95"/>
                  </a:cubicBezTo>
                  <a:cubicBezTo>
                    <a:pt x="10" y="92"/>
                    <a:pt x="10" y="92"/>
                    <a:pt x="10" y="92"/>
                  </a:cubicBezTo>
                  <a:cubicBezTo>
                    <a:pt x="10" y="92"/>
                    <a:pt x="10" y="92"/>
                    <a:pt x="10" y="92"/>
                  </a:cubicBezTo>
                  <a:cubicBezTo>
                    <a:pt x="9" y="90"/>
                    <a:pt x="9" y="89"/>
                    <a:pt x="8" y="88"/>
                  </a:cubicBezTo>
                  <a:cubicBezTo>
                    <a:pt x="8" y="87"/>
                    <a:pt x="8" y="87"/>
                    <a:pt x="8" y="87"/>
                  </a:cubicBezTo>
                  <a:cubicBezTo>
                    <a:pt x="2" y="88"/>
                    <a:pt x="2" y="88"/>
                    <a:pt x="2" y="88"/>
                  </a:cubicBezTo>
                  <a:cubicBezTo>
                    <a:pt x="1" y="86"/>
                    <a:pt x="1" y="84"/>
                    <a:pt x="1" y="82"/>
                  </a:cubicBezTo>
                  <a:cubicBezTo>
                    <a:pt x="7" y="80"/>
                    <a:pt x="7" y="80"/>
                    <a:pt x="7" y="80"/>
                  </a:cubicBezTo>
                  <a:cubicBezTo>
                    <a:pt x="7" y="80"/>
                    <a:pt x="7" y="80"/>
                    <a:pt x="7" y="80"/>
                  </a:cubicBezTo>
                  <a:cubicBezTo>
                    <a:pt x="6" y="78"/>
                    <a:pt x="6" y="77"/>
                    <a:pt x="6" y="75"/>
                  </a:cubicBezTo>
                  <a:cubicBezTo>
                    <a:pt x="6" y="75"/>
                    <a:pt x="6" y="75"/>
                    <a:pt x="6" y="75"/>
                  </a:cubicBezTo>
                  <a:cubicBezTo>
                    <a:pt x="0" y="74"/>
                    <a:pt x="0" y="74"/>
                    <a:pt x="0" y="74"/>
                  </a:cubicBezTo>
                  <a:cubicBezTo>
                    <a:pt x="0" y="73"/>
                    <a:pt x="0" y="72"/>
                    <a:pt x="0" y="71"/>
                  </a:cubicBezTo>
                  <a:cubicBezTo>
                    <a:pt x="0" y="70"/>
                    <a:pt x="0" y="69"/>
                    <a:pt x="0" y="68"/>
                  </a:cubicBezTo>
                  <a:cubicBezTo>
                    <a:pt x="6" y="67"/>
                    <a:pt x="6" y="67"/>
                    <a:pt x="6" y="67"/>
                  </a:cubicBezTo>
                  <a:cubicBezTo>
                    <a:pt x="6" y="67"/>
                    <a:pt x="6" y="67"/>
                    <a:pt x="6" y="67"/>
                  </a:cubicBezTo>
                  <a:cubicBezTo>
                    <a:pt x="6" y="65"/>
                    <a:pt x="6" y="64"/>
                    <a:pt x="7" y="62"/>
                  </a:cubicBezTo>
                  <a:cubicBezTo>
                    <a:pt x="7" y="62"/>
                    <a:pt x="7" y="62"/>
                    <a:pt x="7" y="62"/>
                  </a:cubicBezTo>
                  <a:cubicBezTo>
                    <a:pt x="1" y="60"/>
                    <a:pt x="1" y="60"/>
                    <a:pt x="1" y="60"/>
                  </a:cubicBezTo>
                  <a:cubicBezTo>
                    <a:pt x="1" y="58"/>
                    <a:pt x="1" y="56"/>
                    <a:pt x="2" y="54"/>
                  </a:cubicBezTo>
                  <a:cubicBezTo>
                    <a:pt x="8" y="55"/>
                    <a:pt x="8" y="55"/>
                    <a:pt x="8" y="55"/>
                  </a:cubicBezTo>
                  <a:cubicBezTo>
                    <a:pt x="8" y="54"/>
                    <a:pt x="8" y="54"/>
                    <a:pt x="8" y="54"/>
                  </a:cubicBezTo>
                  <a:cubicBezTo>
                    <a:pt x="9" y="53"/>
                    <a:pt x="9" y="52"/>
                    <a:pt x="10" y="50"/>
                  </a:cubicBezTo>
                  <a:cubicBezTo>
                    <a:pt x="10" y="50"/>
                    <a:pt x="10" y="50"/>
                    <a:pt x="10" y="50"/>
                  </a:cubicBezTo>
                  <a:cubicBezTo>
                    <a:pt x="4" y="47"/>
                    <a:pt x="4" y="47"/>
                    <a:pt x="4" y="47"/>
                  </a:cubicBezTo>
                  <a:cubicBezTo>
                    <a:pt x="5" y="45"/>
                    <a:pt x="5" y="43"/>
                    <a:pt x="6" y="41"/>
                  </a:cubicBezTo>
                  <a:cubicBezTo>
                    <a:pt x="12" y="43"/>
                    <a:pt x="12" y="43"/>
                    <a:pt x="12" y="43"/>
                  </a:cubicBezTo>
                  <a:cubicBezTo>
                    <a:pt x="13" y="43"/>
                    <a:pt x="13" y="43"/>
                    <a:pt x="13" y="43"/>
                  </a:cubicBezTo>
                  <a:cubicBezTo>
                    <a:pt x="13" y="41"/>
                    <a:pt x="14" y="40"/>
                    <a:pt x="15" y="39"/>
                  </a:cubicBezTo>
                  <a:cubicBezTo>
                    <a:pt x="15" y="38"/>
                    <a:pt x="15" y="38"/>
                    <a:pt x="15" y="38"/>
                  </a:cubicBezTo>
                  <a:cubicBezTo>
                    <a:pt x="10" y="34"/>
                    <a:pt x="10" y="34"/>
                    <a:pt x="10" y="34"/>
                  </a:cubicBezTo>
                  <a:cubicBezTo>
                    <a:pt x="11" y="33"/>
                    <a:pt x="12" y="31"/>
                    <a:pt x="13" y="29"/>
                  </a:cubicBezTo>
                  <a:cubicBezTo>
                    <a:pt x="19" y="32"/>
                    <a:pt x="19" y="32"/>
                    <a:pt x="19" y="32"/>
                  </a:cubicBezTo>
                  <a:cubicBezTo>
                    <a:pt x="19" y="32"/>
                    <a:pt x="19" y="32"/>
                    <a:pt x="19" y="32"/>
                  </a:cubicBezTo>
                  <a:cubicBezTo>
                    <a:pt x="20" y="31"/>
                    <a:pt x="21" y="30"/>
                    <a:pt x="22" y="29"/>
                  </a:cubicBezTo>
                  <a:cubicBezTo>
                    <a:pt x="22" y="28"/>
                    <a:pt x="22" y="28"/>
                    <a:pt x="22" y="28"/>
                  </a:cubicBezTo>
                  <a:cubicBezTo>
                    <a:pt x="18" y="23"/>
                    <a:pt x="18" y="23"/>
                    <a:pt x="18" y="23"/>
                  </a:cubicBezTo>
                  <a:cubicBezTo>
                    <a:pt x="20" y="22"/>
                    <a:pt x="21" y="20"/>
                    <a:pt x="23" y="19"/>
                  </a:cubicBezTo>
                  <a:cubicBezTo>
                    <a:pt x="28" y="23"/>
                    <a:pt x="28" y="23"/>
                    <a:pt x="28" y="23"/>
                  </a:cubicBezTo>
                  <a:cubicBezTo>
                    <a:pt x="28" y="23"/>
                    <a:pt x="28" y="23"/>
                    <a:pt x="28" y="23"/>
                  </a:cubicBezTo>
                  <a:cubicBezTo>
                    <a:pt x="29" y="22"/>
                    <a:pt x="30" y="21"/>
                    <a:pt x="31" y="20"/>
                  </a:cubicBezTo>
                  <a:cubicBezTo>
                    <a:pt x="32" y="20"/>
                    <a:pt x="32" y="20"/>
                    <a:pt x="32" y="20"/>
                  </a:cubicBezTo>
                  <a:cubicBezTo>
                    <a:pt x="29" y="14"/>
                    <a:pt x="29" y="14"/>
                    <a:pt x="29" y="14"/>
                  </a:cubicBezTo>
                  <a:cubicBezTo>
                    <a:pt x="30" y="13"/>
                    <a:pt x="32" y="12"/>
                    <a:pt x="34" y="11"/>
                  </a:cubicBezTo>
                  <a:cubicBezTo>
                    <a:pt x="38" y="16"/>
                    <a:pt x="38" y="16"/>
                    <a:pt x="38" y="16"/>
                  </a:cubicBezTo>
                  <a:cubicBezTo>
                    <a:pt x="38" y="15"/>
                    <a:pt x="38" y="15"/>
                    <a:pt x="38" y="15"/>
                  </a:cubicBezTo>
                  <a:cubicBezTo>
                    <a:pt x="39" y="15"/>
                    <a:pt x="41" y="14"/>
                    <a:pt x="42" y="13"/>
                  </a:cubicBezTo>
                  <a:cubicBezTo>
                    <a:pt x="42" y="13"/>
                    <a:pt x="42" y="13"/>
                    <a:pt x="42" y="13"/>
                  </a:cubicBezTo>
                  <a:cubicBezTo>
                    <a:pt x="41" y="7"/>
                    <a:pt x="41" y="7"/>
                    <a:pt x="41" y="7"/>
                  </a:cubicBezTo>
                  <a:cubicBezTo>
                    <a:pt x="42" y="6"/>
                    <a:pt x="44" y="5"/>
                    <a:pt x="46" y="5"/>
                  </a:cubicBezTo>
                  <a:cubicBezTo>
                    <a:pt x="49" y="10"/>
                    <a:pt x="49" y="10"/>
                    <a:pt x="49" y="10"/>
                  </a:cubicBezTo>
                  <a:cubicBezTo>
                    <a:pt x="50" y="10"/>
                    <a:pt x="50" y="10"/>
                    <a:pt x="50" y="10"/>
                  </a:cubicBezTo>
                  <a:cubicBezTo>
                    <a:pt x="51" y="10"/>
                    <a:pt x="52" y="9"/>
                    <a:pt x="54" y="9"/>
                  </a:cubicBezTo>
                  <a:cubicBezTo>
                    <a:pt x="54" y="9"/>
                    <a:pt x="54" y="9"/>
                    <a:pt x="54" y="9"/>
                  </a:cubicBezTo>
                  <a:cubicBezTo>
                    <a:pt x="54" y="2"/>
                    <a:pt x="54" y="2"/>
                    <a:pt x="54" y="2"/>
                  </a:cubicBezTo>
                  <a:cubicBezTo>
                    <a:pt x="56" y="2"/>
                    <a:pt x="58" y="1"/>
                    <a:pt x="60" y="1"/>
                  </a:cubicBezTo>
                  <a:cubicBezTo>
                    <a:pt x="61" y="7"/>
                    <a:pt x="61" y="7"/>
                    <a:pt x="61" y="7"/>
                  </a:cubicBezTo>
                  <a:cubicBezTo>
                    <a:pt x="62" y="7"/>
                    <a:pt x="62" y="7"/>
                    <a:pt x="62" y="7"/>
                  </a:cubicBezTo>
                  <a:cubicBezTo>
                    <a:pt x="63" y="7"/>
                    <a:pt x="65" y="7"/>
                    <a:pt x="66" y="7"/>
                  </a:cubicBezTo>
                  <a:cubicBezTo>
                    <a:pt x="67" y="7"/>
                    <a:pt x="67" y="7"/>
                    <a:pt x="67" y="7"/>
                  </a:cubicBezTo>
                  <a:cubicBezTo>
                    <a:pt x="67" y="0"/>
                    <a:pt x="67" y="0"/>
                    <a:pt x="67" y="0"/>
                  </a:cubicBezTo>
                  <a:cubicBezTo>
                    <a:pt x="68" y="0"/>
                    <a:pt x="69" y="0"/>
                    <a:pt x="70" y="0"/>
                  </a:cubicBezTo>
                  <a:cubicBezTo>
                    <a:pt x="71" y="0"/>
                    <a:pt x="72" y="0"/>
                    <a:pt x="73" y="0"/>
                  </a:cubicBezTo>
                  <a:cubicBezTo>
                    <a:pt x="74" y="7"/>
                    <a:pt x="74" y="7"/>
                    <a:pt x="74" y="7"/>
                  </a:cubicBezTo>
                  <a:cubicBezTo>
                    <a:pt x="74" y="7"/>
                    <a:pt x="74" y="7"/>
                    <a:pt x="74" y="7"/>
                  </a:cubicBezTo>
                  <a:cubicBezTo>
                    <a:pt x="76" y="7"/>
                    <a:pt x="77" y="7"/>
                    <a:pt x="79" y="7"/>
                  </a:cubicBezTo>
                  <a:cubicBezTo>
                    <a:pt x="79" y="7"/>
                    <a:pt x="79" y="7"/>
                    <a:pt x="79" y="7"/>
                  </a:cubicBezTo>
                  <a:cubicBezTo>
                    <a:pt x="81" y="1"/>
                    <a:pt x="81" y="1"/>
                    <a:pt x="81" y="1"/>
                  </a:cubicBezTo>
                  <a:cubicBezTo>
                    <a:pt x="83" y="1"/>
                    <a:pt x="85" y="2"/>
                    <a:pt x="87" y="2"/>
                  </a:cubicBezTo>
                  <a:cubicBezTo>
                    <a:pt x="87" y="9"/>
                    <a:pt x="87" y="9"/>
                    <a:pt x="87" y="9"/>
                  </a:cubicBezTo>
                  <a:cubicBezTo>
                    <a:pt x="87" y="9"/>
                    <a:pt x="87" y="9"/>
                    <a:pt x="87" y="9"/>
                  </a:cubicBezTo>
                  <a:cubicBezTo>
                    <a:pt x="88" y="9"/>
                    <a:pt x="90" y="10"/>
                    <a:pt x="91" y="10"/>
                  </a:cubicBezTo>
                  <a:cubicBezTo>
                    <a:pt x="92" y="10"/>
                    <a:pt x="92" y="10"/>
                    <a:pt x="92" y="10"/>
                  </a:cubicBezTo>
                  <a:cubicBezTo>
                    <a:pt x="95" y="5"/>
                    <a:pt x="95" y="5"/>
                    <a:pt x="95" y="5"/>
                  </a:cubicBezTo>
                  <a:cubicBezTo>
                    <a:pt x="96" y="5"/>
                    <a:pt x="98" y="6"/>
                    <a:pt x="100" y="7"/>
                  </a:cubicBezTo>
                  <a:cubicBezTo>
                    <a:pt x="98" y="13"/>
                    <a:pt x="98" y="13"/>
                    <a:pt x="98" y="13"/>
                  </a:cubicBezTo>
                  <a:cubicBezTo>
                    <a:pt x="99" y="13"/>
                    <a:pt x="99" y="13"/>
                    <a:pt x="99" y="13"/>
                  </a:cubicBezTo>
                  <a:cubicBezTo>
                    <a:pt x="100" y="14"/>
                    <a:pt x="101" y="15"/>
                    <a:pt x="103" y="15"/>
                  </a:cubicBezTo>
                  <a:cubicBezTo>
                    <a:pt x="103" y="16"/>
                    <a:pt x="103" y="16"/>
                    <a:pt x="103" y="16"/>
                  </a:cubicBezTo>
                  <a:cubicBezTo>
                    <a:pt x="107" y="11"/>
                    <a:pt x="107" y="11"/>
                    <a:pt x="107" y="11"/>
                  </a:cubicBezTo>
                  <a:cubicBezTo>
                    <a:pt x="109" y="12"/>
                    <a:pt x="111" y="13"/>
                    <a:pt x="112" y="14"/>
                  </a:cubicBezTo>
                  <a:cubicBezTo>
                    <a:pt x="109" y="20"/>
                    <a:pt x="109" y="20"/>
                    <a:pt x="109" y="20"/>
                  </a:cubicBezTo>
                  <a:cubicBezTo>
                    <a:pt x="109" y="20"/>
                    <a:pt x="109" y="20"/>
                    <a:pt x="109" y="20"/>
                  </a:cubicBezTo>
                  <a:cubicBezTo>
                    <a:pt x="111" y="21"/>
                    <a:pt x="112" y="22"/>
                    <a:pt x="113" y="23"/>
                  </a:cubicBezTo>
                  <a:cubicBezTo>
                    <a:pt x="113" y="23"/>
                    <a:pt x="113" y="23"/>
                    <a:pt x="113" y="23"/>
                  </a:cubicBezTo>
                  <a:cubicBezTo>
                    <a:pt x="118" y="19"/>
                    <a:pt x="118" y="19"/>
                    <a:pt x="118" y="19"/>
                  </a:cubicBezTo>
                  <a:cubicBezTo>
                    <a:pt x="120" y="20"/>
                    <a:pt x="121" y="22"/>
                    <a:pt x="122" y="23"/>
                  </a:cubicBezTo>
                  <a:cubicBezTo>
                    <a:pt x="118" y="28"/>
                    <a:pt x="118" y="28"/>
                    <a:pt x="118" y="28"/>
                  </a:cubicBezTo>
                  <a:cubicBezTo>
                    <a:pt x="119" y="29"/>
                    <a:pt x="119" y="29"/>
                    <a:pt x="119" y="29"/>
                  </a:cubicBezTo>
                  <a:cubicBezTo>
                    <a:pt x="120" y="30"/>
                    <a:pt x="121" y="31"/>
                    <a:pt x="121" y="32"/>
                  </a:cubicBezTo>
                  <a:cubicBezTo>
                    <a:pt x="122" y="32"/>
                    <a:pt x="122" y="32"/>
                    <a:pt x="122" y="32"/>
                  </a:cubicBezTo>
                  <a:cubicBezTo>
                    <a:pt x="127" y="29"/>
                    <a:pt x="127" y="29"/>
                    <a:pt x="127" y="29"/>
                  </a:cubicBezTo>
                  <a:cubicBezTo>
                    <a:pt x="129" y="31"/>
                    <a:pt x="130" y="33"/>
                    <a:pt x="131" y="34"/>
                  </a:cubicBezTo>
                  <a:cubicBezTo>
                    <a:pt x="126" y="38"/>
                    <a:pt x="126" y="38"/>
                    <a:pt x="126" y="38"/>
                  </a:cubicBezTo>
                  <a:cubicBezTo>
                    <a:pt x="126" y="39"/>
                    <a:pt x="126" y="39"/>
                    <a:pt x="126" y="39"/>
                  </a:cubicBezTo>
                  <a:cubicBezTo>
                    <a:pt x="127" y="40"/>
                    <a:pt x="128" y="41"/>
                    <a:pt x="128" y="43"/>
                  </a:cubicBezTo>
                  <a:cubicBezTo>
                    <a:pt x="128" y="43"/>
                    <a:pt x="128" y="43"/>
                    <a:pt x="128" y="43"/>
                  </a:cubicBezTo>
                  <a:cubicBezTo>
                    <a:pt x="134" y="41"/>
                    <a:pt x="134" y="41"/>
                    <a:pt x="134" y="41"/>
                  </a:cubicBezTo>
                  <a:cubicBezTo>
                    <a:pt x="135" y="43"/>
                    <a:pt x="136" y="45"/>
                    <a:pt x="137" y="47"/>
                  </a:cubicBezTo>
                  <a:cubicBezTo>
                    <a:pt x="131" y="50"/>
                    <a:pt x="131" y="50"/>
                    <a:pt x="131" y="50"/>
                  </a:cubicBezTo>
                  <a:cubicBezTo>
                    <a:pt x="131" y="50"/>
                    <a:pt x="131" y="50"/>
                    <a:pt x="131" y="50"/>
                  </a:cubicBezTo>
                  <a:cubicBezTo>
                    <a:pt x="132" y="52"/>
                    <a:pt x="132" y="53"/>
                    <a:pt x="133" y="54"/>
                  </a:cubicBezTo>
                  <a:cubicBezTo>
                    <a:pt x="133" y="55"/>
                    <a:pt x="133" y="55"/>
                    <a:pt x="133" y="55"/>
                  </a:cubicBezTo>
                  <a:cubicBezTo>
                    <a:pt x="139" y="54"/>
                    <a:pt x="139" y="54"/>
                    <a:pt x="139" y="54"/>
                  </a:cubicBezTo>
                  <a:cubicBezTo>
                    <a:pt x="140" y="56"/>
                    <a:pt x="140" y="58"/>
                    <a:pt x="140" y="60"/>
                  </a:cubicBezTo>
                  <a:cubicBezTo>
                    <a:pt x="134" y="62"/>
                    <a:pt x="134" y="62"/>
                    <a:pt x="134" y="62"/>
                  </a:cubicBezTo>
                  <a:cubicBezTo>
                    <a:pt x="134" y="62"/>
                    <a:pt x="134" y="62"/>
                    <a:pt x="134" y="62"/>
                  </a:cubicBezTo>
                  <a:cubicBezTo>
                    <a:pt x="134" y="64"/>
                    <a:pt x="134" y="65"/>
                    <a:pt x="135" y="67"/>
                  </a:cubicBezTo>
                  <a:cubicBezTo>
                    <a:pt x="135" y="67"/>
                    <a:pt x="135" y="67"/>
                    <a:pt x="135" y="67"/>
                  </a:cubicBezTo>
                  <a:cubicBezTo>
                    <a:pt x="141" y="68"/>
                    <a:pt x="141" y="68"/>
                    <a:pt x="141" y="68"/>
                  </a:cubicBezTo>
                  <a:cubicBezTo>
                    <a:pt x="141" y="69"/>
                    <a:pt x="141" y="70"/>
                    <a:pt x="141" y="71"/>
                  </a:cubicBezTo>
                  <a:cubicBezTo>
                    <a:pt x="141" y="72"/>
                    <a:pt x="141" y="73"/>
                    <a:pt x="141" y="74"/>
                  </a:cubicBezTo>
                  <a:cubicBezTo>
                    <a:pt x="135" y="75"/>
                    <a:pt x="135" y="75"/>
                    <a:pt x="135" y="75"/>
                  </a:cubicBezTo>
                  <a:cubicBezTo>
                    <a:pt x="135" y="75"/>
                    <a:pt x="135" y="75"/>
                    <a:pt x="135" y="75"/>
                  </a:cubicBezTo>
                  <a:cubicBezTo>
                    <a:pt x="134" y="77"/>
                    <a:pt x="134" y="78"/>
                    <a:pt x="134" y="80"/>
                  </a:cubicBezTo>
                  <a:cubicBezTo>
                    <a:pt x="134" y="80"/>
                    <a:pt x="134" y="80"/>
                    <a:pt x="134" y="80"/>
                  </a:cubicBezTo>
                  <a:cubicBezTo>
                    <a:pt x="140" y="82"/>
                    <a:pt x="140" y="82"/>
                    <a:pt x="140" y="82"/>
                  </a:cubicBezTo>
                  <a:cubicBezTo>
                    <a:pt x="140" y="84"/>
                    <a:pt x="140" y="86"/>
                    <a:pt x="139" y="88"/>
                  </a:cubicBezTo>
                  <a:cubicBezTo>
                    <a:pt x="133" y="87"/>
                    <a:pt x="133" y="87"/>
                    <a:pt x="133" y="87"/>
                  </a:cubicBezTo>
                  <a:cubicBezTo>
                    <a:pt x="133" y="88"/>
                    <a:pt x="133" y="88"/>
                    <a:pt x="133" y="88"/>
                  </a:cubicBezTo>
                  <a:cubicBezTo>
                    <a:pt x="132" y="89"/>
                    <a:pt x="132" y="90"/>
                    <a:pt x="131" y="92"/>
                  </a:cubicBezTo>
                  <a:cubicBezTo>
                    <a:pt x="131" y="92"/>
                    <a:pt x="131" y="92"/>
                    <a:pt x="131" y="92"/>
                  </a:cubicBezTo>
                  <a:cubicBezTo>
                    <a:pt x="137" y="95"/>
                    <a:pt x="137" y="95"/>
                    <a:pt x="137" y="95"/>
                  </a:cubicBezTo>
                  <a:cubicBezTo>
                    <a:pt x="136" y="97"/>
                    <a:pt x="135" y="99"/>
                    <a:pt x="134" y="101"/>
                  </a:cubicBezTo>
                  <a:cubicBezTo>
                    <a:pt x="128" y="99"/>
                    <a:pt x="128" y="99"/>
                    <a:pt x="128" y="99"/>
                  </a:cubicBezTo>
                  <a:cubicBezTo>
                    <a:pt x="128" y="99"/>
                    <a:pt x="128" y="99"/>
                    <a:pt x="128" y="99"/>
                  </a:cubicBezTo>
                  <a:cubicBezTo>
                    <a:pt x="128" y="101"/>
                    <a:pt x="127" y="102"/>
                    <a:pt x="126" y="103"/>
                  </a:cubicBezTo>
                  <a:cubicBezTo>
                    <a:pt x="126" y="104"/>
                    <a:pt x="126" y="104"/>
                    <a:pt x="126" y="104"/>
                  </a:cubicBezTo>
                  <a:cubicBezTo>
                    <a:pt x="131" y="108"/>
                    <a:pt x="131" y="108"/>
                    <a:pt x="131" y="108"/>
                  </a:cubicBezTo>
                  <a:cubicBezTo>
                    <a:pt x="130" y="109"/>
                    <a:pt x="129" y="111"/>
                    <a:pt x="127" y="113"/>
                  </a:cubicBezTo>
                  <a:cubicBezTo>
                    <a:pt x="122" y="110"/>
                    <a:pt x="122" y="110"/>
                    <a:pt x="122" y="110"/>
                  </a:cubicBezTo>
                  <a:cubicBezTo>
                    <a:pt x="121" y="110"/>
                    <a:pt x="121" y="110"/>
                    <a:pt x="121" y="110"/>
                  </a:cubicBezTo>
                  <a:cubicBezTo>
                    <a:pt x="121" y="111"/>
                    <a:pt x="120" y="112"/>
                    <a:pt x="119" y="114"/>
                  </a:cubicBezTo>
                  <a:cubicBezTo>
                    <a:pt x="118" y="114"/>
                    <a:pt x="118" y="114"/>
                    <a:pt x="118" y="114"/>
                  </a:cubicBezTo>
                  <a:cubicBezTo>
                    <a:pt x="122" y="119"/>
                    <a:pt x="122" y="119"/>
                    <a:pt x="122" y="119"/>
                  </a:cubicBezTo>
                  <a:cubicBezTo>
                    <a:pt x="121" y="120"/>
                    <a:pt x="120" y="122"/>
                    <a:pt x="118" y="123"/>
                  </a:cubicBezTo>
                  <a:cubicBezTo>
                    <a:pt x="113" y="119"/>
                    <a:pt x="113" y="119"/>
                    <a:pt x="113" y="119"/>
                  </a:cubicBezTo>
                  <a:cubicBezTo>
                    <a:pt x="113" y="119"/>
                    <a:pt x="113" y="119"/>
                    <a:pt x="113" y="119"/>
                  </a:cubicBezTo>
                  <a:cubicBezTo>
                    <a:pt x="112" y="120"/>
                    <a:pt x="111" y="121"/>
                    <a:pt x="109" y="122"/>
                  </a:cubicBezTo>
                  <a:cubicBezTo>
                    <a:pt x="109" y="122"/>
                    <a:pt x="109" y="122"/>
                    <a:pt x="109" y="122"/>
                  </a:cubicBezTo>
                  <a:cubicBezTo>
                    <a:pt x="112" y="128"/>
                    <a:pt x="112" y="128"/>
                    <a:pt x="112" y="128"/>
                  </a:cubicBezTo>
                  <a:cubicBezTo>
                    <a:pt x="111" y="129"/>
                    <a:pt x="109" y="130"/>
                    <a:pt x="107" y="131"/>
                  </a:cubicBezTo>
                  <a:cubicBezTo>
                    <a:pt x="103" y="126"/>
                    <a:pt x="103" y="126"/>
                    <a:pt x="103" y="126"/>
                  </a:cubicBezTo>
                  <a:cubicBezTo>
                    <a:pt x="103" y="127"/>
                    <a:pt x="103" y="127"/>
                    <a:pt x="103" y="127"/>
                  </a:cubicBezTo>
                  <a:cubicBezTo>
                    <a:pt x="101" y="127"/>
                    <a:pt x="100" y="128"/>
                    <a:pt x="99" y="129"/>
                  </a:cubicBezTo>
                  <a:cubicBezTo>
                    <a:pt x="98" y="129"/>
                    <a:pt x="98" y="129"/>
                    <a:pt x="98" y="129"/>
                  </a:cubicBezTo>
                  <a:cubicBezTo>
                    <a:pt x="100" y="135"/>
                    <a:pt x="100" y="135"/>
                    <a:pt x="100" y="135"/>
                  </a:cubicBezTo>
                  <a:cubicBezTo>
                    <a:pt x="98" y="136"/>
                    <a:pt x="96" y="137"/>
                    <a:pt x="95" y="137"/>
                  </a:cubicBezTo>
                  <a:cubicBezTo>
                    <a:pt x="92" y="132"/>
                    <a:pt x="92" y="132"/>
                    <a:pt x="92" y="132"/>
                  </a:cubicBezTo>
                  <a:cubicBezTo>
                    <a:pt x="91" y="132"/>
                    <a:pt x="91" y="132"/>
                    <a:pt x="91" y="132"/>
                  </a:cubicBezTo>
                  <a:cubicBezTo>
                    <a:pt x="90" y="132"/>
                    <a:pt x="88" y="133"/>
                    <a:pt x="87" y="133"/>
                  </a:cubicBezTo>
                  <a:cubicBezTo>
                    <a:pt x="87" y="133"/>
                    <a:pt x="87" y="133"/>
                    <a:pt x="87" y="133"/>
                  </a:cubicBezTo>
                  <a:cubicBezTo>
                    <a:pt x="87" y="140"/>
                    <a:pt x="87" y="140"/>
                    <a:pt x="87" y="140"/>
                  </a:cubicBezTo>
                  <a:cubicBezTo>
                    <a:pt x="85" y="140"/>
                    <a:pt x="83" y="141"/>
                    <a:pt x="81" y="141"/>
                  </a:cubicBezTo>
                  <a:cubicBezTo>
                    <a:pt x="79" y="135"/>
                    <a:pt x="79" y="135"/>
                    <a:pt x="79" y="135"/>
                  </a:cubicBezTo>
                  <a:cubicBezTo>
                    <a:pt x="79" y="135"/>
                    <a:pt x="79" y="135"/>
                    <a:pt x="79" y="135"/>
                  </a:cubicBezTo>
                  <a:cubicBezTo>
                    <a:pt x="77" y="135"/>
                    <a:pt x="76" y="135"/>
                    <a:pt x="74" y="135"/>
                  </a:cubicBezTo>
                  <a:cubicBezTo>
                    <a:pt x="74" y="135"/>
                    <a:pt x="74" y="135"/>
                    <a:pt x="74" y="135"/>
                  </a:cubicBezTo>
                  <a:cubicBezTo>
                    <a:pt x="73" y="142"/>
                    <a:pt x="73" y="142"/>
                    <a:pt x="73" y="142"/>
                  </a:cubicBezTo>
                  <a:cubicBezTo>
                    <a:pt x="72" y="142"/>
                    <a:pt x="71" y="142"/>
                    <a:pt x="70" y="142"/>
                  </a:cubicBezTo>
                  <a:close/>
                </a:path>
              </a:pathLst>
            </a:custGeom>
            <a:solidFill>
              <a:schemeClr val="accent3">
                <a:lumMod val="90000"/>
                <a:lumOff val="10000"/>
              </a:schemeClr>
            </a:solidFill>
            <a:ln>
              <a:noFill/>
            </a:ln>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cs typeface="Segoe UI" panose="020B0502040204020203" pitchFamily="34" charset="0"/>
              </a:endParaRPr>
            </a:p>
          </p:txBody>
        </p:sp>
        <p:sp>
          <p:nvSpPr>
            <p:cNvPr id="20" name="Freeform 7">
              <a:extLst>
                <a:ext uri="{FF2B5EF4-FFF2-40B4-BE49-F238E27FC236}">
                  <a16:creationId xmlns:a16="http://schemas.microsoft.com/office/drawing/2014/main" id="{A6FFF884-C87C-48C2-8596-355457A11C5C}"/>
                </a:ext>
              </a:extLst>
            </p:cNvPr>
            <p:cNvSpPr>
              <a:spLocks/>
            </p:cNvSpPr>
            <p:nvPr/>
          </p:nvSpPr>
          <p:spPr bwMode="auto">
            <a:xfrm>
              <a:off x="4040496" y="3052158"/>
              <a:ext cx="1051018" cy="1058385"/>
            </a:xfrm>
            <a:custGeom>
              <a:avLst/>
              <a:gdLst>
                <a:gd name="T0" fmla="*/ 66 w 141"/>
                <a:gd name="T1" fmla="*/ 135 h 142"/>
                <a:gd name="T2" fmla="*/ 54 w 141"/>
                <a:gd name="T3" fmla="*/ 140 h 142"/>
                <a:gd name="T4" fmla="*/ 49 w 141"/>
                <a:gd name="T5" fmla="*/ 132 h 142"/>
                <a:gd name="T6" fmla="*/ 42 w 141"/>
                <a:gd name="T7" fmla="*/ 129 h 142"/>
                <a:gd name="T8" fmla="*/ 29 w 141"/>
                <a:gd name="T9" fmla="*/ 128 h 142"/>
                <a:gd name="T10" fmla="*/ 28 w 141"/>
                <a:gd name="T11" fmla="*/ 119 h 142"/>
                <a:gd name="T12" fmla="*/ 22 w 141"/>
                <a:gd name="T13" fmla="*/ 114 h 142"/>
                <a:gd name="T14" fmla="*/ 10 w 141"/>
                <a:gd name="T15" fmla="*/ 108 h 142"/>
                <a:gd name="T16" fmla="*/ 12 w 141"/>
                <a:gd name="T17" fmla="*/ 99 h 142"/>
                <a:gd name="T18" fmla="*/ 10 w 141"/>
                <a:gd name="T19" fmla="*/ 92 h 142"/>
                <a:gd name="T20" fmla="*/ 1 w 141"/>
                <a:gd name="T21" fmla="*/ 82 h 142"/>
                <a:gd name="T22" fmla="*/ 6 w 141"/>
                <a:gd name="T23" fmla="*/ 75 h 142"/>
                <a:gd name="T24" fmla="*/ 6 w 141"/>
                <a:gd name="T25" fmla="*/ 67 h 142"/>
                <a:gd name="T26" fmla="*/ 1 w 141"/>
                <a:gd name="T27" fmla="*/ 60 h 142"/>
                <a:gd name="T28" fmla="*/ 10 w 141"/>
                <a:gd name="T29" fmla="*/ 50 h 142"/>
                <a:gd name="T30" fmla="*/ 12 w 141"/>
                <a:gd name="T31" fmla="*/ 43 h 142"/>
                <a:gd name="T32" fmla="*/ 10 w 141"/>
                <a:gd name="T33" fmla="*/ 34 h 142"/>
                <a:gd name="T34" fmla="*/ 22 w 141"/>
                <a:gd name="T35" fmla="*/ 29 h 142"/>
                <a:gd name="T36" fmla="*/ 28 w 141"/>
                <a:gd name="T37" fmla="*/ 23 h 142"/>
                <a:gd name="T38" fmla="*/ 29 w 141"/>
                <a:gd name="T39" fmla="*/ 14 h 142"/>
                <a:gd name="T40" fmla="*/ 42 w 141"/>
                <a:gd name="T41" fmla="*/ 13 h 142"/>
                <a:gd name="T42" fmla="*/ 49 w 141"/>
                <a:gd name="T43" fmla="*/ 10 h 142"/>
                <a:gd name="T44" fmla="*/ 54 w 141"/>
                <a:gd name="T45" fmla="*/ 2 h 142"/>
                <a:gd name="T46" fmla="*/ 66 w 141"/>
                <a:gd name="T47" fmla="*/ 7 h 142"/>
                <a:gd name="T48" fmla="*/ 73 w 141"/>
                <a:gd name="T49" fmla="*/ 0 h 142"/>
                <a:gd name="T50" fmla="*/ 79 w 141"/>
                <a:gd name="T51" fmla="*/ 7 h 142"/>
                <a:gd name="T52" fmla="*/ 87 w 141"/>
                <a:gd name="T53" fmla="*/ 9 h 142"/>
                <a:gd name="T54" fmla="*/ 100 w 141"/>
                <a:gd name="T55" fmla="*/ 7 h 142"/>
                <a:gd name="T56" fmla="*/ 103 w 141"/>
                <a:gd name="T57" fmla="*/ 16 h 142"/>
                <a:gd name="T58" fmla="*/ 109 w 141"/>
                <a:gd name="T59" fmla="*/ 20 h 142"/>
                <a:gd name="T60" fmla="*/ 122 w 141"/>
                <a:gd name="T61" fmla="*/ 23 h 142"/>
                <a:gd name="T62" fmla="*/ 122 w 141"/>
                <a:gd name="T63" fmla="*/ 32 h 142"/>
                <a:gd name="T64" fmla="*/ 126 w 141"/>
                <a:gd name="T65" fmla="*/ 39 h 142"/>
                <a:gd name="T66" fmla="*/ 137 w 141"/>
                <a:gd name="T67" fmla="*/ 47 h 142"/>
                <a:gd name="T68" fmla="*/ 133 w 141"/>
                <a:gd name="T69" fmla="*/ 55 h 142"/>
                <a:gd name="T70" fmla="*/ 134 w 141"/>
                <a:gd name="T71" fmla="*/ 62 h 142"/>
                <a:gd name="T72" fmla="*/ 141 w 141"/>
                <a:gd name="T73" fmla="*/ 71 h 142"/>
                <a:gd name="T74" fmla="*/ 134 w 141"/>
                <a:gd name="T75" fmla="*/ 80 h 142"/>
                <a:gd name="T76" fmla="*/ 133 w 141"/>
                <a:gd name="T77" fmla="*/ 87 h 142"/>
                <a:gd name="T78" fmla="*/ 137 w 141"/>
                <a:gd name="T79" fmla="*/ 95 h 142"/>
                <a:gd name="T80" fmla="*/ 126 w 141"/>
                <a:gd name="T81" fmla="*/ 103 h 142"/>
                <a:gd name="T82" fmla="*/ 122 w 141"/>
                <a:gd name="T83" fmla="*/ 110 h 142"/>
                <a:gd name="T84" fmla="*/ 122 w 141"/>
                <a:gd name="T85" fmla="*/ 119 h 142"/>
                <a:gd name="T86" fmla="*/ 109 w 141"/>
                <a:gd name="T87" fmla="*/ 122 h 142"/>
                <a:gd name="T88" fmla="*/ 103 w 141"/>
                <a:gd name="T89" fmla="*/ 126 h 142"/>
                <a:gd name="T90" fmla="*/ 100 w 141"/>
                <a:gd name="T91" fmla="*/ 135 h 142"/>
                <a:gd name="T92" fmla="*/ 87 w 141"/>
                <a:gd name="T93" fmla="*/ 133 h 142"/>
                <a:gd name="T94" fmla="*/ 79 w 141"/>
                <a:gd name="T95" fmla="*/ 135 h 142"/>
                <a:gd name="T96" fmla="*/ 73 w 141"/>
                <a:gd name="T9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 h="142">
                  <a:moveTo>
                    <a:pt x="70" y="142"/>
                  </a:moveTo>
                  <a:cubicBezTo>
                    <a:pt x="69" y="142"/>
                    <a:pt x="68" y="142"/>
                    <a:pt x="67" y="142"/>
                  </a:cubicBezTo>
                  <a:cubicBezTo>
                    <a:pt x="67" y="135"/>
                    <a:pt x="67" y="135"/>
                    <a:pt x="67" y="135"/>
                  </a:cubicBezTo>
                  <a:cubicBezTo>
                    <a:pt x="66" y="135"/>
                    <a:pt x="66" y="135"/>
                    <a:pt x="66" y="135"/>
                  </a:cubicBezTo>
                  <a:cubicBezTo>
                    <a:pt x="65" y="135"/>
                    <a:pt x="63" y="135"/>
                    <a:pt x="62" y="135"/>
                  </a:cubicBezTo>
                  <a:cubicBezTo>
                    <a:pt x="61" y="135"/>
                    <a:pt x="61" y="135"/>
                    <a:pt x="61" y="135"/>
                  </a:cubicBezTo>
                  <a:cubicBezTo>
                    <a:pt x="60" y="141"/>
                    <a:pt x="60" y="141"/>
                    <a:pt x="60" y="141"/>
                  </a:cubicBezTo>
                  <a:cubicBezTo>
                    <a:pt x="58" y="141"/>
                    <a:pt x="56" y="140"/>
                    <a:pt x="54" y="140"/>
                  </a:cubicBezTo>
                  <a:cubicBezTo>
                    <a:pt x="54" y="133"/>
                    <a:pt x="54" y="133"/>
                    <a:pt x="54" y="133"/>
                  </a:cubicBezTo>
                  <a:cubicBezTo>
                    <a:pt x="54" y="133"/>
                    <a:pt x="54" y="133"/>
                    <a:pt x="54" y="133"/>
                  </a:cubicBezTo>
                  <a:cubicBezTo>
                    <a:pt x="52" y="133"/>
                    <a:pt x="51" y="132"/>
                    <a:pt x="50" y="132"/>
                  </a:cubicBezTo>
                  <a:cubicBezTo>
                    <a:pt x="49" y="132"/>
                    <a:pt x="49" y="132"/>
                    <a:pt x="49" y="132"/>
                  </a:cubicBezTo>
                  <a:cubicBezTo>
                    <a:pt x="46" y="137"/>
                    <a:pt x="46" y="137"/>
                    <a:pt x="46" y="137"/>
                  </a:cubicBezTo>
                  <a:cubicBezTo>
                    <a:pt x="44" y="137"/>
                    <a:pt x="42" y="136"/>
                    <a:pt x="41" y="135"/>
                  </a:cubicBezTo>
                  <a:cubicBezTo>
                    <a:pt x="42" y="129"/>
                    <a:pt x="42" y="129"/>
                    <a:pt x="42" y="129"/>
                  </a:cubicBezTo>
                  <a:cubicBezTo>
                    <a:pt x="42" y="129"/>
                    <a:pt x="42" y="129"/>
                    <a:pt x="42" y="129"/>
                  </a:cubicBezTo>
                  <a:cubicBezTo>
                    <a:pt x="41" y="128"/>
                    <a:pt x="39" y="127"/>
                    <a:pt x="38" y="127"/>
                  </a:cubicBezTo>
                  <a:cubicBezTo>
                    <a:pt x="38" y="126"/>
                    <a:pt x="38" y="126"/>
                    <a:pt x="38" y="126"/>
                  </a:cubicBezTo>
                  <a:cubicBezTo>
                    <a:pt x="34" y="131"/>
                    <a:pt x="34" y="131"/>
                    <a:pt x="34" y="131"/>
                  </a:cubicBezTo>
                  <a:cubicBezTo>
                    <a:pt x="32" y="130"/>
                    <a:pt x="30" y="129"/>
                    <a:pt x="29" y="128"/>
                  </a:cubicBezTo>
                  <a:cubicBezTo>
                    <a:pt x="32" y="122"/>
                    <a:pt x="32" y="122"/>
                    <a:pt x="32" y="122"/>
                  </a:cubicBezTo>
                  <a:cubicBezTo>
                    <a:pt x="31" y="122"/>
                    <a:pt x="31" y="122"/>
                    <a:pt x="31" y="122"/>
                  </a:cubicBezTo>
                  <a:cubicBezTo>
                    <a:pt x="30" y="121"/>
                    <a:pt x="29" y="120"/>
                    <a:pt x="28" y="119"/>
                  </a:cubicBezTo>
                  <a:cubicBezTo>
                    <a:pt x="28" y="119"/>
                    <a:pt x="28" y="119"/>
                    <a:pt x="28" y="119"/>
                  </a:cubicBezTo>
                  <a:cubicBezTo>
                    <a:pt x="23" y="123"/>
                    <a:pt x="23" y="123"/>
                    <a:pt x="23" y="123"/>
                  </a:cubicBezTo>
                  <a:cubicBezTo>
                    <a:pt x="21" y="122"/>
                    <a:pt x="20" y="120"/>
                    <a:pt x="18" y="119"/>
                  </a:cubicBezTo>
                  <a:cubicBezTo>
                    <a:pt x="22" y="114"/>
                    <a:pt x="22" y="114"/>
                    <a:pt x="22" y="114"/>
                  </a:cubicBezTo>
                  <a:cubicBezTo>
                    <a:pt x="22" y="114"/>
                    <a:pt x="22" y="114"/>
                    <a:pt x="22" y="114"/>
                  </a:cubicBezTo>
                  <a:cubicBezTo>
                    <a:pt x="21" y="112"/>
                    <a:pt x="20" y="111"/>
                    <a:pt x="19" y="110"/>
                  </a:cubicBezTo>
                  <a:cubicBezTo>
                    <a:pt x="19" y="110"/>
                    <a:pt x="19" y="110"/>
                    <a:pt x="19" y="110"/>
                  </a:cubicBezTo>
                  <a:cubicBezTo>
                    <a:pt x="13" y="113"/>
                    <a:pt x="13" y="113"/>
                    <a:pt x="13" y="113"/>
                  </a:cubicBezTo>
                  <a:cubicBezTo>
                    <a:pt x="12" y="111"/>
                    <a:pt x="11" y="109"/>
                    <a:pt x="10" y="108"/>
                  </a:cubicBezTo>
                  <a:cubicBezTo>
                    <a:pt x="15" y="104"/>
                    <a:pt x="15" y="104"/>
                    <a:pt x="15" y="104"/>
                  </a:cubicBezTo>
                  <a:cubicBezTo>
                    <a:pt x="15" y="103"/>
                    <a:pt x="15" y="103"/>
                    <a:pt x="15" y="103"/>
                  </a:cubicBezTo>
                  <a:cubicBezTo>
                    <a:pt x="14" y="102"/>
                    <a:pt x="13" y="101"/>
                    <a:pt x="13" y="99"/>
                  </a:cubicBezTo>
                  <a:cubicBezTo>
                    <a:pt x="12" y="99"/>
                    <a:pt x="12" y="99"/>
                    <a:pt x="12" y="99"/>
                  </a:cubicBezTo>
                  <a:cubicBezTo>
                    <a:pt x="6" y="101"/>
                    <a:pt x="6" y="101"/>
                    <a:pt x="6" y="101"/>
                  </a:cubicBezTo>
                  <a:cubicBezTo>
                    <a:pt x="5" y="99"/>
                    <a:pt x="5" y="97"/>
                    <a:pt x="4" y="95"/>
                  </a:cubicBezTo>
                  <a:cubicBezTo>
                    <a:pt x="10" y="92"/>
                    <a:pt x="10" y="92"/>
                    <a:pt x="10" y="92"/>
                  </a:cubicBezTo>
                  <a:cubicBezTo>
                    <a:pt x="10" y="92"/>
                    <a:pt x="10" y="92"/>
                    <a:pt x="10" y="92"/>
                  </a:cubicBezTo>
                  <a:cubicBezTo>
                    <a:pt x="9" y="90"/>
                    <a:pt x="9" y="89"/>
                    <a:pt x="8" y="88"/>
                  </a:cubicBezTo>
                  <a:cubicBezTo>
                    <a:pt x="8" y="87"/>
                    <a:pt x="8" y="87"/>
                    <a:pt x="8" y="87"/>
                  </a:cubicBezTo>
                  <a:cubicBezTo>
                    <a:pt x="2" y="88"/>
                    <a:pt x="2" y="88"/>
                    <a:pt x="2" y="88"/>
                  </a:cubicBezTo>
                  <a:cubicBezTo>
                    <a:pt x="1" y="86"/>
                    <a:pt x="1" y="84"/>
                    <a:pt x="1" y="82"/>
                  </a:cubicBezTo>
                  <a:cubicBezTo>
                    <a:pt x="7" y="80"/>
                    <a:pt x="7" y="80"/>
                    <a:pt x="7" y="80"/>
                  </a:cubicBezTo>
                  <a:cubicBezTo>
                    <a:pt x="7" y="80"/>
                    <a:pt x="7" y="80"/>
                    <a:pt x="7" y="80"/>
                  </a:cubicBezTo>
                  <a:cubicBezTo>
                    <a:pt x="6" y="78"/>
                    <a:pt x="6" y="77"/>
                    <a:pt x="6" y="75"/>
                  </a:cubicBezTo>
                  <a:cubicBezTo>
                    <a:pt x="6" y="75"/>
                    <a:pt x="6" y="75"/>
                    <a:pt x="6" y="75"/>
                  </a:cubicBezTo>
                  <a:cubicBezTo>
                    <a:pt x="0" y="74"/>
                    <a:pt x="0" y="74"/>
                    <a:pt x="0" y="74"/>
                  </a:cubicBezTo>
                  <a:cubicBezTo>
                    <a:pt x="0" y="73"/>
                    <a:pt x="0" y="72"/>
                    <a:pt x="0" y="71"/>
                  </a:cubicBezTo>
                  <a:cubicBezTo>
                    <a:pt x="0" y="70"/>
                    <a:pt x="0" y="69"/>
                    <a:pt x="0" y="68"/>
                  </a:cubicBezTo>
                  <a:cubicBezTo>
                    <a:pt x="6" y="67"/>
                    <a:pt x="6" y="67"/>
                    <a:pt x="6" y="67"/>
                  </a:cubicBezTo>
                  <a:cubicBezTo>
                    <a:pt x="6" y="67"/>
                    <a:pt x="6" y="67"/>
                    <a:pt x="6" y="67"/>
                  </a:cubicBezTo>
                  <a:cubicBezTo>
                    <a:pt x="6" y="65"/>
                    <a:pt x="6" y="64"/>
                    <a:pt x="7" y="62"/>
                  </a:cubicBezTo>
                  <a:cubicBezTo>
                    <a:pt x="7" y="62"/>
                    <a:pt x="7" y="62"/>
                    <a:pt x="7" y="62"/>
                  </a:cubicBezTo>
                  <a:cubicBezTo>
                    <a:pt x="1" y="60"/>
                    <a:pt x="1" y="60"/>
                    <a:pt x="1" y="60"/>
                  </a:cubicBezTo>
                  <a:cubicBezTo>
                    <a:pt x="1" y="58"/>
                    <a:pt x="1" y="56"/>
                    <a:pt x="2" y="54"/>
                  </a:cubicBezTo>
                  <a:cubicBezTo>
                    <a:pt x="8" y="55"/>
                    <a:pt x="8" y="55"/>
                    <a:pt x="8" y="55"/>
                  </a:cubicBezTo>
                  <a:cubicBezTo>
                    <a:pt x="8" y="54"/>
                    <a:pt x="8" y="54"/>
                    <a:pt x="8" y="54"/>
                  </a:cubicBezTo>
                  <a:cubicBezTo>
                    <a:pt x="9" y="53"/>
                    <a:pt x="9" y="52"/>
                    <a:pt x="10" y="50"/>
                  </a:cubicBezTo>
                  <a:cubicBezTo>
                    <a:pt x="10" y="50"/>
                    <a:pt x="10" y="50"/>
                    <a:pt x="10" y="50"/>
                  </a:cubicBezTo>
                  <a:cubicBezTo>
                    <a:pt x="4" y="47"/>
                    <a:pt x="4" y="47"/>
                    <a:pt x="4" y="47"/>
                  </a:cubicBezTo>
                  <a:cubicBezTo>
                    <a:pt x="5" y="45"/>
                    <a:pt x="5" y="43"/>
                    <a:pt x="6" y="41"/>
                  </a:cubicBezTo>
                  <a:cubicBezTo>
                    <a:pt x="12" y="43"/>
                    <a:pt x="12" y="43"/>
                    <a:pt x="12" y="43"/>
                  </a:cubicBezTo>
                  <a:cubicBezTo>
                    <a:pt x="13" y="43"/>
                    <a:pt x="13" y="43"/>
                    <a:pt x="13" y="43"/>
                  </a:cubicBezTo>
                  <a:cubicBezTo>
                    <a:pt x="13" y="41"/>
                    <a:pt x="14" y="40"/>
                    <a:pt x="15" y="39"/>
                  </a:cubicBezTo>
                  <a:cubicBezTo>
                    <a:pt x="15" y="38"/>
                    <a:pt x="15" y="38"/>
                    <a:pt x="15" y="38"/>
                  </a:cubicBezTo>
                  <a:cubicBezTo>
                    <a:pt x="10" y="34"/>
                    <a:pt x="10" y="34"/>
                    <a:pt x="10" y="34"/>
                  </a:cubicBezTo>
                  <a:cubicBezTo>
                    <a:pt x="11" y="33"/>
                    <a:pt x="12" y="31"/>
                    <a:pt x="13" y="29"/>
                  </a:cubicBezTo>
                  <a:cubicBezTo>
                    <a:pt x="19" y="32"/>
                    <a:pt x="19" y="32"/>
                    <a:pt x="19" y="32"/>
                  </a:cubicBezTo>
                  <a:cubicBezTo>
                    <a:pt x="19" y="32"/>
                    <a:pt x="19" y="32"/>
                    <a:pt x="19" y="32"/>
                  </a:cubicBezTo>
                  <a:cubicBezTo>
                    <a:pt x="20" y="31"/>
                    <a:pt x="21" y="30"/>
                    <a:pt x="22" y="29"/>
                  </a:cubicBezTo>
                  <a:cubicBezTo>
                    <a:pt x="22" y="28"/>
                    <a:pt x="22" y="28"/>
                    <a:pt x="22" y="28"/>
                  </a:cubicBezTo>
                  <a:cubicBezTo>
                    <a:pt x="18" y="23"/>
                    <a:pt x="18" y="23"/>
                    <a:pt x="18" y="23"/>
                  </a:cubicBezTo>
                  <a:cubicBezTo>
                    <a:pt x="20" y="22"/>
                    <a:pt x="21" y="20"/>
                    <a:pt x="23" y="19"/>
                  </a:cubicBezTo>
                  <a:cubicBezTo>
                    <a:pt x="28" y="23"/>
                    <a:pt x="28" y="23"/>
                    <a:pt x="28" y="23"/>
                  </a:cubicBezTo>
                  <a:cubicBezTo>
                    <a:pt x="28" y="23"/>
                    <a:pt x="28" y="23"/>
                    <a:pt x="28" y="23"/>
                  </a:cubicBezTo>
                  <a:cubicBezTo>
                    <a:pt x="29" y="22"/>
                    <a:pt x="30" y="21"/>
                    <a:pt x="31" y="20"/>
                  </a:cubicBezTo>
                  <a:cubicBezTo>
                    <a:pt x="32" y="20"/>
                    <a:pt x="32" y="20"/>
                    <a:pt x="32" y="20"/>
                  </a:cubicBezTo>
                  <a:cubicBezTo>
                    <a:pt x="29" y="14"/>
                    <a:pt x="29" y="14"/>
                    <a:pt x="29" y="14"/>
                  </a:cubicBezTo>
                  <a:cubicBezTo>
                    <a:pt x="30" y="13"/>
                    <a:pt x="32" y="12"/>
                    <a:pt x="34" y="11"/>
                  </a:cubicBezTo>
                  <a:cubicBezTo>
                    <a:pt x="38" y="16"/>
                    <a:pt x="38" y="16"/>
                    <a:pt x="38" y="16"/>
                  </a:cubicBezTo>
                  <a:cubicBezTo>
                    <a:pt x="38" y="15"/>
                    <a:pt x="38" y="15"/>
                    <a:pt x="38" y="15"/>
                  </a:cubicBezTo>
                  <a:cubicBezTo>
                    <a:pt x="39" y="15"/>
                    <a:pt x="41" y="14"/>
                    <a:pt x="42" y="13"/>
                  </a:cubicBezTo>
                  <a:cubicBezTo>
                    <a:pt x="42" y="13"/>
                    <a:pt x="42" y="13"/>
                    <a:pt x="42" y="13"/>
                  </a:cubicBezTo>
                  <a:cubicBezTo>
                    <a:pt x="41" y="7"/>
                    <a:pt x="41" y="7"/>
                    <a:pt x="41" y="7"/>
                  </a:cubicBezTo>
                  <a:cubicBezTo>
                    <a:pt x="42" y="6"/>
                    <a:pt x="44" y="5"/>
                    <a:pt x="46" y="5"/>
                  </a:cubicBezTo>
                  <a:cubicBezTo>
                    <a:pt x="49" y="10"/>
                    <a:pt x="49" y="10"/>
                    <a:pt x="49" y="10"/>
                  </a:cubicBezTo>
                  <a:cubicBezTo>
                    <a:pt x="50" y="10"/>
                    <a:pt x="50" y="10"/>
                    <a:pt x="50" y="10"/>
                  </a:cubicBezTo>
                  <a:cubicBezTo>
                    <a:pt x="51" y="10"/>
                    <a:pt x="52" y="9"/>
                    <a:pt x="54" y="9"/>
                  </a:cubicBezTo>
                  <a:cubicBezTo>
                    <a:pt x="54" y="9"/>
                    <a:pt x="54" y="9"/>
                    <a:pt x="54" y="9"/>
                  </a:cubicBezTo>
                  <a:cubicBezTo>
                    <a:pt x="54" y="2"/>
                    <a:pt x="54" y="2"/>
                    <a:pt x="54" y="2"/>
                  </a:cubicBezTo>
                  <a:cubicBezTo>
                    <a:pt x="56" y="2"/>
                    <a:pt x="58" y="1"/>
                    <a:pt x="60" y="1"/>
                  </a:cubicBezTo>
                  <a:cubicBezTo>
                    <a:pt x="61" y="7"/>
                    <a:pt x="61" y="7"/>
                    <a:pt x="61" y="7"/>
                  </a:cubicBezTo>
                  <a:cubicBezTo>
                    <a:pt x="62" y="7"/>
                    <a:pt x="62" y="7"/>
                    <a:pt x="62" y="7"/>
                  </a:cubicBezTo>
                  <a:cubicBezTo>
                    <a:pt x="63" y="7"/>
                    <a:pt x="65" y="7"/>
                    <a:pt x="66" y="7"/>
                  </a:cubicBezTo>
                  <a:cubicBezTo>
                    <a:pt x="67" y="7"/>
                    <a:pt x="67" y="7"/>
                    <a:pt x="67" y="7"/>
                  </a:cubicBezTo>
                  <a:cubicBezTo>
                    <a:pt x="67" y="0"/>
                    <a:pt x="67" y="0"/>
                    <a:pt x="67" y="0"/>
                  </a:cubicBezTo>
                  <a:cubicBezTo>
                    <a:pt x="68" y="0"/>
                    <a:pt x="69" y="0"/>
                    <a:pt x="70" y="0"/>
                  </a:cubicBezTo>
                  <a:cubicBezTo>
                    <a:pt x="71" y="0"/>
                    <a:pt x="72" y="0"/>
                    <a:pt x="73" y="0"/>
                  </a:cubicBezTo>
                  <a:cubicBezTo>
                    <a:pt x="74" y="7"/>
                    <a:pt x="74" y="7"/>
                    <a:pt x="74" y="7"/>
                  </a:cubicBezTo>
                  <a:cubicBezTo>
                    <a:pt x="74" y="7"/>
                    <a:pt x="74" y="7"/>
                    <a:pt x="74" y="7"/>
                  </a:cubicBezTo>
                  <a:cubicBezTo>
                    <a:pt x="76" y="7"/>
                    <a:pt x="77" y="7"/>
                    <a:pt x="79" y="7"/>
                  </a:cubicBezTo>
                  <a:cubicBezTo>
                    <a:pt x="79" y="7"/>
                    <a:pt x="79" y="7"/>
                    <a:pt x="79" y="7"/>
                  </a:cubicBezTo>
                  <a:cubicBezTo>
                    <a:pt x="81" y="1"/>
                    <a:pt x="81" y="1"/>
                    <a:pt x="81" y="1"/>
                  </a:cubicBezTo>
                  <a:cubicBezTo>
                    <a:pt x="83" y="1"/>
                    <a:pt x="85" y="2"/>
                    <a:pt x="87" y="2"/>
                  </a:cubicBezTo>
                  <a:cubicBezTo>
                    <a:pt x="87" y="9"/>
                    <a:pt x="87" y="9"/>
                    <a:pt x="87" y="9"/>
                  </a:cubicBezTo>
                  <a:cubicBezTo>
                    <a:pt x="87" y="9"/>
                    <a:pt x="87" y="9"/>
                    <a:pt x="87" y="9"/>
                  </a:cubicBezTo>
                  <a:cubicBezTo>
                    <a:pt x="88" y="9"/>
                    <a:pt x="90" y="10"/>
                    <a:pt x="91" y="10"/>
                  </a:cubicBezTo>
                  <a:cubicBezTo>
                    <a:pt x="92" y="10"/>
                    <a:pt x="92" y="10"/>
                    <a:pt x="92" y="10"/>
                  </a:cubicBezTo>
                  <a:cubicBezTo>
                    <a:pt x="95" y="5"/>
                    <a:pt x="95" y="5"/>
                    <a:pt x="95" y="5"/>
                  </a:cubicBezTo>
                  <a:cubicBezTo>
                    <a:pt x="96" y="5"/>
                    <a:pt x="98" y="6"/>
                    <a:pt x="100" y="7"/>
                  </a:cubicBezTo>
                  <a:cubicBezTo>
                    <a:pt x="98" y="13"/>
                    <a:pt x="98" y="13"/>
                    <a:pt x="98" y="13"/>
                  </a:cubicBezTo>
                  <a:cubicBezTo>
                    <a:pt x="99" y="13"/>
                    <a:pt x="99" y="13"/>
                    <a:pt x="99" y="13"/>
                  </a:cubicBezTo>
                  <a:cubicBezTo>
                    <a:pt x="100" y="14"/>
                    <a:pt x="101" y="15"/>
                    <a:pt x="103" y="15"/>
                  </a:cubicBezTo>
                  <a:cubicBezTo>
                    <a:pt x="103" y="16"/>
                    <a:pt x="103" y="16"/>
                    <a:pt x="103" y="16"/>
                  </a:cubicBezTo>
                  <a:cubicBezTo>
                    <a:pt x="107" y="11"/>
                    <a:pt x="107" y="11"/>
                    <a:pt x="107" y="11"/>
                  </a:cubicBezTo>
                  <a:cubicBezTo>
                    <a:pt x="109" y="12"/>
                    <a:pt x="111" y="13"/>
                    <a:pt x="112" y="14"/>
                  </a:cubicBezTo>
                  <a:cubicBezTo>
                    <a:pt x="109" y="20"/>
                    <a:pt x="109" y="20"/>
                    <a:pt x="109" y="20"/>
                  </a:cubicBezTo>
                  <a:cubicBezTo>
                    <a:pt x="109" y="20"/>
                    <a:pt x="109" y="20"/>
                    <a:pt x="109" y="20"/>
                  </a:cubicBezTo>
                  <a:cubicBezTo>
                    <a:pt x="111" y="21"/>
                    <a:pt x="112" y="22"/>
                    <a:pt x="113" y="23"/>
                  </a:cubicBezTo>
                  <a:cubicBezTo>
                    <a:pt x="113" y="23"/>
                    <a:pt x="113" y="23"/>
                    <a:pt x="113" y="23"/>
                  </a:cubicBezTo>
                  <a:cubicBezTo>
                    <a:pt x="118" y="19"/>
                    <a:pt x="118" y="19"/>
                    <a:pt x="118" y="19"/>
                  </a:cubicBezTo>
                  <a:cubicBezTo>
                    <a:pt x="120" y="20"/>
                    <a:pt x="121" y="22"/>
                    <a:pt x="122" y="23"/>
                  </a:cubicBezTo>
                  <a:cubicBezTo>
                    <a:pt x="118" y="28"/>
                    <a:pt x="118" y="28"/>
                    <a:pt x="118" y="28"/>
                  </a:cubicBezTo>
                  <a:cubicBezTo>
                    <a:pt x="119" y="29"/>
                    <a:pt x="119" y="29"/>
                    <a:pt x="119" y="29"/>
                  </a:cubicBezTo>
                  <a:cubicBezTo>
                    <a:pt x="120" y="30"/>
                    <a:pt x="121" y="31"/>
                    <a:pt x="121" y="32"/>
                  </a:cubicBezTo>
                  <a:cubicBezTo>
                    <a:pt x="122" y="32"/>
                    <a:pt x="122" y="32"/>
                    <a:pt x="122" y="32"/>
                  </a:cubicBezTo>
                  <a:cubicBezTo>
                    <a:pt x="127" y="29"/>
                    <a:pt x="127" y="29"/>
                    <a:pt x="127" y="29"/>
                  </a:cubicBezTo>
                  <a:cubicBezTo>
                    <a:pt x="129" y="31"/>
                    <a:pt x="130" y="33"/>
                    <a:pt x="131" y="34"/>
                  </a:cubicBezTo>
                  <a:cubicBezTo>
                    <a:pt x="126" y="38"/>
                    <a:pt x="126" y="38"/>
                    <a:pt x="126" y="38"/>
                  </a:cubicBezTo>
                  <a:cubicBezTo>
                    <a:pt x="126" y="39"/>
                    <a:pt x="126" y="39"/>
                    <a:pt x="126" y="39"/>
                  </a:cubicBezTo>
                  <a:cubicBezTo>
                    <a:pt x="127" y="40"/>
                    <a:pt x="128" y="41"/>
                    <a:pt x="128" y="43"/>
                  </a:cubicBezTo>
                  <a:cubicBezTo>
                    <a:pt x="128" y="43"/>
                    <a:pt x="128" y="43"/>
                    <a:pt x="128" y="43"/>
                  </a:cubicBezTo>
                  <a:cubicBezTo>
                    <a:pt x="134" y="41"/>
                    <a:pt x="134" y="41"/>
                    <a:pt x="134" y="41"/>
                  </a:cubicBezTo>
                  <a:cubicBezTo>
                    <a:pt x="135" y="43"/>
                    <a:pt x="136" y="45"/>
                    <a:pt x="137" y="47"/>
                  </a:cubicBezTo>
                  <a:cubicBezTo>
                    <a:pt x="131" y="50"/>
                    <a:pt x="131" y="50"/>
                    <a:pt x="131" y="50"/>
                  </a:cubicBezTo>
                  <a:cubicBezTo>
                    <a:pt x="131" y="50"/>
                    <a:pt x="131" y="50"/>
                    <a:pt x="131" y="50"/>
                  </a:cubicBezTo>
                  <a:cubicBezTo>
                    <a:pt x="132" y="52"/>
                    <a:pt x="132" y="53"/>
                    <a:pt x="133" y="54"/>
                  </a:cubicBezTo>
                  <a:cubicBezTo>
                    <a:pt x="133" y="55"/>
                    <a:pt x="133" y="55"/>
                    <a:pt x="133" y="55"/>
                  </a:cubicBezTo>
                  <a:cubicBezTo>
                    <a:pt x="139" y="54"/>
                    <a:pt x="139" y="54"/>
                    <a:pt x="139" y="54"/>
                  </a:cubicBezTo>
                  <a:cubicBezTo>
                    <a:pt x="140" y="56"/>
                    <a:pt x="140" y="58"/>
                    <a:pt x="140" y="60"/>
                  </a:cubicBezTo>
                  <a:cubicBezTo>
                    <a:pt x="134" y="62"/>
                    <a:pt x="134" y="62"/>
                    <a:pt x="134" y="62"/>
                  </a:cubicBezTo>
                  <a:cubicBezTo>
                    <a:pt x="134" y="62"/>
                    <a:pt x="134" y="62"/>
                    <a:pt x="134" y="62"/>
                  </a:cubicBezTo>
                  <a:cubicBezTo>
                    <a:pt x="134" y="64"/>
                    <a:pt x="134" y="65"/>
                    <a:pt x="135" y="67"/>
                  </a:cubicBezTo>
                  <a:cubicBezTo>
                    <a:pt x="135" y="67"/>
                    <a:pt x="135" y="67"/>
                    <a:pt x="135" y="67"/>
                  </a:cubicBezTo>
                  <a:cubicBezTo>
                    <a:pt x="141" y="68"/>
                    <a:pt x="141" y="68"/>
                    <a:pt x="141" y="68"/>
                  </a:cubicBezTo>
                  <a:cubicBezTo>
                    <a:pt x="141" y="69"/>
                    <a:pt x="141" y="70"/>
                    <a:pt x="141" y="71"/>
                  </a:cubicBezTo>
                  <a:cubicBezTo>
                    <a:pt x="141" y="72"/>
                    <a:pt x="141" y="73"/>
                    <a:pt x="141" y="74"/>
                  </a:cubicBezTo>
                  <a:cubicBezTo>
                    <a:pt x="135" y="75"/>
                    <a:pt x="135" y="75"/>
                    <a:pt x="135" y="75"/>
                  </a:cubicBezTo>
                  <a:cubicBezTo>
                    <a:pt x="135" y="75"/>
                    <a:pt x="135" y="75"/>
                    <a:pt x="135" y="75"/>
                  </a:cubicBezTo>
                  <a:cubicBezTo>
                    <a:pt x="134" y="77"/>
                    <a:pt x="134" y="78"/>
                    <a:pt x="134" y="80"/>
                  </a:cubicBezTo>
                  <a:cubicBezTo>
                    <a:pt x="134" y="80"/>
                    <a:pt x="134" y="80"/>
                    <a:pt x="134" y="80"/>
                  </a:cubicBezTo>
                  <a:cubicBezTo>
                    <a:pt x="140" y="82"/>
                    <a:pt x="140" y="82"/>
                    <a:pt x="140" y="82"/>
                  </a:cubicBezTo>
                  <a:cubicBezTo>
                    <a:pt x="140" y="84"/>
                    <a:pt x="140" y="86"/>
                    <a:pt x="139" y="88"/>
                  </a:cubicBezTo>
                  <a:cubicBezTo>
                    <a:pt x="133" y="87"/>
                    <a:pt x="133" y="87"/>
                    <a:pt x="133" y="87"/>
                  </a:cubicBezTo>
                  <a:cubicBezTo>
                    <a:pt x="133" y="88"/>
                    <a:pt x="133" y="88"/>
                    <a:pt x="133" y="88"/>
                  </a:cubicBezTo>
                  <a:cubicBezTo>
                    <a:pt x="132" y="89"/>
                    <a:pt x="132" y="90"/>
                    <a:pt x="131" y="92"/>
                  </a:cubicBezTo>
                  <a:cubicBezTo>
                    <a:pt x="131" y="92"/>
                    <a:pt x="131" y="92"/>
                    <a:pt x="131" y="92"/>
                  </a:cubicBezTo>
                  <a:cubicBezTo>
                    <a:pt x="137" y="95"/>
                    <a:pt x="137" y="95"/>
                    <a:pt x="137" y="95"/>
                  </a:cubicBezTo>
                  <a:cubicBezTo>
                    <a:pt x="136" y="97"/>
                    <a:pt x="135" y="99"/>
                    <a:pt x="134" y="101"/>
                  </a:cubicBezTo>
                  <a:cubicBezTo>
                    <a:pt x="128" y="99"/>
                    <a:pt x="128" y="99"/>
                    <a:pt x="128" y="99"/>
                  </a:cubicBezTo>
                  <a:cubicBezTo>
                    <a:pt x="128" y="99"/>
                    <a:pt x="128" y="99"/>
                    <a:pt x="128" y="99"/>
                  </a:cubicBezTo>
                  <a:cubicBezTo>
                    <a:pt x="128" y="101"/>
                    <a:pt x="127" y="102"/>
                    <a:pt x="126" y="103"/>
                  </a:cubicBezTo>
                  <a:cubicBezTo>
                    <a:pt x="126" y="104"/>
                    <a:pt x="126" y="104"/>
                    <a:pt x="126" y="104"/>
                  </a:cubicBezTo>
                  <a:cubicBezTo>
                    <a:pt x="131" y="108"/>
                    <a:pt x="131" y="108"/>
                    <a:pt x="131" y="108"/>
                  </a:cubicBezTo>
                  <a:cubicBezTo>
                    <a:pt x="130" y="109"/>
                    <a:pt x="129" y="111"/>
                    <a:pt x="127" y="113"/>
                  </a:cubicBezTo>
                  <a:cubicBezTo>
                    <a:pt x="122" y="110"/>
                    <a:pt x="122" y="110"/>
                    <a:pt x="122" y="110"/>
                  </a:cubicBezTo>
                  <a:cubicBezTo>
                    <a:pt x="121" y="110"/>
                    <a:pt x="121" y="110"/>
                    <a:pt x="121" y="110"/>
                  </a:cubicBezTo>
                  <a:cubicBezTo>
                    <a:pt x="121" y="111"/>
                    <a:pt x="120" y="112"/>
                    <a:pt x="119" y="114"/>
                  </a:cubicBezTo>
                  <a:cubicBezTo>
                    <a:pt x="118" y="114"/>
                    <a:pt x="118" y="114"/>
                    <a:pt x="118" y="114"/>
                  </a:cubicBezTo>
                  <a:cubicBezTo>
                    <a:pt x="122" y="119"/>
                    <a:pt x="122" y="119"/>
                    <a:pt x="122" y="119"/>
                  </a:cubicBezTo>
                  <a:cubicBezTo>
                    <a:pt x="121" y="120"/>
                    <a:pt x="120" y="122"/>
                    <a:pt x="118" y="123"/>
                  </a:cubicBezTo>
                  <a:cubicBezTo>
                    <a:pt x="113" y="119"/>
                    <a:pt x="113" y="119"/>
                    <a:pt x="113" y="119"/>
                  </a:cubicBezTo>
                  <a:cubicBezTo>
                    <a:pt x="113" y="119"/>
                    <a:pt x="113" y="119"/>
                    <a:pt x="113" y="119"/>
                  </a:cubicBezTo>
                  <a:cubicBezTo>
                    <a:pt x="112" y="120"/>
                    <a:pt x="111" y="121"/>
                    <a:pt x="109" y="122"/>
                  </a:cubicBezTo>
                  <a:cubicBezTo>
                    <a:pt x="109" y="122"/>
                    <a:pt x="109" y="122"/>
                    <a:pt x="109" y="122"/>
                  </a:cubicBezTo>
                  <a:cubicBezTo>
                    <a:pt x="112" y="128"/>
                    <a:pt x="112" y="128"/>
                    <a:pt x="112" y="128"/>
                  </a:cubicBezTo>
                  <a:cubicBezTo>
                    <a:pt x="111" y="129"/>
                    <a:pt x="109" y="130"/>
                    <a:pt x="107" y="131"/>
                  </a:cubicBezTo>
                  <a:cubicBezTo>
                    <a:pt x="103" y="126"/>
                    <a:pt x="103" y="126"/>
                    <a:pt x="103" y="126"/>
                  </a:cubicBezTo>
                  <a:cubicBezTo>
                    <a:pt x="103" y="127"/>
                    <a:pt x="103" y="127"/>
                    <a:pt x="103" y="127"/>
                  </a:cubicBezTo>
                  <a:cubicBezTo>
                    <a:pt x="101" y="127"/>
                    <a:pt x="100" y="128"/>
                    <a:pt x="99" y="129"/>
                  </a:cubicBezTo>
                  <a:cubicBezTo>
                    <a:pt x="98" y="129"/>
                    <a:pt x="98" y="129"/>
                    <a:pt x="98" y="129"/>
                  </a:cubicBezTo>
                  <a:cubicBezTo>
                    <a:pt x="100" y="135"/>
                    <a:pt x="100" y="135"/>
                    <a:pt x="100" y="135"/>
                  </a:cubicBezTo>
                  <a:cubicBezTo>
                    <a:pt x="98" y="136"/>
                    <a:pt x="96" y="137"/>
                    <a:pt x="95" y="137"/>
                  </a:cubicBezTo>
                  <a:cubicBezTo>
                    <a:pt x="92" y="132"/>
                    <a:pt x="92" y="132"/>
                    <a:pt x="92" y="132"/>
                  </a:cubicBezTo>
                  <a:cubicBezTo>
                    <a:pt x="91" y="132"/>
                    <a:pt x="91" y="132"/>
                    <a:pt x="91" y="132"/>
                  </a:cubicBezTo>
                  <a:cubicBezTo>
                    <a:pt x="90" y="132"/>
                    <a:pt x="88" y="133"/>
                    <a:pt x="87" y="133"/>
                  </a:cubicBezTo>
                  <a:cubicBezTo>
                    <a:pt x="87" y="133"/>
                    <a:pt x="87" y="133"/>
                    <a:pt x="87" y="133"/>
                  </a:cubicBezTo>
                  <a:cubicBezTo>
                    <a:pt x="87" y="140"/>
                    <a:pt x="87" y="140"/>
                    <a:pt x="87" y="140"/>
                  </a:cubicBezTo>
                  <a:cubicBezTo>
                    <a:pt x="85" y="140"/>
                    <a:pt x="83" y="141"/>
                    <a:pt x="81" y="141"/>
                  </a:cubicBezTo>
                  <a:cubicBezTo>
                    <a:pt x="79" y="135"/>
                    <a:pt x="79" y="135"/>
                    <a:pt x="79" y="135"/>
                  </a:cubicBezTo>
                  <a:cubicBezTo>
                    <a:pt x="79" y="135"/>
                    <a:pt x="79" y="135"/>
                    <a:pt x="79" y="135"/>
                  </a:cubicBezTo>
                  <a:cubicBezTo>
                    <a:pt x="77" y="135"/>
                    <a:pt x="76" y="135"/>
                    <a:pt x="74" y="135"/>
                  </a:cubicBezTo>
                  <a:cubicBezTo>
                    <a:pt x="74" y="135"/>
                    <a:pt x="74" y="135"/>
                    <a:pt x="74" y="135"/>
                  </a:cubicBezTo>
                  <a:cubicBezTo>
                    <a:pt x="73" y="142"/>
                    <a:pt x="73" y="142"/>
                    <a:pt x="73" y="142"/>
                  </a:cubicBezTo>
                  <a:cubicBezTo>
                    <a:pt x="72" y="142"/>
                    <a:pt x="71" y="142"/>
                    <a:pt x="70" y="142"/>
                  </a:cubicBezTo>
                  <a:close/>
                </a:path>
              </a:pathLst>
            </a:custGeom>
            <a:solidFill>
              <a:schemeClr val="accent4"/>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cs typeface="Segoe UI" panose="020B0502040204020203" pitchFamily="34" charset="0"/>
              </a:endParaRPr>
            </a:p>
          </p:txBody>
        </p:sp>
        <p:sp>
          <p:nvSpPr>
            <p:cNvPr id="21" name="Freeform 8">
              <a:extLst>
                <a:ext uri="{FF2B5EF4-FFF2-40B4-BE49-F238E27FC236}">
                  <a16:creationId xmlns:a16="http://schemas.microsoft.com/office/drawing/2014/main" id="{F3CF7DE0-73FF-4D39-8FE6-ECA351DF0295}"/>
                </a:ext>
              </a:extLst>
            </p:cNvPr>
            <p:cNvSpPr>
              <a:spLocks/>
            </p:cNvSpPr>
            <p:nvPr/>
          </p:nvSpPr>
          <p:spPr bwMode="auto">
            <a:xfrm>
              <a:off x="4040494" y="1786536"/>
              <a:ext cx="1137124" cy="1145097"/>
            </a:xfrm>
            <a:custGeom>
              <a:avLst/>
              <a:gdLst>
                <a:gd name="T0" fmla="*/ 66 w 141"/>
                <a:gd name="T1" fmla="*/ 135 h 142"/>
                <a:gd name="T2" fmla="*/ 54 w 141"/>
                <a:gd name="T3" fmla="*/ 140 h 142"/>
                <a:gd name="T4" fmla="*/ 49 w 141"/>
                <a:gd name="T5" fmla="*/ 132 h 142"/>
                <a:gd name="T6" fmla="*/ 42 w 141"/>
                <a:gd name="T7" fmla="*/ 129 h 142"/>
                <a:gd name="T8" fmla="*/ 29 w 141"/>
                <a:gd name="T9" fmla="*/ 128 h 142"/>
                <a:gd name="T10" fmla="*/ 28 w 141"/>
                <a:gd name="T11" fmla="*/ 119 h 142"/>
                <a:gd name="T12" fmla="*/ 22 w 141"/>
                <a:gd name="T13" fmla="*/ 114 h 142"/>
                <a:gd name="T14" fmla="*/ 10 w 141"/>
                <a:gd name="T15" fmla="*/ 108 h 142"/>
                <a:gd name="T16" fmla="*/ 12 w 141"/>
                <a:gd name="T17" fmla="*/ 99 h 142"/>
                <a:gd name="T18" fmla="*/ 10 w 141"/>
                <a:gd name="T19" fmla="*/ 92 h 142"/>
                <a:gd name="T20" fmla="*/ 1 w 141"/>
                <a:gd name="T21" fmla="*/ 82 h 142"/>
                <a:gd name="T22" fmla="*/ 6 w 141"/>
                <a:gd name="T23" fmla="*/ 75 h 142"/>
                <a:gd name="T24" fmla="*/ 6 w 141"/>
                <a:gd name="T25" fmla="*/ 67 h 142"/>
                <a:gd name="T26" fmla="*/ 1 w 141"/>
                <a:gd name="T27" fmla="*/ 60 h 142"/>
                <a:gd name="T28" fmla="*/ 10 w 141"/>
                <a:gd name="T29" fmla="*/ 50 h 142"/>
                <a:gd name="T30" fmla="*/ 12 w 141"/>
                <a:gd name="T31" fmla="*/ 43 h 142"/>
                <a:gd name="T32" fmla="*/ 10 w 141"/>
                <a:gd name="T33" fmla="*/ 34 h 142"/>
                <a:gd name="T34" fmla="*/ 22 w 141"/>
                <a:gd name="T35" fmla="*/ 29 h 142"/>
                <a:gd name="T36" fmla="*/ 28 w 141"/>
                <a:gd name="T37" fmla="*/ 23 h 142"/>
                <a:gd name="T38" fmla="*/ 29 w 141"/>
                <a:gd name="T39" fmla="*/ 14 h 142"/>
                <a:gd name="T40" fmla="*/ 42 w 141"/>
                <a:gd name="T41" fmla="*/ 13 h 142"/>
                <a:gd name="T42" fmla="*/ 49 w 141"/>
                <a:gd name="T43" fmla="*/ 10 h 142"/>
                <a:gd name="T44" fmla="*/ 54 w 141"/>
                <a:gd name="T45" fmla="*/ 2 h 142"/>
                <a:gd name="T46" fmla="*/ 66 w 141"/>
                <a:gd name="T47" fmla="*/ 7 h 142"/>
                <a:gd name="T48" fmla="*/ 73 w 141"/>
                <a:gd name="T49" fmla="*/ 0 h 142"/>
                <a:gd name="T50" fmla="*/ 79 w 141"/>
                <a:gd name="T51" fmla="*/ 7 h 142"/>
                <a:gd name="T52" fmla="*/ 87 w 141"/>
                <a:gd name="T53" fmla="*/ 9 h 142"/>
                <a:gd name="T54" fmla="*/ 100 w 141"/>
                <a:gd name="T55" fmla="*/ 7 h 142"/>
                <a:gd name="T56" fmla="*/ 103 w 141"/>
                <a:gd name="T57" fmla="*/ 16 h 142"/>
                <a:gd name="T58" fmla="*/ 109 w 141"/>
                <a:gd name="T59" fmla="*/ 20 h 142"/>
                <a:gd name="T60" fmla="*/ 122 w 141"/>
                <a:gd name="T61" fmla="*/ 23 h 142"/>
                <a:gd name="T62" fmla="*/ 122 w 141"/>
                <a:gd name="T63" fmla="*/ 32 h 142"/>
                <a:gd name="T64" fmla="*/ 126 w 141"/>
                <a:gd name="T65" fmla="*/ 39 h 142"/>
                <a:gd name="T66" fmla="*/ 137 w 141"/>
                <a:gd name="T67" fmla="*/ 47 h 142"/>
                <a:gd name="T68" fmla="*/ 133 w 141"/>
                <a:gd name="T69" fmla="*/ 55 h 142"/>
                <a:gd name="T70" fmla="*/ 134 w 141"/>
                <a:gd name="T71" fmla="*/ 62 h 142"/>
                <a:gd name="T72" fmla="*/ 141 w 141"/>
                <a:gd name="T73" fmla="*/ 71 h 142"/>
                <a:gd name="T74" fmla="*/ 134 w 141"/>
                <a:gd name="T75" fmla="*/ 80 h 142"/>
                <a:gd name="T76" fmla="*/ 133 w 141"/>
                <a:gd name="T77" fmla="*/ 87 h 142"/>
                <a:gd name="T78" fmla="*/ 137 w 141"/>
                <a:gd name="T79" fmla="*/ 95 h 142"/>
                <a:gd name="T80" fmla="*/ 126 w 141"/>
                <a:gd name="T81" fmla="*/ 103 h 142"/>
                <a:gd name="T82" fmla="*/ 122 w 141"/>
                <a:gd name="T83" fmla="*/ 110 h 142"/>
                <a:gd name="T84" fmla="*/ 122 w 141"/>
                <a:gd name="T85" fmla="*/ 119 h 142"/>
                <a:gd name="T86" fmla="*/ 109 w 141"/>
                <a:gd name="T87" fmla="*/ 122 h 142"/>
                <a:gd name="T88" fmla="*/ 103 w 141"/>
                <a:gd name="T89" fmla="*/ 126 h 142"/>
                <a:gd name="T90" fmla="*/ 100 w 141"/>
                <a:gd name="T91" fmla="*/ 135 h 142"/>
                <a:gd name="T92" fmla="*/ 87 w 141"/>
                <a:gd name="T93" fmla="*/ 133 h 142"/>
                <a:gd name="T94" fmla="*/ 79 w 141"/>
                <a:gd name="T95" fmla="*/ 135 h 142"/>
                <a:gd name="T96" fmla="*/ 73 w 141"/>
                <a:gd name="T9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 h="142">
                  <a:moveTo>
                    <a:pt x="70" y="142"/>
                  </a:moveTo>
                  <a:cubicBezTo>
                    <a:pt x="69" y="142"/>
                    <a:pt x="68" y="142"/>
                    <a:pt x="67" y="142"/>
                  </a:cubicBezTo>
                  <a:cubicBezTo>
                    <a:pt x="67" y="135"/>
                    <a:pt x="67" y="135"/>
                    <a:pt x="67" y="135"/>
                  </a:cubicBezTo>
                  <a:cubicBezTo>
                    <a:pt x="66" y="135"/>
                    <a:pt x="66" y="135"/>
                    <a:pt x="66" y="135"/>
                  </a:cubicBezTo>
                  <a:cubicBezTo>
                    <a:pt x="65" y="135"/>
                    <a:pt x="63" y="135"/>
                    <a:pt x="62" y="135"/>
                  </a:cubicBezTo>
                  <a:cubicBezTo>
                    <a:pt x="61" y="135"/>
                    <a:pt x="61" y="135"/>
                    <a:pt x="61" y="135"/>
                  </a:cubicBezTo>
                  <a:cubicBezTo>
                    <a:pt x="60" y="141"/>
                    <a:pt x="60" y="141"/>
                    <a:pt x="60" y="141"/>
                  </a:cubicBezTo>
                  <a:cubicBezTo>
                    <a:pt x="58" y="141"/>
                    <a:pt x="56" y="140"/>
                    <a:pt x="54" y="140"/>
                  </a:cubicBezTo>
                  <a:cubicBezTo>
                    <a:pt x="54" y="133"/>
                    <a:pt x="54" y="133"/>
                    <a:pt x="54" y="133"/>
                  </a:cubicBezTo>
                  <a:cubicBezTo>
                    <a:pt x="54" y="133"/>
                    <a:pt x="54" y="133"/>
                    <a:pt x="54" y="133"/>
                  </a:cubicBezTo>
                  <a:cubicBezTo>
                    <a:pt x="52" y="133"/>
                    <a:pt x="51" y="132"/>
                    <a:pt x="50" y="132"/>
                  </a:cubicBezTo>
                  <a:cubicBezTo>
                    <a:pt x="49" y="132"/>
                    <a:pt x="49" y="132"/>
                    <a:pt x="49" y="132"/>
                  </a:cubicBezTo>
                  <a:cubicBezTo>
                    <a:pt x="46" y="137"/>
                    <a:pt x="46" y="137"/>
                    <a:pt x="46" y="137"/>
                  </a:cubicBezTo>
                  <a:cubicBezTo>
                    <a:pt x="44" y="137"/>
                    <a:pt x="42" y="136"/>
                    <a:pt x="41" y="135"/>
                  </a:cubicBezTo>
                  <a:cubicBezTo>
                    <a:pt x="42" y="129"/>
                    <a:pt x="42" y="129"/>
                    <a:pt x="42" y="129"/>
                  </a:cubicBezTo>
                  <a:cubicBezTo>
                    <a:pt x="42" y="129"/>
                    <a:pt x="42" y="129"/>
                    <a:pt x="42" y="129"/>
                  </a:cubicBezTo>
                  <a:cubicBezTo>
                    <a:pt x="41" y="128"/>
                    <a:pt x="39" y="127"/>
                    <a:pt x="38" y="127"/>
                  </a:cubicBezTo>
                  <a:cubicBezTo>
                    <a:pt x="38" y="126"/>
                    <a:pt x="38" y="126"/>
                    <a:pt x="38" y="126"/>
                  </a:cubicBezTo>
                  <a:cubicBezTo>
                    <a:pt x="34" y="131"/>
                    <a:pt x="34" y="131"/>
                    <a:pt x="34" y="131"/>
                  </a:cubicBezTo>
                  <a:cubicBezTo>
                    <a:pt x="32" y="130"/>
                    <a:pt x="30" y="129"/>
                    <a:pt x="29" y="128"/>
                  </a:cubicBezTo>
                  <a:cubicBezTo>
                    <a:pt x="32" y="122"/>
                    <a:pt x="32" y="122"/>
                    <a:pt x="32" y="122"/>
                  </a:cubicBezTo>
                  <a:cubicBezTo>
                    <a:pt x="31" y="122"/>
                    <a:pt x="31" y="122"/>
                    <a:pt x="31" y="122"/>
                  </a:cubicBezTo>
                  <a:cubicBezTo>
                    <a:pt x="30" y="121"/>
                    <a:pt x="29" y="120"/>
                    <a:pt x="28" y="119"/>
                  </a:cubicBezTo>
                  <a:cubicBezTo>
                    <a:pt x="28" y="119"/>
                    <a:pt x="28" y="119"/>
                    <a:pt x="28" y="119"/>
                  </a:cubicBezTo>
                  <a:cubicBezTo>
                    <a:pt x="23" y="123"/>
                    <a:pt x="23" y="123"/>
                    <a:pt x="23" y="123"/>
                  </a:cubicBezTo>
                  <a:cubicBezTo>
                    <a:pt x="21" y="122"/>
                    <a:pt x="20" y="120"/>
                    <a:pt x="18" y="119"/>
                  </a:cubicBezTo>
                  <a:cubicBezTo>
                    <a:pt x="22" y="114"/>
                    <a:pt x="22" y="114"/>
                    <a:pt x="22" y="114"/>
                  </a:cubicBezTo>
                  <a:cubicBezTo>
                    <a:pt x="22" y="114"/>
                    <a:pt x="22" y="114"/>
                    <a:pt x="22" y="114"/>
                  </a:cubicBezTo>
                  <a:cubicBezTo>
                    <a:pt x="21" y="112"/>
                    <a:pt x="20" y="111"/>
                    <a:pt x="19" y="110"/>
                  </a:cubicBezTo>
                  <a:cubicBezTo>
                    <a:pt x="19" y="110"/>
                    <a:pt x="19" y="110"/>
                    <a:pt x="19" y="110"/>
                  </a:cubicBezTo>
                  <a:cubicBezTo>
                    <a:pt x="13" y="113"/>
                    <a:pt x="13" y="113"/>
                    <a:pt x="13" y="113"/>
                  </a:cubicBezTo>
                  <a:cubicBezTo>
                    <a:pt x="12" y="111"/>
                    <a:pt x="11" y="109"/>
                    <a:pt x="10" y="108"/>
                  </a:cubicBezTo>
                  <a:cubicBezTo>
                    <a:pt x="15" y="104"/>
                    <a:pt x="15" y="104"/>
                    <a:pt x="15" y="104"/>
                  </a:cubicBezTo>
                  <a:cubicBezTo>
                    <a:pt x="15" y="103"/>
                    <a:pt x="15" y="103"/>
                    <a:pt x="15" y="103"/>
                  </a:cubicBezTo>
                  <a:cubicBezTo>
                    <a:pt x="14" y="102"/>
                    <a:pt x="13" y="101"/>
                    <a:pt x="13" y="99"/>
                  </a:cubicBezTo>
                  <a:cubicBezTo>
                    <a:pt x="12" y="99"/>
                    <a:pt x="12" y="99"/>
                    <a:pt x="12" y="99"/>
                  </a:cubicBezTo>
                  <a:cubicBezTo>
                    <a:pt x="6" y="101"/>
                    <a:pt x="6" y="101"/>
                    <a:pt x="6" y="101"/>
                  </a:cubicBezTo>
                  <a:cubicBezTo>
                    <a:pt x="5" y="99"/>
                    <a:pt x="5" y="97"/>
                    <a:pt x="4" y="95"/>
                  </a:cubicBezTo>
                  <a:cubicBezTo>
                    <a:pt x="10" y="92"/>
                    <a:pt x="10" y="92"/>
                    <a:pt x="10" y="92"/>
                  </a:cubicBezTo>
                  <a:cubicBezTo>
                    <a:pt x="10" y="92"/>
                    <a:pt x="10" y="92"/>
                    <a:pt x="10" y="92"/>
                  </a:cubicBezTo>
                  <a:cubicBezTo>
                    <a:pt x="9" y="90"/>
                    <a:pt x="9" y="89"/>
                    <a:pt x="8" y="88"/>
                  </a:cubicBezTo>
                  <a:cubicBezTo>
                    <a:pt x="8" y="87"/>
                    <a:pt x="8" y="87"/>
                    <a:pt x="8" y="87"/>
                  </a:cubicBezTo>
                  <a:cubicBezTo>
                    <a:pt x="2" y="88"/>
                    <a:pt x="2" y="88"/>
                    <a:pt x="2" y="88"/>
                  </a:cubicBezTo>
                  <a:cubicBezTo>
                    <a:pt x="1" y="86"/>
                    <a:pt x="1" y="84"/>
                    <a:pt x="1" y="82"/>
                  </a:cubicBezTo>
                  <a:cubicBezTo>
                    <a:pt x="7" y="80"/>
                    <a:pt x="7" y="80"/>
                    <a:pt x="7" y="80"/>
                  </a:cubicBezTo>
                  <a:cubicBezTo>
                    <a:pt x="7" y="80"/>
                    <a:pt x="7" y="80"/>
                    <a:pt x="7" y="80"/>
                  </a:cubicBezTo>
                  <a:cubicBezTo>
                    <a:pt x="6" y="78"/>
                    <a:pt x="6" y="77"/>
                    <a:pt x="6" y="75"/>
                  </a:cubicBezTo>
                  <a:cubicBezTo>
                    <a:pt x="6" y="75"/>
                    <a:pt x="6" y="75"/>
                    <a:pt x="6" y="75"/>
                  </a:cubicBezTo>
                  <a:cubicBezTo>
                    <a:pt x="0" y="74"/>
                    <a:pt x="0" y="74"/>
                    <a:pt x="0" y="74"/>
                  </a:cubicBezTo>
                  <a:cubicBezTo>
                    <a:pt x="0" y="73"/>
                    <a:pt x="0" y="72"/>
                    <a:pt x="0" y="71"/>
                  </a:cubicBezTo>
                  <a:cubicBezTo>
                    <a:pt x="0" y="70"/>
                    <a:pt x="0" y="69"/>
                    <a:pt x="0" y="68"/>
                  </a:cubicBezTo>
                  <a:cubicBezTo>
                    <a:pt x="6" y="67"/>
                    <a:pt x="6" y="67"/>
                    <a:pt x="6" y="67"/>
                  </a:cubicBezTo>
                  <a:cubicBezTo>
                    <a:pt x="6" y="67"/>
                    <a:pt x="6" y="67"/>
                    <a:pt x="6" y="67"/>
                  </a:cubicBezTo>
                  <a:cubicBezTo>
                    <a:pt x="6" y="65"/>
                    <a:pt x="6" y="64"/>
                    <a:pt x="7" y="62"/>
                  </a:cubicBezTo>
                  <a:cubicBezTo>
                    <a:pt x="7" y="62"/>
                    <a:pt x="7" y="62"/>
                    <a:pt x="7" y="62"/>
                  </a:cubicBezTo>
                  <a:cubicBezTo>
                    <a:pt x="1" y="60"/>
                    <a:pt x="1" y="60"/>
                    <a:pt x="1" y="60"/>
                  </a:cubicBezTo>
                  <a:cubicBezTo>
                    <a:pt x="1" y="58"/>
                    <a:pt x="1" y="56"/>
                    <a:pt x="2" y="54"/>
                  </a:cubicBezTo>
                  <a:cubicBezTo>
                    <a:pt x="8" y="55"/>
                    <a:pt x="8" y="55"/>
                    <a:pt x="8" y="55"/>
                  </a:cubicBezTo>
                  <a:cubicBezTo>
                    <a:pt x="8" y="54"/>
                    <a:pt x="8" y="54"/>
                    <a:pt x="8" y="54"/>
                  </a:cubicBezTo>
                  <a:cubicBezTo>
                    <a:pt x="9" y="53"/>
                    <a:pt x="9" y="52"/>
                    <a:pt x="10" y="50"/>
                  </a:cubicBezTo>
                  <a:cubicBezTo>
                    <a:pt x="10" y="50"/>
                    <a:pt x="10" y="50"/>
                    <a:pt x="10" y="50"/>
                  </a:cubicBezTo>
                  <a:cubicBezTo>
                    <a:pt x="4" y="47"/>
                    <a:pt x="4" y="47"/>
                    <a:pt x="4" y="47"/>
                  </a:cubicBezTo>
                  <a:cubicBezTo>
                    <a:pt x="5" y="45"/>
                    <a:pt x="5" y="43"/>
                    <a:pt x="6" y="41"/>
                  </a:cubicBezTo>
                  <a:cubicBezTo>
                    <a:pt x="12" y="43"/>
                    <a:pt x="12" y="43"/>
                    <a:pt x="12" y="43"/>
                  </a:cubicBezTo>
                  <a:cubicBezTo>
                    <a:pt x="13" y="43"/>
                    <a:pt x="13" y="43"/>
                    <a:pt x="13" y="43"/>
                  </a:cubicBezTo>
                  <a:cubicBezTo>
                    <a:pt x="13" y="41"/>
                    <a:pt x="14" y="40"/>
                    <a:pt x="15" y="39"/>
                  </a:cubicBezTo>
                  <a:cubicBezTo>
                    <a:pt x="15" y="38"/>
                    <a:pt x="15" y="38"/>
                    <a:pt x="15" y="38"/>
                  </a:cubicBezTo>
                  <a:cubicBezTo>
                    <a:pt x="10" y="34"/>
                    <a:pt x="10" y="34"/>
                    <a:pt x="10" y="34"/>
                  </a:cubicBezTo>
                  <a:cubicBezTo>
                    <a:pt x="11" y="33"/>
                    <a:pt x="12" y="31"/>
                    <a:pt x="13" y="29"/>
                  </a:cubicBezTo>
                  <a:cubicBezTo>
                    <a:pt x="19" y="32"/>
                    <a:pt x="19" y="32"/>
                    <a:pt x="19" y="32"/>
                  </a:cubicBezTo>
                  <a:cubicBezTo>
                    <a:pt x="19" y="32"/>
                    <a:pt x="19" y="32"/>
                    <a:pt x="19" y="32"/>
                  </a:cubicBezTo>
                  <a:cubicBezTo>
                    <a:pt x="20" y="31"/>
                    <a:pt x="21" y="30"/>
                    <a:pt x="22" y="29"/>
                  </a:cubicBezTo>
                  <a:cubicBezTo>
                    <a:pt x="22" y="28"/>
                    <a:pt x="22" y="28"/>
                    <a:pt x="22" y="28"/>
                  </a:cubicBezTo>
                  <a:cubicBezTo>
                    <a:pt x="18" y="23"/>
                    <a:pt x="18" y="23"/>
                    <a:pt x="18" y="23"/>
                  </a:cubicBezTo>
                  <a:cubicBezTo>
                    <a:pt x="20" y="22"/>
                    <a:pt x="21" y="20"/>
                    <a:pt x="23" y="19"/>
                  </a:cubicBezTo>
                  <a:cubicBezTo>
                    <a:pt x="28" y="23"/>
                    <a:pt x="28" y="23"/>
                    <a:pt x="28" y="23"/>
                  </a:cubicBezTo>
                  <a:cubicBezTo>
                    <a:pt x="28" y="23"/>
                    <a:pt x="28" y="23"/>
                    <a:pt x="28" y="23"/>
                  </a:cubicBezTo>
                  <a:cubicBezTo>
                    <a:pt x="29" y="22"/>
                    <a:pt x="30" y="21"/>
                    <a:pt x="31" y="20"/>
                  </a:cubicBezTo>
                  <a:cubicBezTo>
                    <a:pt x="32" y="20"/>
                    <a:pt x="32" y="20"/>
                    <a:pt x="32" y="20"/>
                  </a:cubicBezTo>
                  <a:cubicBezTo>
                    <a:pt x="29" y="14"/>
                    <a:pt x="29" y="14"/>
                    <a:pt x="29" y="14"/>
                  </a:cubicBezTo>
                  <a:cubicBezTo>
                    <a:pt x="30" y="13"/>
                    <a:pt x="32" y="12"/>
                    <a:pt x="34" y="11"/>
                  </a:cubicBezTo>
                  <a:cubicBezTo>
                    <a:pt x="38" y="16"/>
                    <a:pt x="38" y="16"/>
                    <a:pt x="38" y="16"/>
                  </a:cubicBezTo>
                  <a:cubicBezTo>
                    <a:pt x="38" y="15"/>
                    <a:pt x="38" y="15"/>
                    <a:pt x="38" y="15"/>
                  </a:cubicBezTo>
                  <a:cubicBezTo>
                    <a:pt x="39" y="15"/>
                    <a:pt x="41" y="14"/>
                    <a:pt x="42" y="13"/>
                  </a:cubicBezTo>
                  <a:cubicBezTo>
                    <a:pt x="42" y="13"/>
                    <a:pt x="42" y="13"/>
                    <a:pt x="42" y="13"/>
                  </a:cubicBezTo>
                  <a:cubicBezTo>
                    <a:pt x="41" y="7"/>
                    <a:pt x="41" y="7"/>
                    <a:pt x="41" y="7"/>
                  </a:cubicBezTo>
                  <a:cubicBezTo>
                    <a:pt x="42" y="6"/>
                    <a:pt x="44" y="5"/>
                    <a:pt x="46" y="5"/>
                  </a:cubicBezTo>
                  <a:cubicBezTo>
                    <a:pt x="49" y="10"/>
                    <a:pt x="49" y="10"/>
                    <a:pt x="49" y="10"/>
                  </a:cubicBezTo>
                  <a:cubicBezTo>
                    <a:pt x="50" y="10"/>
                    <a:pt x="50" y="10"/>
                    <a:pt x="50" y="10"/>
                  </a:cubicBezTo>
                  <a:cubicBezTo>
                    <a:pt x="51" y="10"/>
                    <a:pt x="52" y="9"/>
                    <a:pt x="54" y="9"/>
                  </a:cubicBezTo>
                  <a:cubicBezTo>
                    <a:pt x="54" y="9"/>
                    <a:pt x="54" y="9"/>
                    <a:pt x="54" y="9"/>
                  </a:cubicBezTo>
                  <a:cubicBezTo>
                    <a:pt x="54" y="2"/>
                    <a:pt x="54" y="2"/>
                    <a:pt x="54" y="2"/>
                  </a:cubicBezTo>
                  <a:cubicBezTo>
                    <a:pt x="56" y="2"/>
                    <a:pt x="58" y="1"/>
                    <a:pt x="60" y="1"/>
                  </a:cubicBezTo>
                  <a:cubicBezTo>
                    <a:pt x="61" y="7"/>
                    <a:pt x="61" y="7"/>
                    <a:pt x="61" y="7"/>
                  </a:cubicBezTo>
                  <a:cubicBezTo>
                    <a:pt x="62" y="7"/>
                    <a:pt x="62" y="7"/>
                    <a:pt x="62" y="7"/>
                  </a:cubicBezTo>
                  <a:cubicBezTo>
                    <a:pt x="63" y="7"/>
                    <a:pt x="65" y="7"/>
                    <a:pt x="66" y="7"/>
                  </a:cubicBezTo>
                  <a:cubicBezTo>
                    <a:pt x="67" y="7"/>
                    <a:pt x="67" y="7"/>
                    <a:pt x="67" y="7"/>
                  </a:cubicBezTo>
                  <a:cubicBezTo>
                    <a:pt x="67" y="0"/>
                    <a:pt x="67" y="0"/>
                    <a:pt x="67" y="0"/>
                  </a:cubicBezTo>
                  <a:cubicBezTo>
                    <a:pt x="68" y="0"/>
                    <a:pt x="69" y="0"/>
                    <a:pt x="70" y="0"/>
                  </a:cubicBezTo>
                  <a:cubicBezTo>
                    <a:pt x="71" y="0"/>
                    <a:pt x="72" y="0"/>
                    <a:pt x="73" y="0"/>
                  </a:cubicBezTo>
                  <a:cubicBezTo>
                    <a:pt x="74" y="7"/>
                    <a:pt x="74" y="7"/>
                    <a:pt x="74" y="7"/>
                  </a:cubicBezTo>
                  <a:cubicBezTo>
                    <a:pt x="74" y="7"/>
                    <a:pt x="74" y="7"/>
                    <a:pt x="74" y="7"/>
                  </a:cubicBezTo>
                  <a:cubicBezTo>
                    <a:pt x="76" y="7"/>
                    <a:pt x="77" y="7"/>
                    <a:pt x="79" y="7"/>
                  </a:cubicBezTo>
                  <a:cubicBezTo>
                    <a:pt x="79" y="7"/>
                    <a:pt x="79" y="7"/>
                    <a:pt x="79" y="7"/>
                  </a:cubicBezTo>
                  <a:cubicBezTo>
                    <a:pt x="81" y="1"/>
                    <a:pt x="81" y="1"/>
                    <a:pt x="81" y="1"/>
                  </a:cubicBezTo>
                  <a:cubicBezTo>
                    <a:pt x="83" y="1"/>
                    <a:pt x="85" y="2"/>
                    <a:pt x="87" y="2"/>
                  </a:cubicBezTo>
                  <a:cubicBezTo>
                    <a:pt x="87" y="9"/>
                    <a:pt x="87" y="9"/>
                    <a:pt x="87" y="9"/>
                  </a:cubicBezTo>
                  <a:cubicBezTo>
                    <a:pt x="87" y="9"/>
                    <a:pt x="87" y="9"/>
                    <a:pt x="87" y="9"/>
                  </a:cubicBezTo>
                  <a:cubicBezTo>
                    <a:pt x="88" y="9"/>
                    <a:pt x="90" y="10"/>
                    <a:pt x="91" y="10"/>
                  </a:cubicBezTo>
                  <a:cubicBezTo>
                    <a:pt x="92" y="10"/>
                    <a:pt x="92" y="10"/>
                    <a:pt x="92" y="10"/>
                  </a:cubicBezTo>
                  <a:cubicBezTo>
                    <a:pt x="95" y="5"/>
                    <a:pt x="95" y="5"/>
                    <a:pt x="95" y="5"/>
                  </a:cubicBezTo>
                  <a:cubicBezTo>
                    <a:pt x="96" y="5"/>
                    <a:pt x="98" y="6"/>
                    <a:pt x="100" y="7"/>
                  </a:cubicBezTo>
                  <a:cubicBezTo>
                    <a:pt x="98" y="13"/>
                    <a:pt x="98" y="13"/>
                    <a:pt x="98" y="13"/>
                  </a:cubicBezTo>
                  <a:cubicBezTo>
                    <a:pt x="99" y="13"/>
                    <a:pt x="99" y="13"/>
                    <a:pt x="99" y="13"/>
                  </a:cubicBezTo>
                  <a:cubicBezTo>
                    <a:pt x="100" y="14"/>
                    <a:pt x="101" y="15"/>
                    <a:pt x="103" y="15"/>
                  </a:cubicBezTo>
                  <a:cubicBezTo>
                    <a:pt x="103" y="16"/>
                    <a:pt x="103" y="16"/>
                    <a:pt x="103" y="16"/>
                  </a:cubicBezTo>
                  <a:cubicBezTo>
                    <a:pt x="107" y="11"/>
                    <a:pt x="107" y="11"/>
                    <a:pt x="107" y="11"/>
                  </a:cubicBezTo>
                  <a:cubicBezTo>
                    <a:pt x="109" y="12"/>
                    <a:pt x="111" y="13"/>
                    <a:pt x="112" y="14"/>
                  </a:cubicBezTo>
                  <a:cubicBezTo>
                    <a:pt x="109" y="20"/>
                    <a:pt x="109" y="20"/>
                    <a:pt x="109" y="20"/>
                  </a:cubicBezTo>
                  <a:cubicBezTo>
                    <a:pt x="109" y="20"/>
                    <a:pt x="109" y="20"/>
                    <a:pt x="109" y="20"/>
                  </a:cubicBezTo>
                  <a:cubicBezTo>
                    <a:pt x="111" y="21"/>
                    <a:pt x="112" y="22"/>
                    <a:pt x="113" y="23"/>
                  </a:cubicBezTo>
                  <a:cubicBezTo>
                    <a:pt x="113" y="23"/>
                    <a:pt x="113" y="23"/>
                    <a:pt x="113" y="23"/>
                  </a:cubicBezTo>
                  <a:cubicBezTo>
                    <a:pt x="118" y="19"/>
                    <a:pt x="118" y="19"/>
                    <a:pt x="118" y="19"/>
                  </a:cubicBezTo>
                  <a:cubicBezTo>
                    <a:pt x="120" y="20"/>
                    <a:pt x="121" y="22"/>
                    <a:pt x="122" y="23"/>
                  </a:cubicBezTo>
                  <a:cubicBezTo>
                    <a:pt x="118" y="28"/>
                    <a:pt x="118" y="28"/>
                    <a:pt x="118" y="28"/>
                  </a:cubicBezTo>
                  <a:cubicBezTo>
                    <a:pt x="119" y="29"/>
                    <a:pt x="119" y="29"/>
                    <a:pt x="119" y="29"/>
                  </a:cubicBezTo>
                  <a:cubicBezTo>
                    <a:pt x="120" y="30"/>
                    <a:pt x="121" y="31"/>
                    <a:pt x="121" y="32"/>
                  </a:cubicBezTo>
                  <a:cubicBezTo>
                    <a:pt x="122" y="32"/>
                    <a:pt x="122" y="32"/>
                    <a:pt x="122" y="32"/>
                  </a:cubicBezTo>
                  <a:cubicBezTo>
                    <a:pt x="127" y="29"/>
                    <a:pt x="127" y="29"/>
                    <a:pt x="127" y="29"/>
                  </a:cubicBezTo>
                  <a:cubicBezTo>
                    <a:pt x="129" y="31"/>
                    <a:pt x="130" y="33"/>
                    <a:pt x="131" y="34"/>
                  </a:cubicBezTo>
                  <a:cubicBezTo>
                    <a:pt x="126" y="38"/>
                    <a:pt x="126" y="38"/>
                    <a:pt x="126" y="38"/>
                  </a:cubicBezTo>
                  <a:cubicBezTo>
                    <a:pt x="126" y="39"/>
                    <a:pt x="126" y="39"/>
                    <a:pt x="126" y="39"/>
                  </a:cubicBezTo>
                  <a:cubicBezTo>
                    <a:pt x="127" y="40"/>
                    <a:pt x="128" y="41"/>
                    <a:pt x="128" y="43"/>
                  </a:cubicBezTo>
                  <a:cubicBezTo>
                    <a:pt x="128" y="43"/>
                    <a:pt x="128" y="43"/>
                    <a:pt x="128" y="43"/>
                  </a:cubicBezTo>
                  <a:cubicBezTo>
                    <a:pt x="134" y="41"/>
                    <a:pt x="134" y="41"/>
                    <a:pt x="134" y="41"/>
                  </a:cubicBezTo>
                  <a:cubicBezTo>
                    <a:pt x="135" y="43"/>
                    <a:pt x="136" y="45"/>
                    <a:pt x="137" y="47"/>
                  </a:cubicBezTo>
                  <a:cubicBezTo>
                    <a:pt x="131" y="50"/>
                    <a:pt x="131" y="50"/>
                    <a:pt x="131" y="50"/>
                  </a:cubicBezTo>
                  <a:cubicBezTo>
                    <a:pt x="131" y="50"/>
                    <a:pt x="131" y="50"/>
                    <a:pt x="131" y="50"/>
                  </a:cubicBezTo>
                  <a:cubicBezTo>
                    <a:pt x="132" y="52"/>
                    <a:pt x="132" y="53"/>
                    <a:pt x="133" y="54"/>
                  </a:cubicBezTo>
                  <a:cubicBezTo>
                    <a:pt x="133" y="55"/>
                    <a:pt x="133" y="55"/>
                    <a:pt x="133" y="55"/>
                  </a:cubicBezTo>
                  <a:cubicBezTo>
                    <a:pt x="139" y="54"/>
                    <a:pt x="139" y="54"/>
                    <a:pt x="139" y="54"/>
                  </a:cubicBezTo>
                  <a:cubicBezTo>
                    <a:pt x="140" y="56"/>
                    <a:pt x="140" y="58"/>
                    <a:pt x="140" y="60"/>
                  </a:cubicBezTo>
                  <a:cubicBezTo>
                    <a:pt x="134" y="62"/>
                    <a:pt x="134" y="62"/>
                    <a:pt x="134" y="62"/>
                  </a:cubicBezTo>
                  <a:cubicBezTo>
                    <a:pt x="134" y="62"/>
                    <a:pt x="134" y="62"/>
                    <a:pt x="134" y="62"/>
                  </a:cubicBezTo>
                  <a:cubicBezTo>
                    <a:pt x="134" y="64"/>
                    <a:pt x="134" y="65"/>
                    <a:pt x="135" y="67"/>
                  </a:cubicBezTo>
                  <a:cubicBezTo>
                    <a:pt x="135" y="67"/>
                    <a:pt x="135" y="67"/>
                    <a:pt x="135" y="67"/>
                  </a:cubicBezTo>
                  <a:cubicBezTo>
                    <a:pt x="141" y="68"/>
                    <a:pt x="141" y="68"/>
                    <a:pt x="141" y="68"/>
                  </a:cubicBezTo>
                  <a:cubicBezTo>
                    <a:pt x="141" y="69"/>
                    <a:pt x="141" y="70"/>
                    <a:pt x="141" y="71"/>
                  </a:cubicBezTo>
                  <a:cubicBezTo>
                    <a:pt x="141" y="72"/>
                    <a:pt x="141" y="73"/>
                    <a:pt x="141" y="74"/>
                  </a:cubicBezTo>
                  <a:cubicBezTo>
                    <a:pt x="135" y="75"/>
                    <a:pt x="135" y="75"/>
                    <a:pt x="135" y="75"/>
                  </a:cubicBezTo>
                  <a:cubicBezTo>
                    <a:pt x="135" y="75"/>
                    <a:pt x="135" y="75"/>
                    <a:pt x="135" y="75"/>
                  </a:cubicBezTo>
                  <a:cubicBezTo>
                    <a:pt x="134" y="77"/>
                    <a:pt x="134" y="78"/>
                    <a:pt x="134" y="80"/>
                  </a:cubicBezTo>
                  <a:cubicBezTo>
                    <a:pt x="134" y="80"/>
                    <a:pt x="134" y="80"/>
                    <a:pt x="134" y="80"/>
                  </a:cubicBezTo>
                  <a:cubicBezTo>
                    <a:pt x="140" y="82"/>
                    <a:pt x="140" y="82"/>
                    <a:pt x="140" y="82"/>
                  </a:cubicBezTo>
                  <a:cubicBezTo>
                    <a:pt x="140" y="84"/>
                    <a:pt x="140" y="86"/>
                    <a:pt x="139" y="88"/>
                  </a:cubicBezTo>
                  <a:cubicBezTo>
                    <a:pt x="133" y="87"/>
                    <a:pt x="133" y="87"/>
                    <a:pt x="133" y="87"/>
                  </a:cubicBezTo>
                  <a:cubicBezTo>
                    <a:pt x="133" y="88"/>
                    <a:pt x="133" y="88"/>
                    <a:pt x="133" y="88"/>
                  </a:cubicBezTo>
                  <a:cubicBezTo>
                    <a:pt x="132" y="89"/>
                    <a:pt x="132" y="90"/>
                    <a:pt x="131" y="92"/>
                  </a:cubicBezTo>
                  <a:cubicBezTo>
                    <a:pt x="131" y="92"/>
                    <a:pt x="131" y="92"/>
                    <a:pt x="131" y="92"/>
                  </a:cubicBezTo>
                  <a:cubicBezTo>
                    <a:pt x="137" y="95"/>
                    <a:pt x="137" y="95"/>
                    <a:pt x="137" y="95"/>
                  </a:cubicBezTo>
                  <a:cubicBezTo>
                    <a:pt x="136" y="97"/>
                    <a:pt x="135" y="99"/>
                    <a:pt x="134" y="101"/>
                  </a:cubicBezTo>
                  <a:cubicBezTo>
                    <a:pt x="128" y="99"/>
                    <a:pt x="128" y="99"/>
                    <a:pt x="128" y="99"/>
                  </a:cubicBezTo>
                  <a:cubicBezTo>
                    <a:pt x="128" y="99"/>
                    <a:pt x="128" y="99"/>
                    <a:pt x="128" y="99"/>
                  </a:cubicBezTo>
                  <a:cubicBezTo>
                    <a:pt x="128" y="101"/>
                    <a:pt x="127" y="102"/>
                    <a:pt x="126" y="103"/>
                  </a:cubicBezTo>
                  <a:cubicBezTo>
                    <a:pt x="126" y="104"/>
                    <a:pt x="126" y="104"/>
                    <a:pt x="126" y="104"/>
                  </a:cubicBezTo>
                  <a:cubicBezTo>
                    <a:pt x="131" y="108"/>
                    <a:pt x="131" y="108"/>
                    <a:pt x="131" y="108"/>
                  </a:cubicBezTo>
                  <a:cubicBezTo>
                    <a:pt x="130" y="109"/>
                    <a:pt x="129" y="111"/>
                    <a:pt x="127" y="113"/>
                  </a:cubicBezTo>
                  <a:cubicBezTo>
                    <a:pt x="122" y="110"/>
                    <a:pt x="122" y="110"/>
                    <a:pt x="122" y="110"/>
                  </a:cubicBezTo>
                  <a:cubicBezTo>
                    <a:pt x="121" y="110"/>
                    <a:pt x="121" y="110"/>
                    <a:pt x="121" y="110"/>
                  </a:cubicBezTo>
                  <a:cubicBezTo>
                    <a:pt x="121" y="111"/>
                    <a:pt x="120" y="112"/>
                    <a:pt x="119" y="114"/>
                  </a:cubicBezTo>
                  <a:cubicBezTo>
                    <a:pt x="118" y="114"/>
                    <a:pt x="118" y="114"/>
                    <a:pt x="118" y="114"/>
                  </a:cubicBezTo>
                  <a:cubicBezTo>
                    <a:pt x="122" y="119"/>
                    <a:pt x="122" y="119"/>
                    <a:pt x="122" y="119"/>
                  </a:cubicBezTo>
                  <a:cubicBezTo>
                    <a:pt x="121" y="120"/>
                    <a:pt x="120" y="122"/>
                    <a:pt x="118" y="123"/>
                  </a:cubicBezTo>
                  <a:cubicBezTo>
                    <a:pt x="113" y="119"/>
                    <a:pt x="113" y="119"/>
                    <a:pt x="113" y="119"/>
                  </a:cubicBezTo>
                  <a:cubicBezTo>
                    <a:pt x="113" y="119"/>
                    <a:pt x="113" y="119"/>
                    <a:pt x="113" y="119"/>
                  </a:cubicBezTo>
                  <a:cubicBezTo>
                    <a:pt x="112" y="120"/>
                    <a:pt x="111" y="121"/>
                    <a:pt x="109" y="122"/>
                  </a:cubicBezTo>
                  <a:cubicBezTo>
                    <a:pt x="109" y="122"/>
                    <a:pt x="109" y="122"/>
                    <a:pt x="109" y="122"/>
                  </a:cubicBezTo>
                  <a:cubicBezTo>
                    <a:pt x="112" y="128"/>
                    <a:pt x="112" y="128"/>
                    <a:pt x="112" y="128"/>
                  </a:cubicBezTo>
                  <a:cubicBezTo>
                    <a:pt x="111" y="129"/>
                    <a:pt x="109" y="130"/>
                    <a:pt x="107" y="131"/>
                  </a:cubicBezTo>
                  <a:cubicBezTo>
                    <a:pt x="103" y="126"/>
                    <a:pt x="103" y="126"/>
                    <a:pt x="103" y="126"/>
                  </a:cubicBezTo>
                  <a:cubicBezTo>
                    <a:pt x="103" y="127"/>
                    <a:pt x="103" y="127"/>
                    <a:pt x="103" y="127"/>
                  </a:cubicBezTo>
                  <a:cubicBezTo>
                    <a:pt x="101" y="127"/>
                    <a:pt x="100" y="128"/>
                    <a:pt x="99" y="129"/>
                  </a:cubicBezTo>
                  <a:cubicBezTo>
                    <a:pt x="98" y="129"/>
                    <a:pt x="98" y="129"/>
                    <a:pt x="98" y="129"/>
                  </a:cubicBezTo>
                  <a:cubicBezTo>
                    <a:pt x="100" y="135"/>
                    <a:pt x="100" y="135"/>
                    <a:pt x="100" y="135"/>
                  </a:cubicBezTo>
                  <a:cubicBezTo>
                    <a:pt x="98" y="136"/>
                    <a:pt x="96" y="137"/>
                    <a:pt x="95" y="137"/>
                  </a:cubicBezTo>
                  <a:cubicBezTo>
                    <a:pt x="92" y="132"/>
                    <a:pt x="92" y="132"/>
                    <a:pt x="92" y="132"/>
                  </a:cubicBezTo>
                  <a:cubicBezTo>
                    <a:pt x="91" y="132"/>
                    <a:pt x="91" y="132"/>
                    <a:pt x="91" y="132"/>
                  </a:cubicBezTo>
                  <a:cubicBezTo>
                    <a:pt x="90" y="132"/>
                    <a:pt x="88" y="133"/>
                    <a:pt x="87" y="133"/>
                  </a:cubicBezTo>
                  <a:cubicBezTo>
                    <a:pt x="87" y="133"/>
                    <a:pt x="87" y="133"/>
                    <a:pt x="87" y="133"/>
                  </a:cubicBezTo>
                  <a:cubicBezTo>
                    <a:pt x="87" y="140"/>
                    <a:pt x="87" y="140"/>
                    <a:pt x="87" y="140"/>
                  </a:cubicBezTo>
                  <a:cubicBezTo>
                    <a:pt x="85" y="140"/>
                    <a:pt x="83" y="141"/>
                    <a:pt x="81" y="141"/>
                  </a:cubicBezTo>
                  <a:cubicBezTo>
                    <a:pt x="79" y="135"/>
                    <a:pt x="79" y="135"/>
                    <a:pt x="79" y="135"/>
                  </a:cubicBezTo>
                  <a:cubicBezTo>
                    <a:pt x="79" y="135"/>
                    <a:pt x="79" y="135"/>
                    <a:pt x="79" y="135"/>
                  </a:cubicBezTo>
                  <a:cubicBezTo>
                    <a:pt x="77" y="135"/>
                    <a:pt x="76" y="135"/>
                    <a:pt x="74" y="135"/>
                  </a:cubicBezTo>
                  <a:cubicBezTo>
                    <a:pt x="74" y="135"/>
                    <a:pt x="74" y="135"/>
                    <a:pt x="74" y="135"/>
                  </a:cubicBezTo>
                  <a:cubicBezTo>
                    <a:pt x="73" y="142"/>
                    <a:pt x="73" y="142"/>
                    <a:pt x="73" y="142"/>
                  </a:cubicBezTo>
                  <a:cubicBezTo>
                    <a:pt x="72" y="142"/>
                    <a:pt x="71" y="142"/>
                    <a:pt x="70" y="142"/>
                  </a:cubicBezTo>
                  <a:close/>
                </a:path>
              </a:pathLst>
            </a:custGeom>
            <a:solidFill>
              <a:schemeClr val="accent1"/>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prstClr val="black"/>
                </a:solidFill>
                <a:cs typeface="Segoe UI" panose="020B0502040204020203" pitchFamily="34" charset="0"/>
              </a:endParaRPr>
            </a:p>
          </p:txBody>
        </p:sp>
        <p:sp>
          <p:nvSpPr>
            <p:cNvPr id="22" name="Freeform 9">
              <a:extLst>
                <a:ext uri="{FF2B5EF4-FFF2-40B4-BE49-F238E27FC236}">
                  <a16:creationId xmlns:a16="http://schemas.microsoft.com/office/drawing/2014/main" id="{B36FE2F7-E611-48F0-9141-30D86C19D2D3}"/>
                </a:ext>
              </a:extLst>
            </p:cNvPr>
            <p:cNvSpPr>
              <a:spLocks/>
            </p:cNvSpPr>
            <p:nvPr/>
          </p:nvSpPr>
          <p:spPr bwMode="auto">
            <a:xfrm>
              <a:off x="2695143" y="940907"/>
              <a:ext cx="1341130" cy="1350533"/>
            </a:xfrm>
            <a:custGeom>
              <a:avLst/>
              <a:gdLst>
                <a:gd name="T0" fmla="*/ 66 w 141"/>
                <a:gd name="T1" fmla="*/ 135 h 142"/>
                <a:gd name="T2" fmla="*/ 54 w 141"/>
                <a:gd name="T3" fmla="*/ 140 h 142"/>
                <a:gd name="T4" fmla="*/ 49 w 141"/>
                <a:gd name="T5" fmla="*/ 132 h 142"/>
                <a:gd name="T6" fmla="*/ 42 w 141"/>
                <a:gd name="T7" fmla="*/ 129 h 142"/>
                <a:gd name="T8" fmla="*/ 29 w 141"/>
                <a:gd name="T9" fmla="*/ 128 h 142"/>
                <a:gd name="T10" fmla="*/ 28 w 141"/>
                <a:gd name="T11" fmla="*/ 119 h 142"/>
                <a:gd name="T12" fmla="*/ 22 w 141"/>
                <a:gd name="T13" fmla="*/ 114 h 142"/>
                <a:gd name="T14" fmla="*/ 10 w 141"/>
                <a:gd name="T15" fmla="*/ 108 h 142"/>
                <a:gd name="T16" fmla="*/ 12 w 141"/>
                <a:gd name="T17" fmla="*/ 99 h 142"/>
                <a:gd name="T18" fmla="*/ 10 w 141"/>
                <a:gd name="T19" fmla="*/ 92 h 142"/>
                <a:gd name="T20" fmla="*/ 1 w 141"/>
                <a:gd name="T21" fmla="*/ 82 h 142"/>
                <a:gd name="T22" fmla="*/ 6 w 141"/>
                <a:gd name="T23" fmla="*/ 75 h 142"/>
                <a:gd name="T24" fmla="*/ 6 w 141"/>
                <a:gd name="T25" fmla="*/ 67 h 142"/>
                <a:gd name="T26" fmla="*/ 1 w 141"/>
                <a:gd name="T27" fmla="*/ 60 h 142"/>
                <a:gd name="T28" fmla="*/ 10 w 141"/>
                <a:gd name="T29" fmla="*/ 50 h 142"/>
                <a:gd name="T30" fmla="*/ 12 w 141"/>
                <a:gd name="T31" fmla="*/ 43 h 142"/>
                <a:gd name="T32" fmla="*/ 10 w 141"/>
                <a:gd name="T33" fmla="*/ 34 h 142"/>
                <a:gd name="T34" fmla="*/ 22 w 141"/>
                <a:gd name="T35" fmla="*/ 29 h 142"/>
                <a:gd name="T36" fmla="*/ 28 w 141"/>
                <a:gd name="T37" fmla="*/ 23 h 142"/>
                <a:gd name="T38" fmla="*/ 29 w 141"/>
                <a:gd name="T39" fmla="*/ 14 h 142"/>
                <a:gd name="T40" fmla="*/ 42 w 141"/>
                <a:gd name="T41" fmla="*/ 13 h 142"/>
                <a:gd name="T42" fmla="*/ 49 w 141"/>
                <a:gd name="T43" fmla="*/ 10 h 142"/>
                <a:gd name="T44" fmla="*/ 54 w 141"/>
                <a:gd name="T45" fmla="*/ 2 h 142"/>
                <a:gd name="T46" fmla="*/ 66 w 141"/>
                <a:gd name="T47" fmla="*/ 7 h 142"/>
                <a:gd name="T48" fmla="*/ 73 w 141"/>
                <a:gd name="T49" fmla="*/ 0 h 142"/>
                <a:gd name="T50" fmla="*/ 79 w 141"/>
                <a:gd name="T51" fmla="*/ 7 h 142"/>
                <a:gd name="T52" fmla="*/ 87 w 141"/>
                <a:gd name="T53" fmla="*/ 9 h 142"/>
                <a:gd name="T54" fmla="*/ 100 w 141"/>
                <a:gd name="T55" fmla="*/ 7 h 142"/>
                <a:gd name="T56" fmla="*/ 103 w 141"/>
                <a:gd name="T57" fmla="*/ 16 h 142"/>
                <a:gd name="T58" fmla="*/ 109 w 141"/>
                <a:gd name="T59" fmla="*/ 20 h 142"/>
                <a:gd name="T60" fmla="*/ 122 w 141"/>
                <a:gd name="T61" fmla="*/ 23 h 142"/>
                <a:gd name="T62" fmla="*/ 122 w 141"/>
                <a:gd name="T63" fmla="*/ 32 h 142"/>
                <a:gd name="T64" fmla="*/ 126 w 141"/>
                <a:gd name="T65" fmla="*/ 39 h 142"/>
                <a:gd name="T66" fmla="*/ 137 w 141"/>
                <a:gd name="T67" fmla="*/ 47 h 142"/>
                <a:gd name="T68" fmla="*/ 133 w 141"/>
                <a:gd name="T69" fmla="*/ 55 h 142"/>
                <a:gd name="T70" fmla="*/ 134 w 141"/>
                <a:gd name="T71" fmla="*/ 62 h 142"/>
                <a:gd name="T72" fmla="*/ 141 w 141"/>
                <a:gd name="T73" fmla="*/ 71 h 142"/>
                <a:gd name="T74" fmla="*/ 134 w 141"/>
                <a:gd name="T75" fmla="*/ 80 h 142"/>
                <a:gd name="T76" fmla="*/ 133 w 141"/>
                <a:gd name="T77" fmla="*/ 87 h 142"/>
                <a:gd name="T78" fmla="*/ 137 w 141"/>
                <a:gd name="T79" fmla="*/ 95 h 142"/>
                <a:gd name="T80" fmla="*/ 126 w 141"/>
                <a:gd name="T81" fmla="*/ 103 h 142"/>
                <a:gd name="T82" fmla="*/ 122 w 141"/>
                <a:gd name="T83" fmla="*/ 110 h 142"/>
                <a:gd name="T84" fmla="*/ 122 w 141"/>
                <a:gd name="T85" fmla="*/ 119 h 142"/>
                <a:gd name="T86" fmla="*/ 109 w 141"/>
                <a:gd name="T87" fmla="*/ 122 h 142"/>
                <a:gd name="T88" fmla="*/ 103 w 141"/>
                <a:gd name="T89" fmla="*/ 126 h 142"/>
                <a:gd name="T90" fmla="*/ 100 w 141"/>
                <a:gd name="T91" fmla="*/ 135 h 142"/>
                <a:gd name="T92" fmla="*/ 87 w 141"/>
                <a:gd name="T93" fmla="*/ 133 h 142"/>
                <a:gd name="T94" fmla="*/ 79 w 141"/>
                <a:gd name="T95" fmla="*/ 135 h 142"/>
                <a:gd name="T96" fmla="*/ 73 w 141"/>
                <a:gd name="T9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 h="142">
                  <a:moveTo>
                    <a:pt x="70" y="142"/>
                  </a:moveTo>
                  <a:cubicBezTo>
                    <a:pt x="69" y="142"/>
                    <a:pt x="68" y="142"/>
                    <a:pt x="67" y="142"/>
                  </a:cubicBezTo>
                  <a:cubicBezTo>
                    <a:pt x="67" y="135"/>
                    <a:pt x="67" y="135"/>
                    <a:pt x="67" y="135"/>
                  </a:cubicBezTo>
                  <a:cubicBezTo>
                    <a:pt x="66" y="135"/>
                    <a:pt x="66" y="135"/>
                    <a:pt x="66" y="135"/>
                  </a:cubicBezTo>
                  <a:cubicBezTo>
                    <a:pt x="65" y="135"/>
                    <a:pt x="63" y="135"/>
                    <a:pt x="62" y="135"/>
                  </a:cubicBezTo>
                  <a:cubicBezTo>
                    <a:pt x="61" y="135"/>
                    <a:pt x="61" y="135"/>
                    <a:pt x="61" y="135"/>
                  </a:cubicBezTo>
                  <a:cubicBezTo>
                    <a:pt x="60" y="141"/>
                    <a:pt x="60" y="141"/>
                    <a:pt x="60" y="141"/>
                  </a:cubicBezTo>
                  <a:cubicBezTo>
                    <a:pt x="58" y="141"/>
                    <a:pt x="56" y="140"/>
                    <a:pt x="54" y="140"/>
                  </a:cubicBezTo>
                  <a:cubicBezTo>
                    <a:pt x="54" y="133"/>
                    <a:pt x="54" y="133"/>
                    <a:pt x="54" y="133"/>
                  </a:cubicBezTo>
                  <a:cubicBezTo>
                    <a:pt x="54" y="133"/>
                    <a:pt x="54" y="133"/>
                    <a:pt x="54" y="133"/>
                  </a:cubicBezTo>
                  <a:cubicBezTo>
                    <a:pt x="52" y="133"/>
                    <a:pt x="51" y="132"/>
                    <a:pt x="50" y="132"/>
                  </a:cubicBezTo>
                  <a:cubicBezTo>
                    <a:pt x="49" y="132"/>
                    <a:pt x="49" y="132"/>
                    <a:pt x="49" y="132"/>
                  </a:cubicBezTo>
                  <a:cubicBezTo>
                    <a:pt x="46" y="137"/>
                    <a:pt x="46" y="137"/>
                    <a:pt x="46" y="137"/>
                  </a:cubicBezTo>
                  <a:cubicBezTo>
                    <a:pt x="44" y="137"/>
                    <a:pt x="42" y="136"/>
                    <a:pt x="41" y="135"/>
                  </a:cubicBezTo>
                  <a:cubicBezTo>
                    <a:pt x="42" y="129"/>
                    <a:pt x="42" y="129"/>
                    <a:pt x="42" y="129"/>
                  </a:cubicBezTo>
                  <a:cubicBezTo>
                    <a:pt x="42" y="129"/>
                    <a:pt x="42" y="129"/>
                    <a:pt x="42" y="129"/>
                  </a:cubicBezTo>
                  <a:cubicBezTo>
                    <a:pt x="41" y="128"/>
                    <a:pt x="39" y="127"/>
                    <a:pt x="38" y="127"/>
                  </a:cubicBezTo>
                  <a:cubicBezTo>
                    <a:pt x="38" y="126"/>
                    <a:pt x="38" y="126"/>
                    <a:pt x="38" y="126"/>
                  </a:cubicBezTo>
                  <a:cubicBezTo>
                    <a:pt x="34" y="131"/>
                    <a:pt x="34" y="131"/>
                    <a:pt x="34" y="131"/>
                  </a:cubicBezTo>
                  <a:cubicBezTo>
                    <a:pt x="32" y="130"/>
                    <a:pt x="30" y="129"/>
                    <a:pt x="29" y="128"/>
                  </a:cubicBezTo>
                  <a:cubicBezTo>
                    <a:pt x="32" y="122"/>
                    <a:pt x="32" y="122"/>
                    <a:pt x="32" y="122"/>
                  </a:cubicBezTo>
                  <a:cubicBezTo>
                    <a:pt x="31" y="122"/>
                    <a:pt x="31" y="122"/>
                    <a:pt x="31" y="122"/>
                  </a:cubicBezTo>
                  <a:cubicBezTo>
                    <a:pt x="30" y="121"/>
                    <a:pt x="29" y="120"/>
                    <a:pt x="28" y="119"/>
                  </a:cubicBezTo>
                  <a:cubicBezTo>
                    <a:pt x="28" y="119"/>
                    <a:pt x="28" y="119"/>
                    <a:pt x="28" y="119"/>
                  </a:cubicBezTo>
                  <a:cubicBezTo>
                    <a:pt x="23" y="123"/>
                    <a:pt x="23" y="123"/>
                    <a:pt x="23" y="123"/>
                  </a:cubicBezTo>
                  <a:cubicBezTo>
                    <a:pt x="21" y="122"/>
                    <a:pt x="20" y="120"/>
                    <a:pt x="18" y="119"/>
                  </a:cubicBezTo>
                  <a:cubicBezTo>
                    <a:pt x="22" y="114"/>
                    <a:pt x="22" y="114"/>
                    <a:pt x="22" y="114"/>
                  </a:cubicBezTo>
                  <a:cubicBezTo>
                    <a:pt x="22" y="114"/>
                    <a:pt x="22" y="114"/>
                    <a:pt x="22" y="114"/>
                  </a:cubicBezTo>
                  <a:cubicBezTo>
                    <a:pt x="21" y="112"/>
                    <a:pt x="20" y="111"/>
                    <a:pt x="19" y="110"/>
                  </a:cubicBezTo>
                  <a:cubicBezTo>
                    <a:pt x="19" y="110"/>
                    <a:pt x="19" y="110"/>
                    <a:pt x="19" y="110"/>
                  </a:cubicBezTo>
                  <a:cubicBezTo>
                    <a:pt x="13" y="113"/>
                    <a:pt x="13" y="113"/>
                    <a:pt x="13" y="113"/>
                  </a:cubicBezTo>
                  <a:cubicBezTo>
                    <a:pt x="12" y="111"/>
                    <a:pt x="11" y="109"/>
                    <a:pt x="10" y="108"/>
                  </a:cubicBezTo>
                  <a:cubicBezTo>
                    <a:pt x="15" y="104"/>
                    <a:pt x="15" y="104"/>
                    <a:pt x="15" y="104"/>
                  </a:cubicBezTo>
                  <a:cubicBezTo>
                    <a:pt x="15" y="103"/>
                    <a:pt x="15" y="103"/>
                    <a:pt x="15" y="103"/>
                  </a:cubicBezTo>
                  <a:cubicBezTo>
                    <a:pt x="14" y="102"/>
                    <a:pt x="13" y="101"/>
                    <a:pt x="13" y="99"/>
                  </a:cubicBezTo>
                  <a:cubicBezTo>
                    <a:pt x="12" y="99"/>
                    <a:pt x="12" y="99"/>
                    <a:pt x="12" y="99"/>
                  </a:cubicBezTo>
                  <a:cubicBezTo>
                    <a:pt x="6" y="101"/>
                    <a:pt x="6" y="101"/>
                    <a:pt x="6" y="101"/>
                  </a:cubicBezTo>
                  <a:cubicBezTo>
                    <a:pt x="5" y="99"/>
                    <a:pt x="5" y="97"/>
                    <a:pt x="4" y="95"/>
                  </a:cubicBezTo>
                  <a:cubicBezTo>
                    <a:pt x="10" y="92"/>
                    <a:pt x="10" y="92"/>
                    <a:pt x="10" y="92"/>
                  </a:cubicBezTo>
                  <a:cubicBezTo>
                    <a:pt x="10" y="92"/>
                    <a:pt x="10" y="92"/>
                    <a:pt x="10" y="92"/>
                  </a:cubicBezTo>
                  <a:cubicBezTo>
                    <a:pt x="9" y="90"/>
                    <a:pt x="9" y="89"/>
                    <a:pt x="8" y="88"/>
                  </a:cubicBezTo>
                  <a:cubicBezTo>
                    <a:pt x="8" y="87"/>
                    <a:pt x="8" y="87"/>
                    <a:pt x="8" y="87"/>
                  </a:cubicBezTo>
                  <a:cubicBezTo>
                    <a:pt x="2" y="88"/>
                    <a:pt x="2" y="88"/>
                    <a:pt x="2" y="88"/>
                  </a:cubicBezTo>
                  <a:cubicBezTo>
                    <a:pt x="1" y="86"/>
                    <a:pt x="1" y="84"/>
                    <a:pt x="1" y="82"/>
                  </a:cubicBezTo>
                  <a:cubicBezTo>
                    <a:pt x="7" y="80"/>
                    <a:pt x="7" y="80"/>
                    <a:pt x="7" y="80"/>
                  </a:cubicBezTo>
                  <a:cubicBezTo>
                    <a:pt x="7" y="80"/>
                    <a:pt x="7" y="80"/>
                    <a:pt x="7" y="80"/>
                  </a:cubicBezTo>
                  <a:cubicBezTo>
                    <a:pt x="6" y="78"/>
                    <a:pt x="6" y="77"/>
                    <a:pt x="6" y="75"/>
                  </a:cubicBezTo>
                  <a:cubicBezTo>
                    <a:pt x="6" y="75"/>
                    <a:pt x="6" y="75"/>
                    <a:pt x="6" y="75"/>
                  </a:cubicBezTo>
                  <a:cubicBezTo>
                    <a:pt x="0" y="74"/>
                    <a:pt x="0" y="74"/>
                    <a:pt x="0" y="74"/>
                  </a:cubicBezTo>
                  <a:cubicBezTo>
                    <a:pt x="0" y="73"/>
                    <a:pt x="0" y="72"/>
                    <a:pt x="0" y="71"/>
                  </a:cubicBezTo>
                  <a:cubicBezTo>
                    <a:pt x="0" y="70"/>
                    <a:pt x="0" y="69"/>
                    <a:pt x="0" y="68"/>
                  </a:cubicBezTo>
                  <a:cubicBezTo>
                    <a:pt x="6" y="67"/>
                    <a:pt x="6" y="67"/>
                    <a:pt x="6" y="67"/>
                  </a:cubicBezTo>
                  <a:cubicBezTo>
                    <a:pt x="6" y="67"/>
                    <a:pt x="6" y="67"/>
                    <a:pt x="6" y="67"/>
                  </a:cubicBezTo>
                  <a:cubicBezTo>
                    <a:pt x="6" y="65"/>
                    <a:pt x="6" y="64"/>
                    <a:pt x="7" y="62"/>
                  </a:cubicBezTo>
                  <a:cubicBezTo>
                    <a:pt x="7" y="62"/>
                    <a:pt x="7" y="62"/>
                    <a:pt x="7" y="62"/>
                  </a:cubicBezTo>
                  <a:cubicBezTo>
                    <a:pt x="1" y="60"/>
                    <a:pt x="1" y="60"/>
                    <a:pt x="1" y="60"/>
                  </a:cubicBezTo>
                  <a:cubicBezTo>
                    <a:pt x="1" y="58"/>
                    <a:pt x="1" y="56"/>
                    <a:pt x="2" y="54"/>
                  </a:cubicBezTo>
                  <a:cubicBezTo>
                    <a:pt x="8" y="55"/>
                    <a:pt x="8" y="55"/>
                    <a:pt x="8" y="55"/>
                  </a:cubicBezTo>
                  <a:cubicBezTo>
                    <a:pt x="8" y="54"/>
                    <a:pt x="8" y="54"/>
                    <a:pt x="8" y="54"/>
                  </a:cubicBezTo>
                  <a:cubicBezTo>
                    <a:pt x="9" y="53"/>
                    <a:pt x="9" y="52"/>
                    <a:pt x="10" y="50"/>
                  </a:cubicBezTo>
                  <a:cubicBezTo>
                    <a:pt x="10" y="50"/>
                    <a:pt x="10" y="50"/>
                    <a:pt x="10" y="50"/>
                  </a:cubicBezTo>
                  <a:cubicBezTo>
                    <a:pt x="4" y="47"/>
                    <a:pt x="4" y="47"/>
                    <a:pt x="4" y="47"/>
                  </a:cubicBezTo>
                  <a:cubicBezTo>
                    <a:pt x="5" y="45"/>
                    <a:pt x="5" y="43"/>
                    <a:pt x="6" y="41"/>
                  </a:cubicBezTo>
                  <a:cubicBezTo>
                    <a:pt x="12" y="43"/>
                    <a:pt x="12" y="43"/>
                    <a:pt x="12" y="43"/>
                  </a:cubicBezTo>
                  <a:cubicBezTo>
                    <a:pt x="13" y="43"/>
                    <a:pt x="13" y="43"/>
                    <a:pt x="13" y="43"/>
                  </a:cubicBezTo>
                  <a:cubicBezTo>
                    <a:pt x="13" y="41"/>
                    <a:pt x="14" y="40"/>
                    <a:pt x="15" y="39"/>
                  </a:cubicBezTo>
                  <a:cubicBezTo>
                    <a:pt x="15" y="38"/>
                    <a:pt x="15" y="38"/>
                    <a:pt x="15" y="38"/>
                  </a:cubicBezTo>
                  <a:cubicBezTo>
                    <a:pt x="10" y="34"/>
                    <a:pt x="10" y="34"/>
                    <a:pt x="10" y="34"/>
                  </a:cubicBezTo>
                  <a:cubicBezTo>
                    <a:pt x="11" y="33"/>
                    <a:pt x="12" y="31"/>
                    <a:pt x="13" y="29"/>
                  </a:cubicBezTo>
                  <a:cubicBezTo>
                    <a:pt x="19" y="32"/>
                    <a:pt x="19" y="32"/>
                    <a:pt x="19" y="32"/>
                  </a:cubicBezTo>
                  <a:cubicBezTo>
                    <a:pt x="19" y="32"/>
                    <a:pt x="19" y="32"/>
                    <a:pt x="19" y="32"/>
                  </a:cubicBezTo>
                  <a:cubicBezTo>
                    <a:pt x="20" y="31"/>
                    <a:pt x="21" y="30"/>
                    <a:pt x="22" y="29"/>
                  </a:cubicBezTo>
                  <a:cubicBezTo>
                    <a:pt x="22" y="28"/>
                    <a:pt x="22" y="28"/>
                    <a:pt x="22" y="28"/>
                  </a:cubicBezTo>
                  <a:cubicBezTo>
                    <a:pt x="18" y="23"/>
                    <a:pt x="18" y="23"/>
                    <a:pt x="18" y="23"/>
                  </a:cubicBezTo>
                  <a:cubicBezTo>
                    <a:pt x="20" y="22"/>
                    <a:pt x="21" y="20"/>
                    <a:pt x="23" y="19"/>
                  </a:cubicBezTo>
                  <a:cubicBezTo>
                    <a:pt x="28" y="23"/>
                    <a:pt x="28" y="23"/>
                    <a:pt x="28" y="23"/>
                  </a:cubicBezTo>
                  <a:cubicBezTo>
                    <a:pt x="28" y="23"/>
                    <a:pt x="28" y="23"/>
                    <a:pt x="28" y="23"/>
                  </a:cubicBezTo>
                  <a:cubicBezTo>
                    <a:pt x="29" y="22"/>
                    <a:pt x="30" y="21"/>
                    <a:pt x="31" y="20"/>
                  </a:cubicBezTo>
                  <a:cubicBezTo>
                    <a:pt x="32" y="20"/>
                    <a:pt x="32" y="20"/>
                    <a:pt x="32" y="20"/>
                  </a:cubicBezTo>
                  <a:cubicBezTo>
                    <a:pt x="29" y="14"/>
                    <a:pt x="29" y="14"/>
                    <a:pt x="29" y="14"/>
                  </a:cubicBezTo>
                  <a:cubicBezTo>
                    <a:pt x="30" y="13"/>
                    <a:pt x="32" y="12"/>
                    <a:pt x="34" y="11"/>
                  </a:cubicBezTo>
                  <a:cubicBezTo>
                    <a:pt x="38" y="16"/>
                    <a:pt x="38" y="16"/>
                    <a:pt x="38" y="16"/>
                  </a:cubicBezTo>
                  <a:cubicBezTo>
                    <a:pt x="38" y="15"/>
                    <a:pt x="38" y="15"/>
                    <a:pt x="38" y="15"/>
                  </a:cubicBezTo>
                  <a:cubicBezTo>
                    <a:pt x="39" y="15"/>
                    <a:pt x="41" y="14"/>
                    <a:pt x="42" y="13"/>
                  </a:cubicBezTo>
                  <a:cubicBezTo>
                    <a:pt x="42" y="13"/>
                    <a:pt x="42" y="13"/>
                    <a:pt x="42" y="13"/>
                  </a:cubicBezTo>
                  <a:cubicBezTo>
                    <a:pt x="41" y="7"/>
                    <a:pt x="41" y="7"/>
                    <a:pt x="41" y="7"/>
                  </a:cubicBezTo>
                  <a:cubicBezTo>
                    <a:pt x="42" y="6"/>
                    <a:pt x="44" y="5"/>
                    <a:pt x="46" y="5"/>
                  </a:cubicBezTo>
                  <a:cubicBezTo>
                    <a:pt x="49" y="10"/>
                    <a:pt x="49" y="10"/>
                    <a:pt x="49" y="10"/>
                  </a:cubicBezTo>
                  <a:cubicBezTo>
                    <a:pt x="50" y="10"/>
                    <a:pt x="50" y="10"/>
                    <a:pt x="50" y="10"/>
                  </a:cubicBezTo>
                  <a:cubicBezTo>
                    <a:pt x="51" y="10"/>
                    <a:pt x="52" y="9"/>
                    <a:pt x="54" y="9"/>
                  </a:cubicBezTo>
                  <a:cubicBezTo>
                    <a:pt x="54" y="9"/>
                    <a:pt x="54" y="9"/>
                    <a:pt x="54" y="9"/>
                  </a:cubicBezTo>
                  <a:cubicBezTo>
                    <a:pt x="54" y="2"/>
                    <a:pt x="54" y="2"/>
                    <a:pt x="54" y="2"/>
                  </a:cubicBezTo>
                  <a:cubicBezTo>
                    <a:pt x="56" y="2"/>
                    <a:pt x="58" y="1"/>
                    <a:pt x="60" y="1"/>
                  </a:cubicBezTo>
                  <a:cubicBezTo>
                    <a:pt x="61" y="7"/>
                    <a:pt x="61" y="7"/>
                    <a:pt x="61" y="7"/>
                  </a:cubicBezTo>
                  <a:cubicBezTo>
                    <a:pt x="62" y="7"/>
                    <a:pt x="62" y="7"/>
                    <a:pt x="62" y="7"/>
                  </a:cubicBezTo>
                  <a:cubicBezTo>
                    <a:pt x="63" y="7"/>
                    <a:pt x="65" y="7"/>
                    <a:pt x="66" y="7"/>
                  </a:cubicBezTo>
                  <a:cubicBezTo>
                    <a:pt x="67" y="7"/>
                    <a:pt x="67" y="7"/>
                    <a:pt x="67" y="7"/>
                  </a:cubicBezTo>
                  <a:cubicBezTo>
                    <a:pt x="67" y="0"/>
                    <a:pt x="67" y="0"/>
                    <a:pt x="67" y="0"/>
                  </a:cubicBezTo>
                  <a:cubicBezTo>
                    <a:pt x="68" y="0"/>
                    <a:pt x="69" y="0"/>
                    <a:pt x="70" y="0"/>
                  </a:cubicBezTo>
                  <a:cubicBezTo>
                    <a:pt x="71" y="0"/>
                    <a:pt x="72" y="0"/>
                    <a:pt x="73" y="0"/>
                  </a:cubicBezTo>
                  <a:cubicBezTo>
                    <a:pt x="74" y="7"/>
                    <a:pt x="74" y="7"/>
                    <a:pt x="74" y="7"/>
                  </a:cubicBezTo>
                  <a:cubicBezTo>
                    <a:pt x="74" y="7"/>
                    <a:pt x="74" y="7"/>
                    <a:pt x="74" y="7"/>
                  </a:cubicBezTo>
                  <a:cubicBezTo>
                    <a:pt x="76" y="7"/>
                    <a:pt x="77" y="7"/>
                    <a:pt x="79" y="7"/>
                  </a:cubicBezTo>
                  <a:cubicBezTo>
                    <a:pt x="79" y="7"/>
                    <a:pt x="79" y="7"/>
                    <a:pt x="79" y="7"/>
                  </a:cubicBezTo>
                  <a:cubicBezTo>
                    <a:pt x="81" y="1"/>
                    <a:pt x="81" y="1"/>
                    <a:pt x="81" y="1"/>
                  </a:cubicBezTo>
                  <a:cubicBezTo>
                    <a:pt x="83" y="1"/>
                    <a:pt x="85" y="2"/>
                    <a:pt x="87" y="2"/>
                  </a:cubicBezTo>
                  <a:cubicBezTo>
                    <a:pt x="87" y="9"/>
                    <a:pt x="87" y="9"/>
                    <a:pt x="87" y="9"/>
                  </a:cubicBezTo>
                  <a:cubicBezTo>
                    <a:pt x="87" y="9"/>
                    <a:pt x="87" y="9"/>
                    <a:pt x="87" y="9"/>
                  </a:cubicBezTo>
                  <a:cubicBezTo>
                    <a:pt x="88" y="9"/>
                    <a:pt x="90" y="10"/>
                    <a:pt x="91" y="10"/>
                  </a:cubicBezTo>
                  <a:cubicBezTo>
                    <a:pt x="92" y="10"/>
                    <a:pt x="92" y="10"/>
                    <a:pt x="92" y="10"/>
                  </a:cubicBezTo>
                  <a:cubicBezTo>
                    <a:pt x="95" y="5"/>
                    <a:pt x="95" y="5"/>
                    <a:pt x="95" y="5"/>
                  </a:cubicBezTo>
                  <a:cubicBezTo>
                    <a:pt x="96" y="5"/>
                    <a:pt x="98" y="6"/>
                    <a:pt x="100" y="7"/>
                  </a:cubicBezTo>
                  <a:cubicBezTo>
                    <a:pt x="98" y="13"/>
                    <a:pt x="98" y="13"/>
                    <a:pt x="98" y="13"/>
                  </a:cubicBezTo>
                  <a:cubicBezTo>
                    <a:pt x="99" y="13"/>
                    <a:pt x="99" y="13"/>
                    <a:pt x="99" y="13"/>
                  </a:cubicBezTo>
                  <a:cubicBezTo>
                    <a:pt x="100" y="14"/>
                    <a:pt x="101" y="15"/>
                    <a:pt x="103" y="15"/>
                  </a:cubicBezTo>
                  <a:cubicBezTo>
                    <a:pt x="103" y="16"/>
                    <a:pt x="103" y="16"/>
                    <a:pt x="103" y="16"/>
                  </a:cubicBezTo>
                  <a:cubicBezTo>
                    <a:pt x="107" y="11"/>
                    <a:pt x="107" y="11"/>
                    <a:pt x="107" y="11"/>
                  </a:cubicBezTo>
                  <a:cubicBezTo>
                    <a:pt x="109" y="12"/>
                    <a:pt x="111" y="13"/>
                    <a:pt x="112" y="14"/>
                  </a:cubicBezTo>
                  <a:cubicBezTo>
                    <a:pt x="109" y="20"/>
                    <a:pt x="109" y="20"/>
                    <a:pt x="109" y="20"/>
                  </a:cubicBezTo>
                  <a:cubicBezTo>
                    <a:pt x="109" y="20"/>
                    <a:pt x="109" y="20"/>
                    <a:pt x="109" y="20"/>
                  </a:cubicBezTo>
                  <a:cubicBezTo>
                    <a:pt x="111" y="21"/>
                    <a:pt x="112" y="22"/>
                    <a:pt x="113" y="23"/>
                  </a:cubicBezTo>
                  <a:cubicBezTo>
                    <a:pt x="113" y="23"/>
                    <a:pt x="113" y="23"/>
                    <a:pt x="113" y="23"/>
                  </a:cubicBezTo>
                  <a:cubicBezTo>
                    <a:pt x="118" y="19"/>
                    <a:pt x="118" y="19"/>
                    <a:pt x="118" y="19"/>
                  </a:cubicBezTo>
                  <a:cubicBezTo>
                    <a:pt x="120" y="20"/>
                    <a:pt x="121" y="22"/>
                    <a:pt x="122" y="23"/>
                  </a:cubicBezTo>
                  <a:cubicBezTo>
                    <a:pt x="118" y="28"/>
                    <a:pt x="118" y="28"/>
                    <a:pt x="118" y="28"/>
                  </a:cubicBezTo>
                  <a:cubicBezTo>
                    <a:pt x="119" y="29"/>
                    <a:pt x="119" y="29"/>
                    <a:pt x="119" y="29"/>
                  </a:cubicBezTo>
                  <a:cubicBezTo>
                    <a:pt x="120" y="30"/>
                    <a:pt x="121" y="31"/>
                    <a:pt x="121" y="32"/>
                  </a:cubicBezTo>
                  <a:cubicBezTo>
                    <a:pt x="122" y="32"/>
                    <a:pt x="122" y="32"/>
                    <a:pt x="122" y="32"/>
                  </a:cubicBezTo>
                  <a:cubicBezTo>
                    <a:pt x="127" y="29"/>
                    <a:pt x="127" y="29"/>
                    <a:pt x="127" y="29"/>
                  </a:cubicBezTo>
                  <a:cubicBezTo>
                    <a:pt x="129" y="31"/>
                    <a:pt x="130" y="33"/>
                    <a:pt x="131" y="34"/>
                  </a:cubicBezTo>
                  <a:cubicBezTo>
                    <a:pt x="126" y="38"/>
                    <a:pt x="126" y="38"/>
                    <a:pt x="126" y="38"/>
                  </a:cubicBezTo>
                  <a:cubicBezTo>
                    <a:pt x="126" y="39"/>
                    <a:pt x="126" y="39"/>
                    <a:pt x="126" y="39"/>
                  </a:cubicBezTo>
                  <a:cubicBezTo>
                    <a:pt x="127" y="40"/>
                    <a:pt x="128" y="41"/>
                    <a:pt x="128" y="43"/>
                  </a:cubicBezTo>
                  <a:cubicBezTo>
                    <a:pt x="128" y="43"/>
                    <a:pt x="128" y="43"/>
                    <a:pt x="128" y="43"/>
                  </a:cubicBezTo>
                  <a:cubicBezTo>
                    <a:pt x="134" y="41"/>
                    <a:pt x="134" y="41"/>
                    <a:pt x="134" y="41"/>
                  </a:cubicBezTo>
                  <a:cubicBezTo>
                    <a:pt x="135" y="43"/>
                    <a:pt x="136" y="45"/>
                    <a:pt x="137" y="47"/>
                  </a:cubicBezTo>
                  <a:cubicBezTo>
                    <a:pt x="131" y="50"/>
                    <a:pt x="131" y="50"/>
                    <a:pt x="131" y="50"/>
                  </a:cubicBezTo>
                  <a:cubicBezTo>
                    <a:pt x="131" y="50"/>
                    <a:pt x="131" y="50"/>
                    <a:pt x="131" y="50"/>
                  </a:cubicBezTo>
                  <a:cubicBezTo>
                    <a:pt x="132" y="52"/>
                    <a:pt x="132" y="53"/>
                    <a:pt x="133" y="54"/>
                  </a:cubicBezTo>
                  <a:cubicBezTo>
                    <a:pt x="133" y="55"/>
                    <a:pt x="133" y="55"/>
                    <a:pt x="133" y="55"/>
                  </a:cubicBezTo>
                  <a:cubicBezTo>
                    <a:pt x="139" y="54"/>
                    <a:pt x="139" y="54"/>
                    <a:pt x="139" y="54"/>
                  </a:cubicBezTo>
                  <a:cubicBezTo>
                    <a:pt x="140" y="56"/>
                    <a:pt x="140" y="58"/>
                    <a:pt x="140" y="60"/>
                  </a:cubicBezTo>
                  <a:cubicBezTo>
                    <a:pt x="134" y="62"/>
                    <a:pt x="134" y="62"/>
                    <a:pt x="134" y="62"/>
                  </a:cubicBezTo>
                  <a:cubicBezTo>
                    <a:pt x="134" y="62"/>
                    <a:pt x="134" y="62"/>
                    <a:pt x="134" y="62"/>
                  </a:cubicBezTo>
                  <a:cubicBezTo>
                    <a:pt x="134" y="64"/>
                    <a:pt x="134" y="65"/>
                    <a:pt x="135" y="67"/>
                  </a:cubicBezTo>
                  <a:cubicBezTo>
                    <a:pt x="135" y="67"/>
                    <a:pt x="135" y="67"/>
                    <a:pt x="135" y="67"/>
                  </a:cubicBezTo>
                  <a:cubicBezTo>
                    <a:pt x="141" y="68"/>
                    <a:pt x="141" y="68"/>
                    <a:pt x="141" y="68"/>
                  </a:cubicBezTo>
                  <a:cubicBezTo>
                    <a:pt x="141" y="69"/>
                    <a:pt x="141" y="70"/>
                    <a:pt x="141" y="71"/>
                  </a:cubicBezTo>
                  <a:cubicBezTo>
                    <a:pt x="141" y="72"/>
                    <a:pt x="141" y="73"/>
                    <a:pt x="141" y="74"/>
                  </a:cubicBezTo>
                  <a:cubicBezTo>
                    <a:pt x="135" y="75"/>
                    <a:pt x="135" y="75"/>
                    <a:pt x="135" y="75"/>
                  </a:cubicBezTo>
                  <a:cubicBezTo>
                    <a:pt x="135" y="75"/>
                    <a:pt x="135" y="75"/>
                    <a:pt x="135" y="75"/>
                  </a:cubicBezTo>
                  <a:cubicBezTo>
                    <a:pt x="134" y="77"/>
                    <a:pt x="134" y="78"/>
                    <a:pt x="134" y="80"/>
                  </a:cubicBezTo>
                  <a:cubicBezTo>
                    <a:pt x="134" y="80"/>
                    <a:pt x="134" y="80"/>
                    <a:pt x="134" y="80"/>
                  </a:cubicBezTo>
                  <a:cubicBezTo>
                    <a:pt x="140" y="82"/>
                    <a:pt x="140" y="82"/>
                    <a:pt x="140" y="82"/>
                  </a:cubicBezTo>
                  <a:cubicBezTo>
                    <a:pt x="140" y="84"/>
                    <a:pt x="140" y="86"/>
                    <a:pt x="139" y="88"/>
                  </a:cubicBezTo>
                  <a:cubicBezTo>
                    <a:pt x="133" y="87"/>
                    <a:pt x="133" y="87"/>
                    <a:pt x="133" y="87"/>
                  </a:cubicBezTo>
                  <a:cubicBezTo>
                    <a:pt x="133" y="88"/>
                    <a:pt x="133" y="88"/>
                    <a:pt x="133" y="88"/>
                  </a:cubicBezTo>
                  <a:cubicBezTo>
                    <a:pt x="132" y="89"/>
                    <a:pt x="132" y="90"/>
                    <a:pt x="131" y="92"/>
                  </a:cubicBezTo>
                  <a:cubicBezTo>
                    <a:pt x="131" y="92"/>
                    <a:pt x="131" y="92"/>
                    <a:pt x="131" y="92"/>
                  </a:cubicBezTo>
                  <a:cubicBezTo>
                    <a:pt x="137" y="95"/>
                    <a:pt x="137" y="95"/>
                    <a:pt x="137" y="95"/>
                  </a:cubicBezTo>
                  <a:cubicBezTo>
                    <a:pt x="136" y="97"/>
                    <a:pt x="135" y="99"/>
                    <a:pt x="134" y="101"/>
                  </a:cubicBezTo>
                  <a:cubicBezTo>
                    <a:pt x="128" y="99"/>
                    <a:pt x="128" y="99"/>
                    <a:pt x="128" y="99"/>
                  </a:cubicBezTo>
                  <a:cubicBezTo>
                    <a:pt x="128" y="99"/>
                    <a:pt x="128" y="99"/>
                    <a:pt x="128" y="99"/>
                  </a:cubicBezTo>
                  <a:cubicBezTo>
                    <a:pt x="128" y="101"/>
                    <a:pt x="127" y="102"/>
                    <a:pt x="126" y="103"/>
                  </a:cubicBezTo>
                  <a:cubicBezTo>
                    <a:pt x="126" y="104"/>
                    <a:pt x="126" y="104"/>
                    <a:pt x="126" y="104"/>
                  </a:cubicBezTo>
                  <a:cubicBezTo>
                    <a:pt x="131" y="108"/>
                    <a:pt x="131" y="108"/>
                    <a:pt x="131" y="108"/>
                  </a:cubicBezTo>
                  <a:cubicBezTo>
                    <a:pt x="130" y="109"/>
                    <a:pt x="129" y="111"/>
                    <a:pt x="127" y="113"/>
                  </a:cubicBezTo>
                  <a:cubicBezTo>
                    <a:pt x="122" y="110"/>
                    <a:pt x="122" y="110"/>
                    <a:pt x="122" y="110"/>
                  </a:cubicBezTo>
                  <a:cubicBezTo>
                    <a:pt x="121" y="110"/>
                    <a:pt x="121" y="110"/>
                    <a:pt x="121" y="110"/>
                  </a:cubicBezTo>
                  <a:cubicBezTo>
                    <a:pt x="121" y="111"/>
                    <a:pt x="120" y="112"/>
                    <a:pt x="119" y="114"/>
                  </a:cubicBezTo>
                  <a:cubicBezTo>
                    <a:pt x="118" y="114"/>
                    <a:pt x="118" y="114"/>
                    <a:pt x="118" y="114"/>
                  </a:cubicBezTo>
                  <a:cubicBezTo>
                    <a:pt x="122" y="119"/>
                    <a:pt x="122" y="119"/>
                    <a:pt x="122" y="119"/>
                  </a:cubicBezTo>
                  <a:cubicBezTo>
                    <a:pt x="121" y="120"/>
                    <a:pt x="120" y="122"/>
                    <a:pt x="118" y="123"/>
                  </a:cubicBezTo>
                  <a:cubicBezTo>
                    <a:pt x="113" y="119"/>
                    <a:pt x="113" y="119"/>
                    <a:pt x="113" y="119"/>
                  </a:cubicBezTo>
                  <a:cubicBezTo>
                    <a:pt x="113" y="119"/>
                    <a:pt x="113" y="119"/>
                    <a:pt x="113" y="119"/>
                  </a:cubicBezTo>
                  <a:cubicBezTo>
                    <a:pt x="112" y="120"/>
                    <a:pt x="111" y="121"/>
                    <a:pt x="109" y="122"/>
                  </a:cubicBezTo>
                  <a:cubicBezTo>
                    <a:pt x="109" y="122"/>
                    <a:pt x="109" y="122"/>
                    <a:pt x="109" y="122"/>
                  </a:cubicBezTo>
                  <a:cubicBezTo>
                    <a:pt x="112" y="128"/>
                    <a:pt x="112" y="128"/>
                    <a:pt x="112" y="128"/>
                  </a:cubicBezTo>
                  <a:cubicBezTo>
                    <a:pt x="111" y="129"/>
                    <a:pt x="109" y="130"/>
                    <a:pt x="107" y="131"/>
                  </a:cubicBezTo>
                  <a:cubicBezTo>
                    <a:pt x="103" y="126"/>
                    <a:pt x="103" y="126"/>
                    <a:pt x="103" y="126"/>
                  </a:cubicBezTo>
                  <a:cubicBezTo>
                    <a:pt x="103" y="127"/>
                    <a:pt x="103" y="127"/>
                    <a:pt x="103" y="127"/>
                  </a:cubicBezTo>
                  <a:cubicBezTo>
                    <a:pt x="101" y="127"/>
                    <a:pt x="100" y="128"/>
                    <a:pt x="99" y="129"/>
                  </a:cubicBezTo>
                  <a:cubicBezTo>
                    <a:pt x="98" y="129"/>
                    <a:pt x="98" y="129"/>
                    <a:pt x="98" y="129"/>
                  </a:cubicBezTo>
                  <a:cubicBezTo>
                    <a:pt x="100" y="135"/>
                    <a:pt x="100" y="135"/>
                    <a:pt x="100" y="135"/>
                  </a:cubicBezTo>
                  <a:cubicBezTo>
                    <a:pt x="98" y="136"/>
                    <a:pt x="96" y="137"/>
                    <a:pt x="95" y="137"/>
                  </a:cubicBezTo>
                  <a:cubicBezTo>
                    <a:pt x="92" y="132"/>
                    <a:pt x="92" y="132"/>
                    <a:pt x="92" y="132"/>
                  </a:cubicBezTo>
                  <a:cubicBezTo>
                    <a:pt x="91" y="132"/>
                    <a:pt x="91" y="132"/>
                    <a:pt x="91" y="132"/>
                  </a:cubicBezTo>
                  <a:cubicBezTo>
                    <a:pt x="90" y="132"/>
                    <a:pt x="88" y="133"/>
                    <a:pt x="87" y="133"/>
                  </a:cubicBezTo>
                  <a:cubicBezTo>
                    <a:pt x="87" y="133"/>
                    <a:pt x="87" y="133"/>
                    <a:pt x="87" y="133"/>
                  </a:cubicBezTo>
                  <a:cubicBezTo>
                    <a:pt x="87" y="140"/>
                    <a:pt x="87" y="140"/>
                    <a:pt x="87" y="140"/>
                  </a:cubicBezTo>
                  <a:cubicBezTo>
                    <a:pt x="85" y="140"/>
                    <a:pt x="83" y="141"/>
                    <a:pt x="81" y="141"/>
                  </a:cubicBezTo>
                  <a:cubicBezTo>
                    <a:pt x="79" y="135"/>
                    <a:pt x="79" y="135"/>
                    <a:pt x="79" y="135"/>
                  </a:cubicBezTo>
                  <a:cubicBezTo>
                    <a:pt x="79" y="135"/>
                    <a:pt x="79" y="135"/>
                    <a:pt x="79" y="135"/>
                  </a:cubicBezTo>
                  <a:cubicBezTo>
                    <a:pt x="77" y="135"/>
                    <a:pt x="76" y="135"/>
                    <a:pt x="74" y="135"/>
                  </a:cubicBezTo>
                  <a:cubicBezTo>
                    <a:pt x="74" y="135"/>
                    <a:pt x="74" y="135"/>
                    <a:pt x="74" y="135"/>
                  </a:cubicBezTo>
                  <a:cubicBezTo>
                    <a:pt x="73" y="142"/>
                    <a:pt x="73" y="142"/>
                    <a:pt x="73" y="142"/>
                  </a:cubicBezTo>
                  <a:cubicBezTo>
                    <a:pt x="72" y="142"/>
                    <a:pt x="71" y="142"/>
                    <a:pt x="70" y="142"/>
                  </a:cubicBezTo>
                  <a:close/>
                </a:path>
              </a:pathLst>
            </a:custGeom>
            <a:solidFill>
              <a:schemeClr val="accent3">
                <a:lumMod val="90000"/>
                <a:lumOff val="10000"/>
              </a:schemeClr>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endParaRPr>
            </a:p>
          </p:txBody>
        </p:sp>
        <p:sp>
          <p:nvSpPr>
            <p:cNvPr id="23" name="Freeform 10">
              <a:extLst>
                <a:ext uri="{FF2B5EF4-FFF2-40B4-BE49-F238E27FC236}">
                  <a16:creationId xmlns:a16="http://schemas.microsoft.com/office/drawing/2014/main" id="{EC53D5D2-4AEF-456C-BB5A-718AB6562FF2}"/>
                </a:ext>
              </a:extLst>
            </p:cNvPr>
            <p:cNvSpPr>
              <a:spLocks/>
            </p:cNvSpPr>
            <p:nvPr/>
          </p:nvSpPr>
          <p:spPr bwMode="auto">
            <a:xfrm flipH="1">
              <a:off x="2637488" y="4019693"/>
              <a:ext cx="660999" cy="665632"/>
            </a:xfrm>
            <a:custGeom>
              <a:avLst/>
              <a:gdLst>
                <a:gd name="T0" fmla="*/ 66 w 141"/>
                <a:gd name="T1" fmla="*/ 135 h 142"/>
                <a:gd name="T2" fmla="*/ 54 w 141"/>
                <a:gd name="T3" fmla="*/ 140 h 142"/>
                <a:gd name="T4" fmla="*/ 49 w 141"/>
                <a:gd name="T5" fmla="*/ 132 h 142"/>
                <a:gd name="T6" fmla="*/ 42 w 141"/>
                <a:gd name="T7" fmla="*/ 129 h 142"/>
                <a:gd name="T8" fmla="*/ 29 w 141"/>
                <a:gd name="T9" fmla="*/ 128 h 142"/>
                <a:gd name="T10" fmla="*/ 28 w 141"/>
                <a:gd name="T11" fmla="*/ 119 h 142"/>
                <a:gd name="T12" fmla="*/ 22 w 141"/>
                <a:gd name="T13" fmla="*/ 114 h 142"/>
                <a:gd name="T14" fmla="*/ 10 w 141"/>
                <a:gd name="T15" fmla="*/ 108 h 142"/>
                <a:gd name="T16" fmla="*/ 12 w 141"/>
                <a:gd name="T17" fmla="*/ 99 h 142"/>
                <a:gd name="T18" fmla="*/ 10 w 141"/>
                <a:gd name="T19" fmla="*/ 92 h 142"/>
                <a:gd name="T20" fmla="*/ 1 w 141"/>
                <a:gd name="T21" fmla="*/ 82 h 142"/>
                <a:gd name="T22" fmla="*/ 6 w 141"/>
                <a:gd name="T23" fmla="*/ 75 h 142"/>
                <a:gd name="T24" fmla="*/ 6 w 141"/>
                <a:gd name="T25" fmla="*/ 67 h 142"/>
                <a:gd name="T26" fmla="*/ 1 w 141"/>
                <a:gd name="T27" fmla="*/ 60 h 142"/>
                <a:gd name="T28" fmla="*/ 10 w 141"/>
                <a:gd name="T29" fmla="*/ 50 h 142"/>
                <a:gd name="T30" fmla="*/ 12 w 141"/>
                <a:gd name="T31" fmla="*/ 43 h 142"/>
                <a:gd name="T32" fmla="*/ 10 w 141"/>
                <a:gd name="T33" fmla="*/ 34 h 142"/>
                <a:gd name="T34" fmla="*/ 22 w 141"/>
                <a:gd name="T35" fmla="*/ 29 h 142"/>
                <a:gd name="T36" fmla="*/ 28 w 141"/>
                <a:gd name="T37" fmla="*/ 23 h 142"/>
                <a:gd name="T38" fmla="*/ 29 w 141"/>
                <a:gd name="T39" fmla="*/ 14 h 142"/>
                <a:gd name="T40" fmla="*/ 42 w 141"/>
                <a:gd name="T41" fmla="*/ 13 h 142"/>
                <a:gd name="T42" fmla="*/ 49 w 141"/>
                <a:gd name="T43" fmla="*/ 10 h 142"/>
                <a:gd name="T44" fmla="*/ 54 w 141"/>
                <a:gd name="T45" fmla="*/ 2 h 142"/>
                <a:gd name="T46" fmla="*/ 66 w 141"/>
                <a:gd name="T47" fmla="*/ 7 h 142"/>
                <a:gd name="T48" fmla="*/ 73 w 141"/>
                <a:gd name="T49" fmla="*/ 0 h 142"/>
                <a:gd name="T50" fmla="*/ 79 w 141"/>
                <a:gd name="T51" fmla="*/ 7 h 142"/>
                <a:gd name="T52" fmla="*/ 87 w 141"/>
                <a:gd name="T53" fmla="*/ 9 h 142"/>
                <a:gd name="T54" fmla="*/ 100 w 141"/>
                <a:gd name="T55" fmla="*/ 7 h 142"/>
                <a:gd name="T56" fmla="*/ 103 w 141"/>
                <a:gd name="T57" fmla="*/ 16 h 142"/>
                <a:gd name="T58" fmla="*/ 109 w 141"/>
                <a:gd name="T59" fmla="*/ 20 h 142"/>
                <a:gd name="T60" fmla="*/ 122 w 141"/>
                <a:gd name="T61" fmla="*/ 23 h 142"/>
                <a:gd name="T62" fmla="*/ 122 w 141"/>
                <a:gd name="T63" fmla="*/ 32 h 142"/>
                <a:gd name="T64" fmla="*/ 126 w 141"/>
                <a:gd name="T65" fmla="*/ 39 h 142"/>
                <a:gd name="T66" fmla="*/ 137 w 141"/>
                <a:gd name="T67" fmla="*/ 47 h 142"/>
                <a:gd name="T68" fmla="*/ 133 w 141"/>
                <a:gd name="T69" fmla="*/ 55 h 142"/>
                <a:gd name="T70" fmla="*/ 134 w 141"/>
                <a:gd name="T71" fmla="*/ 62 h 142"/>
                <a:gd name="T72" fmla="*/ 141 w 141"/>
                <a:gd name="T73" fmla="*/ 71 h 142"/>
                <a:gd name="T74" fmla="*/ 134 w 141"/>
                <a:gd name="T75" fmla="*/ 80 h 142"/>
                <a:gd name="T76" fmla="*/ 133 w 141"/>
                <a:gd name="T77" fmla="*/ 87 h 142"/>
                <a:gd name="T78" fmla="*/ 137 w 141"/>
                <a:gd name="T79" fmla="*/ 95 h 142"/>
                <a:gd name="T80" fmla="*/ 126 w 141"/>
                <a:gd name="T81" fmla="*/ 103 h 142"/>
                <a:gd name="T82" fmla="*/ 122 w 141"/>
                <a:gd name="T83" fmla="*/ 110 h 142"/>
                <a:gd name="T84" fmla="*/ 122 w 141"/>
                <a:gd name="T85" fmla="*/ 119 h 142"/>
                <a:gd name="T86" fmla="*/ 109 w 141"/>
                <a:gd name="T87" fmla="*/ 122 h 142"/>
                <a:gd name="T88" fmla="*/ 103 w 141"/>
                <a:gd name="T89" fmla="*/ 126 h 142"/>
                <a:gd name="T90" fmla="*/ 100 w 141"/>
                <a:gd name="T91" fmla="*/ 135 h 142"/>
                <a:gd name="T92" fmla="*/ 87 w 141"/>
                <a:gd name="T93" fmla="*/ 133 h 142"/>
                <a:gd name="T94" fmla="*/ 79 w 141"/>
                <a:gd name="T95" fmla="*/ 135 h 142"/>
                <a:gd name="T96" fmla="*/ 73 w 141"/>
                <a:gd name="T9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 h="142">
                  <a:moveTo>
                    <a:pt x="70" y="142"/>
                  </a:moveTo>
                  <a:cubicBezTo>
                    <a:pt x="69" y="142"/>
                    <a:pt x="68" y="142"/>
                    <a:pt x="67" y="142"/>
                  </a:cubicBezTo>
                  <a:cubicBezTo>
                    <a:pt x="67" y="135"/>
                    <a:pt x="67" y="135"/>
                    <a:pt x="67" y="135"/>
                  </a:cubicBezTo>
                  <a:cubicBezTo>
                    <a:pt x="66" y="135"/>
                    <a:pt x="66" y="135"/>
                    <a:pt x="66" y="135"/>
                  </a:cubicBezTo>
                  <a:cubicBezTo>
                    <a:pt x="65" y="135"/>
                    <a:pt x="63" y="135"/>
                    <a:pt x="62" y="135"/>
                  </a:cubicBezTo>
                  <a:cubicBezTo>
                    <a:pt x="61" y="135"/>
                    <a:pt x="61" y="135"/>
                    <a:pt x="61" y="135"/>
                  </a:cubicBezTo>
                  <a:cubicBezTo>
                    <a:pt x="60" y="141"/>
                    <a:pt x="60" y="141"/>
                    <a:pt x="60" y="141"/>
                  </a:cubicBezTo>
                  <a:cubicBezTo>
                    <a:pt x="58" y="141"/>
                    <a:pt x="56" y="140"/>
                    <a:pt x="54" y="140"/>
                  </a:cubicBezTo>
                  <a:cubicBezTo>
                    <a:pt x="54" y="133"/>
                    <a:pt x="54" y="133"/>
                    <a:pt x="54" y="133"/>
                  </a:cubicBezTo>
                  <a:cubicBezTo>
                    <a:pt x="54" y="133"/>
                    <a:pt x="54" y="133"/>
                    <a:pt x="54" y="133"/>
                  </a:cubicBezTo>
                  <a:cubicBezTo>
                    <a:pt x="52" y="133"/>
                    <a:pt x="51" y="132"/>
                    <a:pt x="50" y="132"/>
                  </a:cubicBezTo>
                  <a:cubicBezTo>
                    <a:pt x="49" y="132"/>
                    <a:pt x="49" y="132"/>
                    <a:pt x="49" y="132"/>
                  </a:cubicBezTo>
                  <a:cubicBezTo>
                    <a:pt x="46" y="137"/>
                    <a:pt x="46" y="137"/>
                    <a:pt x="46" y="137"/>
                  </a:cubicBezTo>
                  <a:cubicBezTo>
                    <a:pt x="44" y="137"/>
                    <a:pt x="42" y="136"/>
                    <a:pt x="41" y="135"/>
                  </a:cubicBezTo>
                  <a:cubicBezTo>
                    <a:pt x="42" y="129"/>
                    <a:pt x="42" y="129"/>
                    <a:pt x="42" y="129"/>
                  </a:cubicBezTo>
                  <a:cubicBezTo>
                    <a:pt x="42" y="129"/>
                    <a:pt x="42" y="129"/>
                    <a:pt x="42" y="129"/>
                  </a:cubicBezTo>
                  <a:cubicBezTo>
                    <a:pt x="41" y="128"/>
                    <a:pt x="39" y="127"/>
                    <a:pt x="38" y="127"/>
                  </a:cubicBezTo>
                  <a:cubicBezTo>
                    <a:pt x="38" y="126"/>
                    <a:pt x="38" y="126"/>
                    <a:pt x="38" y="126"/>
                  </a:cubicBezTo>
                  <a:cubicBezTo>
                    <a:pt x="34" y="131"/>
                    <a:pt x="34" y="131"/>
                    <a:pt x="34" y="131"/>
                  </a:cubicBezTo>
                  <a:cubicBezTo>
                    <a:pt x="32" y="130"/>
                    <a:pt x="30" y="129"/>
                    <a:pt x="29" y="128"/>
                  </a:cubicBezTo>
                  <a:cubicBezTo>
                    <a:pt x="32" y="122"/>
                    <a:pt x="32" y="122"/>
                    <a:pt x="32" y="122"/>
                  </a:cubicBezTo>
                  <a:cubicBezTo>
                    <a:pt x="31" y="122"/>
                    <a:pt x="31" y="122"/>
                    <a:pt x="31" y="122"/>
                  </a:cubicBezTo>
                  <a:cubicBezTo>
                    <a:pt x="30" y="121"/>
                    <a:pt x="29" y="120"/>
                    <a:pt x="28" y="119"/>
                  </a:cubicBezTo>
                  <a:cubicBezTo>
                    <a:pt x="28" y="119"/>
                    <a:pt x="28" y="119"/>
                    <a:pt x="28" y="119"/>
                  </a:cubicBezTo>
                  <a:cubicBezTo>
                    <a:pt x="23" y="123"/>
                    <a:pt x="23" y="123"/>
                    <a:pt x="23" y="123"/>
                  </a:cubicBezTo>
                  <a:cubicBezTo>
                    <a:pt x="21" y="122"/>
                    <a:pt x="20" y="120"/>
                    <a:pt x="18" y="119"/>
                  </a:cubicBezTo>
                  <a:cubicBezTo>
                    <a:pt x="22" y="114"/>
                    <a:pt x="22" y="114"/>
                    <a:pt x="22" y="114"/>
                  </a:cubicBezTo>
                  <a:cubicBezTo>
                    <a:pt x="22" y="114"/>
                    <a:pt x="22" y="114"/>
                    <a:pt x="22" y="114"/>
                  </a:cubicBezTo>
                  <a:cubicBezTo>
                    <a:pt x="21" y="112"/>
                    <a:pt x="20" y="111"/>
                    <a:pt x="19" y="110"/>
                  </a:cubicBezTo>
                  <a:cubicBezTo>
                    <a:pt x="19" y="110"/>
                    <a:pt x="19" y="110"/>
                    <a:pt x="19" y="110"/>
                  </a:cubicBezTo>
                  <a:cubicBezTo>
                    <a:pt x="13" y="113"/>
                    <a:pt x="13" y="113"/>
                    <a:pt x="13" y="113"/>
                  </a:cubicBezTo>
                  <a:cubicBezTo>
                    <a:pt x="12" y="111"/>
                    <a:pt x="11" y="109"/>
                    <a:pt x="10" y="108"/>
                  </a:cubicBezTo>
                  <a:cubicBezTo>
                    <a:pt x="15" y="104"/>
                    <a:pt x="15" y="104"/>
                    <a:pt x="15" y="104"/>
                  </a:cubicBezTo>
                  <a:cubicBezTo>
                    <a:pt x="15" y="103"/>
                    <a:pt x="15" y="103"/>
                    <a:pt x="15" y="103"/>
                  </a:cubicBezTo>
                  <a:cubicBezTo>
                    <a:pt x="14" y="102"/>
                    <a:pt x="13" y="101"/>
                    <a:pt x="13" y="99"/>
                  </a:cubicBezTo>
                  <a:cubicBezTo>
                    <a:pt x="12" y="99"/>
                    <a:pt x="12" y="99"/>
                    <a:pt x="12" y="99"/>
                  </a:cubicBezTo>
                  <a:cubicBezTo>
                    <a:pt x="6" y="101"/>
                    <a:pt x="6" y="101"/>
                    <a:pt x="6" y="101"/>
                  </a:cubicBezTo>
                  <a:cubicBezTo>
                    <a:pt x="5" y="99"/>
                    <a:pt x="5" y="97"/>
                    <a:pt x="4" y="95"/>
                  </a:cubicBezTo>
                  <a:cubicBezTo>
                    <a:pt x="10" y="92"/>
                    <a:pt x="10" y="92"/>
                    <a:pt x="10" y="92"/>
                  </a:cubicBezTo>
                  <a:cubicBezTo>
                    <a:pt x="10" y="92"/>
                    <a:pt x="10" y="92"/>
                    <a:pt x="10" y="92"/>
                  </a:cubicBezTo>
                  <a:cubicBezTo>
                    <a:pt x="9" y="90"/>
                    <a:pt x="9" y="89"/>
                    <a:pt x="8" y="88"/>
                  </a:cubicBezTo>
                  <a:cubicBezTo>
                    <a:pt x="8" y="87"/>
                    <a:pt x="8" y="87"/>
                    <a:pt x="8" y="87"/>
                  </a:cubicBezTo>
                  <a:cubicBezTo>
                    <a:pt x="2" y="88"/>
                    <a:pt x="2" y="88"/>
                    <a:pt x="2" y="88"/>
                  </a:cubicBezTo>
                  <a:cubicBezTo>
                    <a:pt x="1" y="86"/>
                    <a:pt x="1" y="84"/>
                    <a:pt x="1" y="82"/>
                  </a:cubicBezTo>
                  <a:cubicBezTo>
                    <a:pt x="7" y="80"/>
                    <a:pt x="7" y="80"/>
                    <a:pt x="7" y="80"/>
                  </a:cubicBezTo>
                  <a:cubicBezTo>
                    <a:pt x="7" y="80"/>
                    <a:pt x="7" y="80"/>
                    <a:pt x="7" y="80"/>
                  </a:cubicBezTo>
                  <a:cubicBezTo>
                    <a:pt x="6" y="78"/>
                    <a:pt x="6" y="77"/>
                    <a:pt x="6" y="75"/>
                  </a:cubicBezTo>
                  <a:cubicBezTo>
                    <a:pt x="6" y="75"/>
                    <a:pt x="6" y="75"/>
                    <a:pt x="6" y="75"/>
                  </a:cubicBezTo>
                  <a:cubicBezTo>
                    <a:pt x="0" y="74"/>
                    <a:pt x="0" y="74"/>
                    <a:pt x="0" y="74"/>
                  </a:cubicBezTo>
                  <a:cubicBezTo>
                    <a:pt x="0" y="73"/>
                    <a:pt x="0" y="72"/>
                    <a:pt x="0" y="71"/>
                  </a:cubicBezTo>
                  <a:cubicBezTo>
                    <a:pt x="0" y="70"/>
                    <a:pt x="0" y="69"/>
                    <a:pt x="0" y="68"/>
                  </a:cubicBezTo>
                  <a:cubicBezTo>
                    <a:pt x="6" y="67"/>
                    <a:pt x="6" y="67"/>
                    <a:pt x="6" y="67"/>
                  </a:cubicBezTo>
                  <a:cubicBezTo>
                    <a:pt x="6" y="67"/>
                    <a:pt x="6" y="67"/>
                    <a:pt x="6" y="67"/>
                  </a:cubicBezTo>
                  <a:cubicBezTo>
                    <a:pt x="6" y="65"/>
                    <a:pt x="6" y="64"/>
                    <a:pt x="7" y="62"/>
                  </a:cubicBezTo>
                  <a:cubicBezTo>
                    <a:pt x="7" y="62"/>
                    <a:pt x="7" y="62"/>
                    <a:pt x="7" y="62"/>
                  </a:cubicBezTo>
                  <a:cubicBezTo>
                    <a:pt x="1" y="60"/>
                    <a:pt x="1" y="60"/>
                    <a:pt x="1" y="60"/>
                  </a:cubicBezTo>
                  <a:cubicBezTo>
                    <a:pt x="1" y="58"/>
                    <a:pt x="1" y="56"/>
                    <a:pt x="2" y="54"/>
                  </a:cubicBezTo>
                  <a:cubicBezTo>
                    <a:pt x="8" y="55"/>
                    <a:pt x="8" y="55"/>
                    <a:pt x="8" y="55"/>
                  </a:cubicBezTo>
                  <a:cubicBezTo>
                    <a:pt x="8" y="54"/>
                    <a:pt x="8" y="54"/>
                    <a:pt x="8" y="54"/>
                  </a:cubicBezTo>
                  <a:cubicBezTo>
                    <a:pt x="9" y="53"/>
                    <a:pt x="9" y="52"/>
                    <a:pt x="10" y="50"/>
                  </a:cubicBezTo>
                  <a:cubicBezTo>
                    <a:pt x="10" y="50"/>
                    <a:pt x="10" y="50"/>
                    <a:pt x="10" y="50"/>
                  </a:cubicBezTo>
                  <a:cubicBezTo>
                    <a:pt x="4" y="47"/>
                    <a:pt x="4" y="47"/>
                    <a:pt x="4" y="47"/>
                  </a:cubicBezTo>
                  <a:cubicBezTo>
                    <a:pt x="5" y="45"/>
                    <a:pt x="5" y="43"/>
                    <a:pt x="6" y="41"/>
                  </a:cubicBezTo>
                  <a:cubicBezTo>
                    <a:pt x="12" y="43"/>
                    <a:pt x="12" y="43"/>
                    <a:pt x="12" y="43"/>
                  </a:cubicBezTo>
                  <a:cubicBezTo>
                    <a:pt x="13" y="43"/>
                    <a:pt x="13" y="43"/>
                    <a:pt x="13" y="43"/>
                  </a:cubicBezTo>
                  <a:cubicBezTo>
                    <a:pt x="13" y="41"/>
                    <a:pt x="14" y="40"/>
                    <a:pt x="15" y="39"/>
                  </a:cubicBezTo>
                  <a:cubicBezTo>
                    <a:pt x="15" y="38"/>
                    <a:pt x="15" y="38"/>
                    <a:pt x="15" y="38"/>
                  </a:cubicBezTo>
                  <a:cubicBezTo>
                    <a:pt x="10" y="34"/>
                    <a:pt x="10" y="34"/>
                    <a:pt x="10" y="34"/>
                  </a:cubicBezTo>
                  <a:cubicBezTo>
                    <a:pt x="11" y="33"/>
                    <a:pt x="12" y="31"/>
                    <a:pt x="13" y="29"/>
                  </a:cubicBezTo>
                  <a:cubicBezTo>
                    <a:pt x="19" y="32"/>
                    <a:pt x="19" y="32"/>
                    <a:pt x="19" y="32"/>
                  </a:cubicBezTo>
                  <a:cubicBezTo>
                    <a:pt x="19" y="32"/>
                    <a:pt x="19" y="32"/>
                    <a:pt x="19" y="32"/>
                  </a:cubicBezTo>
                  <a:cubicBezTo>
                    <a:pt x="20" y="31"/>
                    <a:pt x="21" y="30"/>
                    <a:pt x="22" y="29"/>
                  </a:cubicBezTo>
                  <a:cubicBezTo>
                    <a:pt x="22" y="28"/>
                    <a:pt x="22" y="28"/>
                    <a:pt x="22" y="28"/>
                  </a:cubicBezTo>
                  <a:cubicBezTo>
                    <a:pt x="18" y="23"/>
                    <a:pt x="18" y="23"/>
                    <a:pt x="18" y="23"/>
                  </a:cubicBezTo>
                  <a:cubicBezTo>
                    <a:pt x="20" y="22"/>
                    <a:pt x="21" y="20"/>
                    <a:pt x="23" y="19"/>
                  </a:cubicBezTo>
                  <a:cubicBezTo>
                    <a:pt x="28" y="23"/>
                    <a:pt x="28" y="23"/>
                    <a:pt x="28" y="23"/>
                  </a:cubicBezTo>
                  <a:cubicBezTo>
                    <a:pt x="28" y="23"/>
                    <a:pt x="28" y="23"/>
                    <a:pt x="28" y="23"/>
                  </a:cubicBezTo>
                  <a:cubicBezTo>
                    <a:pt x="29" y="22"/>
                    <a:pt x="30" y="21"/>
                    <a:pt x="31" y="20"/>
                  </a:cubicBezTo>
                  <a:cubicBezTo>
                    <a:pt x="32" y="20"/>
                    <a:pt x="32" y="20"/>
                    <a:pt x="32" y="20"/>
                  </a:cubicBezTo>
                  <a:cubicBezTo>
                    <a:pt x="29" y="14"/>
                    <a:pt x="29" y="14"/>
                    <a:pt x="29" y="14"/>
                  </a:cubicBezTo>
                  <a:cubicBezTo>
                    <a:pt x="30" y="13"/>
                    <a:pt x="32" y="12"/>
                    <a:pt x="34" y="11"/>
                  </a:cubicBezTo>
                  <a:cubicBezTo>
                    <a:pt x="38" y="16"/>
                    <a:pt x="38" y="16"/>
                    <a:pt x="38" y="16"/>
                  </a:cubicBezTo>
                  <a:cubicBezTo>
                    <a:pt x="38" y="15"/>
                    <a:pt x="38" y="15"/>
                    <a:pt x="38" y="15"/>
                  </a:cubicBezTo>
                  <a:cubicBezTo>
                    <a:pt x="39" y="15"/>
                    <a:pt x="41" y="14"/>
                    <a:pt x="42" y="13"/>
                  </a:cubicBezTo>
                  <a:cubicBezTo>
                    <a:pt x="42" y="13"/>
                    <a:pt x="42" y="13"/>
                    <a:pt x="42" y="13"/>
                  </a:cubicBezTo>
                  <a:cubicBezTo>
                    <a:pt x="41" y="7"/>
                    <a:pt x="41" y="7"/>
                    <a:pt x="41" y="7"/>
                  </a:cubicBezTo>
                  <a:cubicBezTo>
                    <a:pt x="42" y="6"/>
                    <a:pt x="44" y="5"/>
                    <a:pt x="46" y="5"/>
                  </a:cubicBezTo>
                  <a:cubicBezTo>
                    <a:pt x="49" y="10"/>
                    <a:pt x="49" y="10"/>
                    <a:pt x="49" y="10"/>
                  </a:cubicBezTo>
                  <a:cubicBezTo>
                    <a:pt x="50" y="10"/>
                    <a:pt x="50" y="10"/>
                    <a:pt x="50" y="10"/>
                  </a:cubicBezTo>
                  <a:cubicBezTo>
                    <a:pt x="51" y="10"/>
                    <a:pt x="52" y="9"/>
                    <a:pt x="54" y="9"/>
                  </a:cubicBezTo>
                  <a:cubicBezTo>
                    <a:pt x="54" y="9"/>
                    <a:pt x="54" y="9"/>
                    <a:pt x="54" y="9"/>
                  </a:cubicBezTo>
                  <a:cubicBezTo>
                    <a:pt x="54" y="2"/>
                    <a:pt x="54" y="2"/>
                    <a:pt x="54" y="2"/>
                  </a:cubicBezTo>
                  <a:cubicBezTo>
                    <a:pt x="56" y="2"/>
                    <a:pt x="58" y="1"/>
                    <a:pt x="60" y="1"/>
                  </a:cubicBezTo>
                  <a:cubicBezTo>
                    <a:pt x="61" y="7"/>
                    <a:pt x="61" y="7"/>
                    <a:pt x="61" y="7"/>
                  </a:cubicBezTo>
                  <a:cubicBezTo>
                    <a:pt x="62" y="7"/>
                    <a:pt x="62" y="7"/>
                    <a:pt x="62" y="7"/>
                  </a:cubicBezTo>
                  <a:cubicBezTo>
                    <a:pt x="63" y="7"/>
                    <a:pt x="65" y="7"/>
                    <a:pt x="66" y="7"/>
                  </a:cubicBezTo>
                  <a:cubicBezTo>
                    <a:pt x="67" y="7"/>
                    <a:pt x="67" y="7"/>
                    <a:pt x="67" y="7"/>
                  </a:cubicBezTo>
                  <a:cubicBezTo>
                    <a:pt x="67" y="0"/>
                    <a:pt x="67" y="0"/>
                    <a:pt x="67" y="0"/>
                  </a:cubicBezTo>
                  <a:cubicBezTo>
                    <a:pt x="68" y="0"/>
                    <a:pt x="69" y="0"/>
                    <a:pt x="70" y="0"/>
                  </a:cubicBezTo>
                  <a:cubicBezTo>
                    <a:pt x="71" y="0"/>
                    <a:pt x="72" y="0"/>
                    <a:pt x="73" y="0"/>
                  </a:cubicBezTo>
                  <a:cubicBezTo>
                    <a:pt x="74" y="7"/>
                    <a:pt x="74" y="7"/>
                    <a:pt x="74" y="7"/>
                  </a:cubicBezTo>
                  <a:cubicBezTo>
                    <a:pt x="74" y="7"/>
                    <a:pt x="74" y="7"/>
                    <a:pt x="74" y="7"/>
                  </a:cubicBezTo>
                  <a:cubicBezTo>
                    <a:pt x="76" y="7"/>
                    <a:pt x="77" y="7"/>
                    <a:pt x="79" y="7"/>
                  </a:cubicBezTo>
                  <a:cubicBezTo>
                    <a:pt x="79" y="7"/>
                    <a:pt x="79" y="7"/>
                    <a:pt x="79" y="7"/>
                  </a:cubicBezTo>
                  <a:cubicBezTo>
                    <a:pt x="81" y="1"/>
                    <a:pt x="81" y="1"/>
                    <a:pt x="81" y="1"/>
                  </a:cubicBezTo>
                  <a:cubicBezTo>
                    <a:pt x="83" y="1"/>
                    <a:pt x="85" y="2"/>
                    <a:pt x="87" y="2"/>
                  </a:cubicBezTo>
                  <a:cubicBezTo>
                    <a:pt x="87" y="9"/>
                    <a:pt x="87" y="9"/>
                    <a:pt x="87" y="9"/>
                  </a:cubicBezTo>
                  <a:cubicBezTo>
                    <a:pt x="87" y="9"/>
                    <a:pt x="87" y="9"/>
                    <a:pt x="87" y="9"/>
                  </a:cubicBezTo>
                  <a:cubicBezTo>
                    <a:pt x="88" y="9"/>
                    <a:pt x="90" y="10"/>
                    <a:pt x="91" y="10"/>
                  </a:cubicBezTo>
                  <a:cubicBezTo>
                    <a:pt x="92" y="10"/>
                    <a:pt x="92" y="10"/>
                    <a:pt x="92" y="10"/>
                  </a:cubicBezTo>
                  <a:cubicBezTo>
                    <a:pt x="95" y="5"/>
                    <a:pt x="95" y="5"/>
                    <a:pt x="95" y="5"/>
                  </a:cubicBezTo>
                  <a:cubicBezTo>
                    <a:pt x="96" y="5"/>
                    <a:pt x="98" y="6"/>
                    <a:pt x="100" y="7"/>
                  </a:cubicBezTo>
                  <a:cubicBezTo>
                    <a:pt x="98" y="13"/>
                    <a:pt x="98" y="13"/>
                    <a:pt x="98" y="13"/>
                  </a:cubicBezTo>
                  <a:cubicBezTo>
                    <a:pt x="99" y="13"/>
                    <a:pt x="99" y="13"/>
                    <a:pt x="99" y="13"/>
                  </a:cubicBezTo>
                  <a:cubicBezTo>
                    <a:pt x="100" y="14"/>
                    <a:pt x="101" y="15"/>
                    <a:pt x="103" y="15"/>
                  </a:cubicBezTo>
                  <a:cubicBezTo>
                    <a:pt x="103" y="16"/>
                    <a:pt x="103" y="16"/>
                    <a:pt x="103" y="16"/>
                  </a:cubicBezTo>
                  <a:cubicBezTo>
                    <a:pt x="107" y="11"/>
                    <a:pt x="107" y="11"/>
                    <a:pt x="107" y="11"/>
                  </a:cubicBezTo>
                  <a:cubicBezTo>
                    <a:pt x="109" y="12"/>
                    <a:pt x="111" y="13"/>
                    <a:pt x="112" y="14"/>
                  </a:cubicBezTo>
                  <a:cubicBezTo>
                    <a:pt x="109" y="20"/>
                    <a:pt x="109" y="20"/>
                    <a:pt x="109" y="20"/>
                  </a:cubicBezTo>
                  <a:cubicBezTo>
                    <a:pt x="109" y="20"/>
                    <a:pt x="109" y="20"/>
                    <a:pt x="109" y="20"/>
                  </a:cubicBezTo>
                  <a:cubicBezTo>
                    <a:pt x="111" y="21"/>
                    <a:pt x="112" y="22"/>
                    <a:pt x="113" y="23"/>
                  </a:cubicBezTo>
                  <a:cubicBezTo>
                    <a:pt x="113" y="23"/>
                    <a:pt x="113" y="23"/>
                    <a:pt x="113" y="23"/>
                  </a:cubicBezTo>
                  <a:cubicBezTo>
                    <a:pt x="118" y="19"/>
                    <a:pt x="118" y="19"/>
                    <a:pt x="118" y="19"/>
                  </a:cubicBezTo>
                  <a:cubicBezTo>
                    <a:pt x="120" y="20"/>
                    <a:pt x="121" y="22"/>
                    <a:pt x="122" y="23"/>
                  </a:cubicBezTo>
                  <a:cubicBezTo>
                    <a:pt x="118" y="28"/>
                    <a:pt x="118" y="28"/>
                    <a:pt x="118" y="28"/>
                  </a:cubicBezTo>
                  <a:cubicBezTo>
                    <a:pt x="119" y="29"/>
                    <a:pt x="119" y="29"/>
                    <a:pt x="119" y="29"/>
                  </a:cubicBezTo>
                  <a:cubicBezTo>
                    <a:pt x="120" y="30"/>
                    <a:pt x="121" y="31"/>
                    <a:pt x="121" y="32"/>
                  </a:cubicBezTo>
                  <a:cubicBezTo>
                    <a:pt x="122" y="32"/>
                    <a:pt x="122" y="32"/>
                    <a:pt x="122" y="32"/>
                  </a:cubicBezTo>
                  <a:cubicBezTo>
                    <a:pt x="127" y="29"/>
                    <a:pt x="127" y="29"/>
                    <a:pt x="127" y="29"/>
                  </a:cubicBezTo>
                  <a:cubicBezTo>
                    <a:pt x="129" y="31"/>
                    <a:pt x="130" y="33"/>
                    <a:pt x="131" y="34"/>
                  </a:cubicBezTo>
                  <a:cubicBezTo>
                    <a:pt x="126" y="38"/>
                    <a:pt x="126" y="38"/>
                    <a:pt x="126" y="38"/>
                  </a:cubicBezTo>
                  <a:cubicBezTo>
                    <a:pt x="126" y="39"/>
                    <a:pt x="126" y="39"/>
                    <a:pt x="126" y="39"/>
                  </a:cubicBezTo>
                  <a:cubicBezTo>
                    <a:pt x="127" y="40"/>
                    <a:pt x="128" y="41"/>
                    <a:pt x="128" y="43"/>
                  </a:cubicBezTo>
                  <a:cubicBezTo>
                    <a:pt x="128" y="43"/>
                    <a:pt x="128" y="43"/>
                    <a:pt x="128" y="43"/>
                  </a:cubicBezTo>
                  <a:cubicBezTo>
                    <a:pt x="134" y="41"/>
                    <a:pt x="134" y="41"/>
                    <a:pt x="134" y="41"/>
                  </a:cubicBezTo>
                  <a:cubicBezTo>
                    <a:pt x="135" y="43"/>
                    <a:pt x="136" y="45"/>
                    <a:pt x="137" y="47"/>
                  </a:cubicBezTo>
                  <a:cubicBezTo>
                    <a:pt x="131" y="50"/>
                    <a:pt x="131" y="50"/>
                    <a:pt x="131" y="50"/>
                  </a:cubicBezTo>
                  <a:cubicBezTo>
                    <a:pt x="131" y="50"/>
                    <a:pt x="131" y="50"/>
                    <a:pt x="131" y="50"/>
                  </a:cubicBezTo>
                  <a:cubicBezTo>
                    <a:pt x="132" y="52"/>
                    <a:pt x="132" y="53"/>
                    <a:pt x="133" y="54"/>
                  </a:cubicBezTo>
                  <a:cubicBezTo>
                    <a:pt x="133" y="55"/>
                    <a:pt x="133" y="55"/>
                    <a:pt x="133" y="55"/>
                  </a:cubicBezTo>
                  <a:cubicBezTo>
                    <a:pt x="139" y="54"/>
                    <a:pt x="139" y="54"/>
                    <a:pt x="139" y="54"/>
                  </a:cubicBezTo>
                  <a:cubicBezTo>
                    <a:pt x="140" y="56"/>
                    <a:pt x="140" y="58"/>
                    <a:pt x="140" y="60"/>
                  </a:cubicBezTo>
                  <a:cubicBezTo>
                    <a:pt x="134" y="62"/>
                    <a:pt x="134" y="62"/>
                    <a:pt x="134" y="62"/>
                  </a:cubicBezTo>
                  <a:cubicBezTo>
                    <a:pt x="134" y="62"/>
                    <a:pt x="134" y="62"/>
                    <a:pt x="134" y="62"/>
                  </a:cubicBezTo>
                  <a:cubicBezTo>
                    <a:pt x="134" y="64"/>
                    <a:pt x="134" y="65"/>
                    <a:pt x="135" y="67"/>
                  </a:cubicBezTo>
                  <a:cubicBezTo>
                    <a:pt x="135" y="67"/>
                    <a:pt x="135" y="67"/>
                    <a:pt x="135" y="67"/>
                  </a:cubicBezTo>
                  <a:cubicBezTo>
                    <a:pt x="141" y="68"/>
                    <a:pt x="141" y="68"/>
                    <a:pt x="141" y="68"/>
                  </a:cubicBezTo>
                  <a:cubicBezTo>
                    <a:pt x="141" y="69"/>
                    <a:pt x="141" y="70"/>
                    <a:pt x="141" y="71"/>
                  </a:cubicBezTo>
                  <a:cubicBezTo>
                    <a:pt x="141" y="72"/>
                    <a:pt x="141" y="73"/>
                    <a:pt x="141" y="74"/>
                  </a:cubicBezTo>
                  <a:cubicBezTo>
                    <a:pt x="135" y="75"/>
                    <a:pt x="135" y="75"/>
                    <a:pt x="135" y="75"/>
                  </a:cubicBezTo>
                  <a:cubicBezTo>
                    <a:pt x="135" y="75"/>
                    <a:pt x="135" y="75"/>
                    <a:pt x="135" y="75"/>
                  </a:cubicBezTo>
                  <a:cubicBezTo>
                    <a:pt x="134" y="77"/>
                    <a:pt x="134" y="78"/>
                    <a:pt x="134" y="80"/>
                  </a:cubicBezTo>
                  <a:cubicBezTo>
                    <a:pt x="134" y="80"/>
                    <a:pt x="134" y="80"/>
                    <a:pt x="134" y="80"/>
                  </a:cubicBezTo>
                  <a:cubicBezTo>
                    <a:pt x="140" y="82"/>
                    <a:pt x="140" y="82"/>
                    <a:pt x="140" y="82"/>
                  </a:cubicBezTo>
                  <a:cubicBezTo>
                    <a:pt x="140" y="84"/>
                    <a:pt x="140" y="86"/>
                    <a:pt x="139" y="88"/>
                  </a:cubicBezTo>
                  <a:cubicBezTo>
                    <a:pt x="133" y="87"/>
                    <a:pt x="133" y="87"/>
                    <a:pt x="133" y="87"/>
                  </a:cubicBezTo>
                  <a:cubicBezTo>
                    <a:pt x="133" y="88"/>
                    <a:pt x="133" y="88"/>
                    <a:pt x="133" y="88"/>
                  </a:cubicBezTo>
                  <a:cubicBezTo>
                    <a:pt x="132" y="89"/>
                    <a:pt x="132" y="90"/>
                    <a:pt x="131" y="92"/>
                  </a:cubicBezTo>
                  <a:cubicBezTo>
                    <a:pt x="131" y="92"/>
                    <a:pt x="131" y="92"/>
                    <a:pt x="131" y="92"/>
                  </a:cubicBezTo>
                  <a:cubicBezTo>
                    <a:pt x="137" y="95"/>
                    <a:pt x="137" y="95"/>
                    <a:pt x="137" y="95"/>
                  </a:cubicBezTo>
                  <a:cubicBezTo>
                    <a:pt x="136" y="97"/>
                    <a:pt x="135" y="99"/>
                    <a:pt x="134" y="101"/>
                  </a:cubicBezTo>
                  <a:cubicBezTo>
                    <a:pt x="128" y="99"/>
                    <a:pt x="128" y="99"/>
                    <a:pt x="128" y="99"/>
                  </a:cubicBezTo>
                  <a:cubicBezTo>
                    <a:pt x="128" y="99"/>
                    <a:pt x="128" y="99"/>
                    <a:pt x="128" y="99"/>
                  </a:cubicBezTo>
                  <a:cubicBezTo>
                    <a:pt x="128" y="101"/>
                    <a:pt x="127" y="102"/>
                    <a:pt x="126" y="103"/>
                  </a:cubicBezTo>
                  <a:cubicBezTo>
                    <a:pt x="126" y="104"/>
                    <a:pt x="126" y="104"/>
                    <a:pt x="126" y="104"/>
                  </a:cubicBezTo>
                  <a:cubicBezTo>
                    <a:pt x="131" y="108"/>
                    <a:pt x="131" y="108"/>
                    <a:pt x="131" y="108"/>
                  </a:cubicBezTo>
                  <a:cubicBezTo>
                    <a:pt x="130" y="109"/>
                    <a:pt x="129" y="111"/>
                    <a:pt x="127" y="113"/>
                  </a:cubicBezTo>
                  <a:cubicBezTo>
                    <a:pt x="122" y="110"/>
                    <a:pt x="122" y="110"/>
                    <a:pt x="122" y="110"/>
                  </a:cubicBezTo>
                  <a:cubicBezTo>
                    <a:pt x="121" y="110"/>
                    <a:pt x="121" y="110"/>
                    <a:pt x="121" y="110"/>
                  </a:cubicBezTo>
                  <a:cubicBezTo>
                    <a:pt x="121" y="111"/>
                    <a:pt x="120" y="112"/>
                    <a:pt x="119" y="114"/>
                  </a:cubicBezTo>
                  <a:cubicBezTo>
                    <a:pt x="118" y="114"/>
                    <a:pt x="118" y="114"/>
                    <a:pt x="118" y="114"/>
                  </a:cubicBezTo>
                  <a:cubicBezTo>
                    <a:pt x="122" y="119"/>
                    <a:pt x="122" y="119"/>
                    <a:pt x="122" y="119"/>
                  </a:cubicBezTo>
                  <a:cubicBezTo>
                    <a:pt x="121" y="120"/>
                    <a:pt x="120" y="122"/>
                    <a:pt x="118" y="123"/>
                  </a:cubicBezTo>
                  <a:cubicBezTo>
                    <a:pt x="113" y="119"/>
                    <a:pt x="113" y="119"/>
                    <a:pt x="113" y="119"/>
                  </a:cubicBezTo>
                  <a:cubicBezTo>
                    <a:pt x="113" y="119"/>
                    <a:pt x="113" y="119"/>
                    <a:pt x="113" y="119"/>
                  </a:cubicBezTo>
                  <a:cubicBezTo>
                    <a:pt x="112" y="120"/>
                    <a:pt x="111" y="121"/>
                    <a:pt x="109" y="122"/>
                  </a:cubicBezTo>
                  <a:cubicBezTo>
                    <a:pt x="109" y="122"/>
                    <a:pt x="109" y="122"/>
                    <a:pt x="109" y="122"/>
                  </a:cubicBezTo>
                  <a:cubicBezTo>
                    <a:pt x="112" y="128"/>
                    <a:pt x="112" y="128"/>
                    <a:pt x="112" y="128"/>
                  </a:cubicBezTo>
                  <a:cubicBezTo>
                    <a:pt x="111" y="129"/>
                    <a:pt x="109" y="130"/>
                    <a:pt x="107" y="131"/>
                  </a:cubicBezTo>
                  <a:cubicBezTo>
                    <a:pt x="103" y="126"/>
                    <a:pt x="103" y="126"/>
                    <a:pt x="103" y="126"/>
                  </a:cubicBezTo>
                  <a:cubicBezTo>
                    <a:pt x="103" y="127"/>
                    <a:pt x="103" y="127"/>
                    <a:pt x="103" y="127"/>
                  </a:cubicBezTo>
                  <a:cubicBezTo>
                    <a:pt x="101" y="127"/>
                    <a:pt x="100" y="128"/>
                    <a:pt x="99" y="129"/>
                  </a:cubicBezTo>
                  <a:cubicBezTo>
                    <a:pt x="98" y="129"/>
                    <a:pt x="98" y="129"/>
                    <a:pt x="98" y="129"/>
                  </a:cubicBezTo>
                  <a:cubicBezTo>
                    <a:pt x="100" y="135"/>
                    <a:pt x="100" y="135"/>
                    <a:pt x="100" y="135"/>
                  </a:cubicBezTo>
                  <a:cubicBezTo>
                    <a:pt x="98" y="136"/>
                    <a:pt x="96" y="137"/>
                    <a:pt x="95" y="137"/>
                  </a:cubicBezTo>
                  <a:cubicBezTo>
                    <a:pt x="92" y="132"/>
                    <a:pt x="92" y="132"/>
                    <a:pt x="92" y="132"/>
                  </a:cubicBezTo>
                  <a:cubicBezTo>
                    <a:pt x="91" y="132"/>
                    <a:pt x="91" y="132"/>
                    <a:pt x="91" y="132"/>
                  </a:cubicBezTo>
                  <a:cubicBezTo>
                    <a:pt x="90" y="132"/>
                    <a:pt x="88" y="133"/>
                    <a:pt x="87" y="133"/>
                  </a:cubicBezTo>
                  <a:cubicBezTo>
                    <a:pt x="87" y="133"/>
                    <a:pt x="87" y="133"/>
                    <a:pt x="87" y="133"/>
                  </a:cubicBezTo>
                  <a:cubicBezTo>
                    <a:pt x="87" y="140"/>
                    <a:pt x="87" y="140"/>
                    <a:pt x="87" y="140"/>
                  </a:cubicBezTo>
                  <a:cubicBezTo>
                    <a:pt x="85" y="140"/>
                    <a:pt x="83" y="141"/>
                    <a:pt x="81" y="141"/>
                  </a:cubicBezTo>
                  <a:cubicBezTo>
                    <a:pt x="79" y="135"/>
                    <a:pt x="79" y="135"/>
                    <a:pt x="79" y="135"/>
                  </a:cubicBezTo>
                  <a:cubicBezTo>
                    <a:pt x="79" y="135"/>
                    <a:pt x="79" y="135"/>
                    <a:pt x="79" y="135"/>
                  </a:cubicBezTo>
                  <a:cubicBezTo>
                    <a:pt x="77" y="135"/>
                    <a:pt x="76" y="135"/>
                    <a:pt x="74" y="135"/>
                  </a:cubicBezTo>
                  <a:cubicBezTo>
                    <a:pt x="74" y="135"/>
                    <a:pt x="74" y="135"/>
                    <a:pt x="74" y="135"/>
                  </a:cubicBezTo>
                  <a:cubicBezTo>
                    <a:pt x="73" y="142"/>
                    <a:pt x="73" y="142"/>
                    <a:pt x="73" y="142"/>
                  </a:cubicBezTo>
                  <a:cubicBezTo>
                    <a:pt x="72" y="142"/>
                    <a:pt x="71" y="142"/>
                    <a:pt x="70" y="142"/>
                  </a:cubicBezTo>
                  <a:close/>
                </a:path>
              </a:pathLst>
            </a:custGeom>
            <a:solidFill>
              <a:schemeClr val="accent3">
                <a:lumMod val="90000"/>
                <a:lumOff val="10000"/>
              </a:schemeClr>
            </a:solidFill>
            <a:ln>
              <a:noFill/>
            </a:ln>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cs typeface="Segoe UI" panose="020B0502040204020203" pitchFamily="34" charset="0"/>
              </a:endParaRPr>
            </a:p>
          </p:txBody>
        </p:sp>
        <p:sp>
          <p:nvSpPr>
            <p:cNvPr id="24" name="Freeform 11">
              <a:extLst>
                <a:ext uri="{FF2B5EF4-FFF2-40B4-BE49-F238E27FC236}">
                  <a16:creationId xmlns:a16="http://schemas.microsoft.com/office/drawing/2014/main" id="{E7ECFBC8-303B-4319-8511-FFAB14E8E88C}"/>
                </a:ext>
              </a:extLst>
            </p:cNvPr>
            <p:cNvSpPr>
              <a:spLocks/>
            </p:cNvSpPr>
            <p:nvPr/>
          </p:nvSpPr>
          <p:spPr bwMode="auto">
            <a:xfrm flipH="1">
              <a:off x="1672574" y="3052158"/>
              <a:ext cx="1051018" cy="1058385"/>
            </a:xfrm>
            <a:custGeom>
              <a:avLst/>
              <a:gdLst>
                <a:gd name="T0" fmla="*/ 66 w 141"/>
                <a:gd name="T1" fmla="*/ 135 h 142"/>
                <a:gd name="T2" fmla="*/ 54 w 141"/>
                <a:gd name="T3" fmla="*/ 140 h 142"/>
                <a:gd name="T4" fmla="*/ 49 w 141"/>
                <a:gd name="T5" fmla="*/ 132 h 142"/>
                <a:gd name="T6" fmla="*/ 42 w 141"/>
                <a:gd name="T7" fmla="*/ 129 h 142"/>
                <a:gd name="T8" fmla="*/ 29 w 141"/>
                <a:gd name="T9" fmla="*/ 128 h 142"/>
                <a:gd name="T10" fmla="*/ 28 w 141"/>
                <a:gd name="T11" fmla="*/ 119 h 142"/>
                <a:gd name="T12" fmla="*/ 22 w 141"/>
                <a:gd name="T13" fmla="*/ 114 h 142"/>
                <a:gd name="T14" fmla="*/ 10 w 141"/>
                <a:gd name="T15" fmla="*/ 108 h 142"/>
                <a:gd name="T16" fmla="*/ 12 w 141"/>
                <a:gd name="T17" fmla="*/ 99 h 142"/>
                <a:gd name="T18" fmla="*/ 10 w 141"/>
                <a:gd name="T19" fmla="*/ 92 h 142"/>
                <a:gd name="T20" fmla="*/ 1 w 141"/>
                <a:gd name="T21" fmla="*/ 82 h 142"/>
                <a:gd name="T22" fmla="*/ 6 w 141"/>
                <a:gd name="T23" fmla="*/ 75 h 142"/>
                <a:gd name="T24" fmla="*/ 6 w 141"/>
                <a:gd name="T25" fmla="*/ 67 h 142"/>
                <a:gd name="T26" fmla="*/ 1 w 141"/>
                <a:gd name="T27" fmla="*/ 60 h 142"/>
                <a:gd name="T28" fmla="*/ 10 w 141"/>
                <a:gd name="T29" fmla="*/ 50 h 142"/>
                <a:gd name="T30" fmla="*/ 12 w 141"/>
                <a:gd name="T31" fmla="*/ 43 h 142"/>
                <a:gd name="T32" fmla="*/ 10 w 141"/>
                <a:gd name="T33" fmla="*/ 34 h 142"/>
                <a:gd name="T34" fmla="*/ 22 w 141"/>
                <a:gd name="T35" fmla="*/ 29 h 142"/>
                <a:gd name="T36" fmla="*/ 28 w 141"/>
                <a:gd name="T37" fmla="*/ 23 h 142"/>
                <a:gd name="T38" fmla="*/ 29 w 141"/>
                <a:gd name="T39" fmla="*/ 14 h 142"/>
                <a:gd name="T40" fmla="*/ 42 w 141"/>
                <a:gd name="T41" fmla="*/ 13 h 142"/>
                <a:gd name="T42" fmla="*/ 49 w 141"/>
                <a:gd name="T43" fmla="*/ 10 h 142"/>
                <a:gd name="T44" fmla="*/ 54 w 141"/>
                <a:gd name="T45" fmla="*/ 2 h 142"/>
                <a:gd name="T46" fmla="*/ 66 w 141"/>
                <a:gd name="T47" fmla="*/ 7 h 142"/>
                <a:gd name="T48" fmla="*/ 73 w 141"/>
                <a:gd name="T49" fmla="*/ 0 h 142"/>
                <a:gd name="T50" fmla="*/ 79 w 141"/>
                <a:gd name="T51" fmla="*/ 7 h 142"/>
                <a:gd name="T52" fmla="*/ 87 w 141"/>
                <a:gd name="T53" fmla="*/ 9 h 142"/>
                <a:gd name="T54" fmla="*/ 100 w 141"/>
                <a:gd name="T55" fmla="*/ 7 h 142"/>
                <a:gd name="T56" fmla="*/ 103 w 141"/>
                <a:gd name="T57" fmla="*/ 16 h 142"/>
                <a:gd name="T58" fmla="*/ 109 w 141"/>
                <a:gd name="T59" fmla="*/ 20 h 142"/>
                <a:gd name="T60" fmla="*/ 122 w 141"/>
                <a:gd name="T61" fmla="*/ 23 h 142"/>
                <a:gd name="T62" fmla="*/ 122 w 141"/>
                <a:gd name="T63" fmla="*/ 32 h 142"/>
                <a:gd name="T64" fmla="*/ 126 w 141"/>
                <a:gd name="T65" fmla="*/ 39 h 142"/>
                <a:gd name="T66" fmla="*/ 137 w 141"/>
                <a:gd name="T67" fmla="*/ 47 h 142"/>
                <a:gd name="T68" fmla="*/ 133 w 141"/>
                <a:gd name="T69" fmla="*/ 55 h 142"/>
                <a:gd name="T70" fmla="*/ 134 w 141"/>
                <a:gd name="T71" fmla="*/ 62 h 142"/>
                <a:gd name="T72" fmla="*/ 141 w 141"/>
                <a:gd name="T73" fmla="*/ 71 h 142"/>
                <a:gd name="T74" fmla="*/ 134 w 141"/>
                <a:gd name="T75" fmla="*/ 80 h 142"/>
                <a:gd name="T76" fmla="*/ 133 w 141"/>
                <a:gd name="T77" fmla="*/ 87 h 142"/>
                <a:gd name="T78" fmla="*/ 137 w 141"/>
                <a:gd name="T79" fmla="*/ 95 h 142"/>
                <a:gd name="T80" fmla="*/ 126 w 141"/>
                <a:gd name="T81" fmla="*/ 103 h 142"/>
                <a:gd name="T82" fmla="*/ 122 w 141"/>
                <a:gd name="T83" fmla="*/ 110 h 142"/>
                <a:gd name="T84" fmla="*/ 122 w 141"/>
                <a:gd name="T85" fmla="*/ 119 h 142"/>
                <a:gd name="T86" fmla="*/ 109 w 141"/>
                <a:gd name="T87" fmla="*/ 122 h 142"/>
                <a:gd name="T88" fmla="*/ 103 w 141"/>
                <a:gd name="T89" fmla="*/ 126 h 142"/>
                <a:gd name="T90" fmla="*/ 100 w 141"/>
                <a:gd name="T91" fmla="*/ 135 h 142"/>
                <a:gd name="T92" fmla="*/ 87 w 141"/>
                <a:gd name="T93" fmla="*/ 133 h 142"/>
                <a:gd name="T94" fmla="*/ 79 w 141"/>
                <a:gd name="T95" fmla="*/ 135 h 142"/>
                <a:gd name="T96" fmla="*/ 73 w 141"/>
                <a:gd name="T9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 h="142">
                  <a:moveTo>
                    <a:pt x="70" y="142"/>
                  </a:moveTo>
                  <a:cubicBezTo>
                    <a:pt x="69" y="142"/>
                    <a:pt x="68" y="142"/>
                    <a:pt x="67" y="142"/>
                  </a:cubicBezTo>
                  <a:cubicBezTo>
                    <a:pt x="67" y="135"/>
                    <a:pt x="67" y="135"/>
                    <a:pt x="67" y="135"/>
                  </a:cubicBezTo>
                  <a:cubicBezTo>
                    <a:pt x="66" y="135"/>
                    <a:pt x="66" y="135"/>
                    <a:pt x="66" y="135"/>
                  </a:cubicBezTo>
                  <a:cubicBezTo>
                    <a:pt x="65" y="135"/>
                    <a:pt x="63" y="135"/>
                    <a:pt x="62" y="135"/>
                  </a:cubicBezTo>
                  <a:cubicBezTo>
                    <a:pt x="61" y="135"/>
                    <a:pt x="61" y="135"/>
                    <a:pt x="61" y="135"/>
                  </a:cubicBezTo>
                  <a:cubicBezTo>
                    <a:pt x="60" y="141"/>
                    <a:pt x="60" y="141"/>
                    <a:pt x="60" y="141"/>
                  </a:cubicBezTo>
                  <a:cubicBezTo>
                    <a:pt x="58" y="141"/>
                    <a:pt x="56" y="140"/>
                    <a:pt x="54" y="140"/>
                  </a:cubicBezTo>
                  <a:cubicBezTo>
                    <a:pt x="54" y="133"/>
                    <a:pt x="54" y="133"/>
                    <a:pt x="54" y="133"/>
                  </a:cubicBezTo>
                  <a:cubicBezTo>
                    <a:pt x="54" y="133"/>
                    <a:pt x="54" y="133"/>
                    <a:pt x="54" y="133"/>
                  </a:cubicBezTo>
                  <a:cubicBezTo>
                    <a:pt x="52" y="133"/>
                    <a:pt x="51" y="132"/>
                    <a:pt x="50" y="132"/>
                  </a:cubicBezTo>
                  <a:cubicBezTo>
                    <a:pt x="49" y="132"/>
                    <a:pt x="49" y="132"/>
                    <a:pt x="49" y="132"/>
                  </a:cubicBezTo>
                  <a:cubicBezTo>
                    <a:pt x="46" y="137"/>
                    <a:pt x="46" y="137"/>
                    <a:pt x="46" y="137"/>
                  </a:cubicBezTo>
                  <a:cubicBezTo>
                    <a:pt x="44" y="137"/>
                    <a:pt x="42" y="136"/>
                    <a:pt x="41" y="135"/>
                  </a:cubicBezTo>
                  <a:cubicBezTo>
                    <a:pt x="42" y="129"/>
                    <a:pt x="42" y="129"/>
                    <a:pt x="42" y="129"/>
                  </a:cubicBezTo>
                  <a:cubicBezTo>
                    <a:pt x="42" y="129"/>
                    <a:pt x="42" y="129"/>
                    <a:pt x="42" y="129"/>
                  </a:cubicBezTo>
                  <a:cubicBezTo>
                    <a:pt x="41" y="128"/>
                    <a:pt x="39" y="127"/>
                    <a:pt x="38" y="127"/>
                  </a:cubicBezTo>
                  <a:cubicBezTo>
                    <a:pt x="38" y="126"/>
                    <a:pt x="38" y="126"/>
                    <a:pt x="38" y="126"/>
                  </a:cubicBezTo>
                  <a:cubicBezTo>
                    <a:pt x="34" y="131"/>
                    <a:pt x="34" y="131"/>
                    <a:pt x="34" y="131"/>
                  </a:cubicBezTo>
                  <a:cubicBezTo>
                    <a:pt x="32" y="130"/>
                    <a:pt x="30" y="129"/>
                    <a:pt x="29" y="128"/>
                  </a:cubicBezTo>
                  <a:cubicBezTo>
                    <a:pt x="32" y="122"/>
                    <a:pt x="32" y="122"/>
                    <a:pt x="32" y="122"/>
                  </a:cubicBezTo>
                  <a:cubicBezTo>
                    <a:pt x="31" y="122"/>
                    <a:pt x="31" y="122"/>
                    <a:pt x="31" y="122"/>
                  </a:cubicBezTo>
                  <a:cubicBezTo>
                    <a:pt x="30" y="121"/>
                    <a:pt x="29" y="120"/>
                    <a:pt x="28" y="119"/>
                  </a:cubicBezTo>
                  <a:cubicBezTo>
                    <a:pt x="28" y="119"/>
                    <a:pt x="28" y="119"/>
                    <a:pt x="28" y="119"/>
                  </a:cubicBezTo>
                  <a:cubicBezTo>
                    <a:pt x="23" y="123"/>
                    <a:pt x="23" y="123"/>
                    <a:pt x="23" y="123"/>
                  </a:cubicBezTo>
                  <a:cubicBezTo>
                    <a:pt x="21" y="122"/>
                    <a:pt x="20" y="120"/>
                    <a:pt x="18" y="119"/>
                  </a:cubicBezTo>
                  <a:cubicBezTo>
                    <a:pt x="22" y="114"/>
                    <a:pt x="22" y="114"/>
                    <a:pt x="22" y="114"/>
                  </a:cubicBezTo>
                  <a:cubicBezTo>
                    <a:pt x="22" y="114"/>
                    <a:pt x="22" y="114"/>
                    <a:pt x="22" y="114"/>
                  </a:cubicBezTo>
                  <a:cubicBezTo>
                    <a:pt x="21" y="112"/>
                    <a:pt x="20" y="111"/>
                    <a:pt x="19" y="110"/>
                  </a:cubicBezTo>
                  <a:cubicBezTo>
                    <a:pt x="19" y="110"/>
                    <a:pt x="19" y="110"/>
                    <a:pt x="19" y="110"/>
                  </a:cubicBezTo>
                  <a:cubicBezTo>
                    <a:pt x="13" y="113"/>
                    <a:pt x="13" y="113"/>
                    <a:pt x="13" y="113"/>
                  </a:cubicBezTo>
                  <a:cubicBezTo>
                    <a:pt x="12" y="111"/>
                    <a:pt x="11" y="109"/>
                    <a:pt x="10" y="108"/>
                  </a:cubicBezTo>
                  <a:cubicBezTo>
                    <a:pt x="15" y="104"/>
                    <a:pt x="15" y="104"/>
                    <a:pt x="15" y="104"/>
                  </a:cubicBezTo>
                  <a:cubicBezTo>
                    <a:pt x="15" y="103"/>
                    <a:pt x="15" y="103"/>
                    <a:pt x="15" y="103"/>
                  </a:cubicBezTo>
                  <a:cubicBezTo>
                    <a:pt x="14" y="102"/>
                    <a:pt x="13" y="101"/>
                    <a:pt x="13" y="99"/>
                  </a:cubicBezTo>
                  <a:cubicBezTo>
                    <a:pt x="12" y="99"/>
                    <a:pt x="12" y="99"/>
                    <a:pt x="12" y="99"/>
                  </a:cubicBezTo>
                  <a:cubicBezTo>
                    <a:pt x="6" y="101"/>
                    <a:pt x="6" y="101"/>
                    <a:pt x="6" y="101"/>
                  </a:cubicBezTo>
                  <a:cubicBezTo>
                    <a:pt x="5" y="99"/>
                    <a:pt x="5" y="97"/>
                    <a:pt x="4" y="95"/>
                  </a:cubicBezTo>
                  <a:cubicBezTo>
                    <a:pt x="10" y="92"/>
                    <a:pt x="10" y="92"/>
                    <a:pt x="10" y="92"/>
                  </a:cubicBezTo>
                  <a:cubicBezTo>
                    <a:pt x="10" y="92"/>
                    <a:pt x="10" y="92"/>
                    <a:pt x="10" y="92"/>
                  </a:cubicBezTo>
                  <a:cubicBezTo>
                    <a:pt x="9" y="90"/>
                    <a:pt x="9" y="89"/>
                    <a:pt x="8" y="88"/>
                  </a:cubicBezTo>
                  <a:cubicBezTo>
                    <a:pt x="8" y="87"/>
                    <a:pt x="8" y="87"/>
                    <a:pt x="8" y="87"/>
                  </a:cubicBezTo>
                  <a:cubicBezTo>
                    <a:pt x="2" y="88"/>
                    <a:pt x="2" y="88"/>
                    <a:pt x="2" y="88"/>
                  </a:cubicBezTo>
                  <a:cubicBezTo>
                    <a:pt x="1" y="86"/>
                    <a:pt x="1" y="84"/>
                    <a:pt x="1" y="82"/>
                  </a:cubicBezTo>
                  <a:cubicBezTo>
                    <a:pt x="7" y="80"/>
                    <a:pt x="7" y="80"/>
                    <a:pt x="7" y="80"/>
                  </a:cubicBezTo>
                  <a:cubicBezTo>
                    <a:pt x="7" y="80"/>
                    <a:pt x="7" y="80"/>
                    <a:pt x="7" y="80"/>
                  </a:cubicBezTo>
                  <a:cubicBezTo>
                    <a:pt x="6" y="78"/>
                    <a:pt x="6" y="77"/>
                    <a:pt x="6" y="75"/>
                  </a:cubicBezTo>
                  <a:cubicBezTo>
                    <a:pt x="6" y="75"/>
                    <a:pt x="6" y="75"/>
                    <a:pt x="6" y="75"/>
                  </a:cubicBezTo>
                  <a:cubicBezTo>
                    <a:pt x="0" y="74"/>
                    <a:pt x="0" y="74"/>
                    <a:pt x="0" y="74"/>
                  </a:cubicBezTo>
                  <a:cubicBezTo>
                    <a:pt x="0" y="73"/>
                    <a:pt x="0" y="72"/>
                    <a:pt x="0" y="71"/>
                  </a:cubicBezTo>
                  <a:cubicBezTo>
                    <a:pt x="0" y="70"/>
                    <a:pt x="0" y="69"/>
                    <a:pt x="0" y="68"/>
                  </a:cubicBezTo>
                  <a:cubicBezTo>
                    <a:pt x="6" y="67"/>
                    <a:pt x="6" y="67"/>
                    <a:pt x="6" y="67"/>
                  </a:cubicBezTo>
                  <a:cubicBezTo>
                    <a:pt x="6" y="67"/>
                    <a:pt x="6" y="67"/>
                    <a:pt x="6" y="67"/>
                  </a:cubicBezTo>
                  <a:cubicBezTo>
                    <a:pt x="6" y="65"/>
                    <a:pt x="6" y="64"/>
                    <a:pt x="7" y="62"/>
                  </a:cubicBezTo>
                  <a:cubicBezTo>
                    <a:pt x="7" y="62"/>
                    <a:pt x="7" y="62"/>
                    <a:pt x="7" y="62"/>
                  </a:cubicBezTo>
                  <a:cubicBezTo>
                    <a:pt x="1" y="60"/>
                    <a:pt x="1" y="60"/>
                    <a:pt x="1" y="60"/>
                  </a:cubicBezTo>
                  <a:cubicBezTo>
                    <a:pt x="1" y="58"/>
                    <a:pt x="1" y="56"/>
                    <a:pt x="2" y="54"/>
                  </a:cubicBezTo>
                  <a:cubicBezTo>
                    <a:pt x="8" y="55"/>
                    <a:pt x="8" y="55"/>
                    <a:pt x="8" y="55"/>
                  </a:cubicBezTo>
                  <a:cubicBezTo>
                    <a:pt x="8" y="54"/>
                    <a:pt x="8" y="54"/>
                    <a:pt x="8" y="54"/>
                  </a:cubicBezTo>
                  <a:cubicBezTo>
                    <a:pt x="9" y="53"/>
                    <a:pt x="9" y="52"/>
                    <a:pt x="10" y="50"/>
                  </a:cubicBezTo>
                  <a:cubicBezTo>
                    <a:pt x="10" y="50"/>
                    <a:pt x="10" y="50"/>
                    <a:pt x="10" y="50"/>
                  </a:cubicBezTo>
                  <a:cubicBezTo>
                    <a:pt x="4" y="47"/>
                    <a:pt x="4" y="47"/>
                    <a:pt x="4" y="47"/>
                  </a:cubicBezTo>
                  <a:cubicBezTo>
                    <a:pt x="5" y="45"/>
                    <a:pt x="5" y="43"/>
                    <a:pt x="6" y="41"/>
                  </a:cubicBezTo>
                  <a:cubicBezTo>
                    <a:pt x="12" y="43"/>
                    <a:pt x="12" y="43"/>
                    <a:pt x="12" y="43"/>
                  </a:cubicBezTo>
                  <a:cubicBezTo>
                    <a:pt x="13" y="43"/>
                    <a:pt x="13" y="43"/>
                    <a:pt x="13" y="43"/>
                  </a:cubicBezTo>
                  <a:cubicBezTo>
                    <a:pt x="13" y="41"/>
                    <a:pt x="14" y="40"/>
                    <a:pt x="15" y="39"/>
                  </a:cubicBezTo>
                  <a:cubicBezTo>
                    <a:pt x="15" y="38"/>
                    <a:pt x="15" y="38"/>
                    <a:pt x="15" y="38"/>
                  </a:cubicBezTo>
                  <a:cubicBezTo>
                    <a:pt x="10" y="34"/>
                    <a:pt x="10" y="34"/>
                    <a:pt x="10" y="34"/>
                  </a:cubicBezTo>
                  <a:cubicBezTo>
                    <a:pt x="11" y="33"/>
                    <a:pt x="12" y="31"/>
                    <a:pt x="13" y="29"/>
                  </a:cubicBezTo>
                  <a:cubicBezTo>
                    <a:pt x="19" y="32"/>
                    <a:pt x="19" y="32"/>
                    <a:pt x="19" y="32"/>
                  </a:cubicBezTo>
                  <a:cubicBezTo>
                    <a:pt x="19" y="32"/>
                    <a:pt x="19" y="32"/>
                    <a:pt x="19" y="32"/>
                  </a:cubicBezTo>
                  <a:cubicBezTo>
                    <a:pt x="20" y="31"/>
                    <a:pt x="21" y="30"/>
                    <a:pt x="22" y="29"/>
                  </a:cubicBezTo>
                  <a:cubicBezTo>
                    <a:pt x="22" y="28"/>
                    <a:pt x="22" y="28"/>
                    <a:pt x="22" y="28"/>
                  </a:cubicBezTo>
                  <a:cubicBezTo>
                    <a:pt x="18" y="23"/>
                    <a:pt x="18" y="23"/>
                    <a:pt x="18" y="23"/>
                  </a:cubicBezTo>
                  <a:cubicBezTo>
                    <a:pt x="20" y="22"/>
                    <a:pt x="21" y="20"/>
                    <a:pt x="23" y="19"/>
                  </a:cubicBezTo>
                  <a:cubicBezTo>
                    <a:pt x="28" y="23"/>
                    <a:pt x="28" y="23"/>
                    <a:pt x="28" y="23"/>
                  </a:cubicBezTo>
                  <a:cubicBezTo>
                    <a:pt x="28" y="23"/>
                    <a:pt x="28" y="23"/>
                    <a:pt x="28" y="23"/>
                  </a:cubicBezTo>
                  <a:cubicBezTo>
                    <a:pt x="29" y="22"/>
                    <a:pt x="30" y="21"/>
                    <a:pt x="31" y="20"/>
                  </a:cubicBezTo>
                  <a:cubicBezTo>
                    <a:pt x="32" y="20"/>
                    <a:pt x="32" y="20"/>
                    <a:pt x="32" y="20"/>
                  </a:cubicBezTo>
                  <a:cubicBezTo>
                    <a:pt x="29" y="14"/>
                    <a:pt x="29" y="14"/>
                    <a:pt x="29" y="14"/>
                  </a:cubicBezTo>
                  <a:cubicBezTo>
                    <a:pt x="30" y="13"/>
                    <a:pt x="32" y="12"/>
                    <a:pt x="34" y="11"/>
                  </a:cubicBezTo>
                  <a:cubicBezTo>
                    <a:pt x="38" y="16"/>
                    <a:pt x="38" y="16"/>
                    <a:pt x="38" y="16"/>
                  </a:cubicBezTo>
                  <a:cubicBezTo>
                    <a:pt x="38" y="15"/>
                    <a:pt x="38" y="15"/>
                    <a:pt x="38" y="15"/>
                  </a:cubicBezTo>
                  <a:cubicBezTo>
                    <a:pt x="39" y="15"/>
                    <a:pt x="41" y="14"/>
                    <a:pt x="42" y="13"/>
                  </a:cubicBezTo>
                  <a:cubicBezTo>
                    <a:pt x="42" y="13"/>
                    <a:pt x="42" y="13"/>
                    <a:pt x="42" y="13"/>
                  </a:cubicBezTo>
                  <a:cubicBezTo>
                    <a:pt x="41" y="7"/>
                    <a:pt x="41" y="7"/>
                    <a:pt x="41" y="7"/>
                  </a:cubicBezTo>
                  <a:cubicBezTo>
                    <a:pt x="42" y="6"/>
                    <a:pt x="44" y="5"/>
                    <a:pt x="46" y="5"/>
                  </a:cubicBezTo>
                  <a:cubicBezTo>
                    <a:pt x="49" y="10"/>
                    <a:pt x="49" y="10"/>
                    <a:pt x="49" y="10"/>
                  </a:cubicBezTo>
                  <a:cubicBezTo>
                    <a:pt x="50" y="10"/>
                    <a:pt x="50" y="10"/>
                    <a:pt x="50" y="10"/>
                  </a:cubicBezTo>
                  <a:cubicBezTo>
                    <a:pt x="51" y="10"/>
                    <a:pt x="52" y="9"/>
                    <a:pt x="54" y="9"/>
                  </a:cubicBezTo>
                  <a:cubicBezTo>
                    <a:pt x="54" y="9"/>
                    <a:pt x="54" y="9"/>
                    <a:pt x="54" y="9"/>
                  </a:cubicBezTo>
                  <a:cubicBezTo>
                    <a:pt x="54" y="2"/>
                    <a:pt x="54" y="2"/>
                    <a:pt x="54" y="2"/>
                  </a:cubicBezTo>
                  <a:cubicBezTo>
                    <a:pt x="56" y="2"/>
                    <a:pt x="58" y="1"/>
                    <a:pt x="60" y="1"/>
                  </a:cubicBezTo>
                  <a:cubicBezTo>
                    <a:pt x="61" y="7"/>
                    <a:pt x="61" y="7"/>
                    <a:pt x="61" y="7"/>
                  </a:cubicBezTo>
                  <a:cubicBezTo>
                    <a:pt x="62" y="7"/>
                    <a:pt x="62" y="7"/>
                    <a:pt x="62" y="7"/>
                  </a:cubicBezTo>
                  <a:cubicBezTo>
                    <a:pt x="63" y="7"/>
                    <a:pt x="65" y="7"/>
                    <a:pt x="66" y="7"/>
                  </a:cubicBezTo>
                  <a:cubicBezTo>
                    <a:pt x="67" y="7"/>
                    <a:pt x="67" y="7"/>
                    <a:pt x="67" y="7"/>
                  </a:cubicBezTo>
                  <a:cubicBezTo>
                    <a:pt x="67" y="0"/>
                    <a:pt x="67" y="0"/>
                    <a:pt x="67" y="0"/>
                  </a:cubicBezTo>
                  <a:cubicBezTo>
                    <a:pt x="68" y="0"/>
                    <a:pt x="69" y="0"/>
                    <a:pt x="70" y="0"/>
                  </a:cubicBezTo>
                  <a:cubicBezTo>
                    <a:pt x="71" y="0"/>
                    <a:pt x="72" y="0"/>
                    <a:pt x="73" y="0"/>
                  </a:cubicBezTo>
                  <a:cubicBezTo>
                    <a:pt x="74" y="7"/>
                    <a:pt x="74" y="7"/>
                    <a:pt x="74" y="7"/>
                  </a:cubicBezTo>
                  <a:cubicBezTo>
                    <a:pt x="74" y="7"/>
                    <a:pt x="74" y="7"/>
                    <a:pt x="74" y="7"/>
                  </a:cubicBezTo>
                  <a:cubicBezTo>
                    <a:pt x="76" y="7"/>
                    <a:pt x="77" y="7"/>
                    <a:pt x="79" y="7"/>
                  </a:cubicBezTo>
                  <a:cubicBezTo>
                    <a:pt x="79" y="7"/>
                    <a:pt x="79" y="7"/>
                    <a:pt x="79" y="7"/>
                  </a:cubicBezTo>
                  <a:cubicBezTo>
                    <a:pt x="81" y="1"/>
                    <a:pt x="81" y="1"/>
                    <a:pt x="81" y="1"/>
                  </a:cubicBezTo>
                  <a:cubicBezTo>
                    <a:pt x="83" y="1"/>
                    <a:pt x="85" y="2"/>
                    <a:pt x="87" y="2"/>
                  </a:cubicBezTo>
                  <a:cubicBezTo>
                    <a:pt x="87" y="9"/>
                    <a:pt x="87" y="9"/>
                    <a:pt x="87" y="9"/>
                  </a:cubicBezTo>
                  <a:cubicBezTo>
                    <a:pt x="87" y="9"/>
                    <a:pt x="87" y="9"/>
                    <a:pt x="87" y="9"/>
                  </a:cubicBezTo>
                  <a:cubicBezTo>
                    <a:pt x="88" y="9"/>
                    <a:pt x="90" y="10"/>
                    <a:pt x="91" y="10"/>
                  </a:cubicBezTo>
                  <a:cubicBezTo>
                    <a:pt x="92" y="10"/>
                    <a:pt x="92" y="10"/>
                    <a:pt x="92" y="10"/>
                  </a:cubicBezTo>
                  <a:cubicBezTo>
                    <a:pt x="95" y="5"/>
                    <a:pt x="95" y="5"/>
                    <a:pt x="95" y="5"/>
                  </a:cubicBezTo>
                  <a:cubicBezTo>
                    <a:pt x="96" y="5"/>
                    <a:pt x="98" y="6"/>
                    <a:pt x="100" y="7"/>
                  </a:cubicBezTo>
                  <a:cubicBezTo>
                    <a:pt x="98" y="13"/>
                    <a:pt x="98" y="13"/>
                    <a:pt x="98" y="13"/>
                  </a:cubicBezTo>
                  <a:cubicBezTo>
                    <a:pt x="99" y="13"/>
                    <a:pt x="99" y="13"/>
                    <a:pt x="99" y="13"/>
                  </a:cubicBezTo>
                  <a:cubicBezTo>
                    <a:pt x="100" y="14"/>
                    <a:pt x="101" y="15"/>
                    <a:pt x="103" y="15"/>
                  </a:cubicBezTo>
                  <a:cubicBezTo>
                    <a:pt x="103" y="16"/>
                    <a:pt x="103" y="16"/>
                    <a:pt x="103" y="16"/>
                  </a:cubicBezTo>
                  <a:cubicBezTo>
                    <a:pt x="107" y="11"/>
                    <a:pt x="107" y="11"/>
                    <a:pt x="107" y="11"/>
                  </a:cubicBezTo>
                  <a:cubicBezTo>
                    <a:pt x="109" y="12"/>
                    <a:pt x="111" y="13"/>
                    <a:pt x="112" y="14"/>
                  </a:cubicBezTo>
                  <a:cubicBezTo>
                    <a:pt x="109" y="20"/>
                    <a:pt x="109" y="20"/>
                    <a:pt x="109" y="20"/>
                  </a:cubicBezTo>
                  <a:cubicBezTo>
                    <a:pt x="109" y="20"/>
                    <a:pt x="109" y="20"/>
                    <a:pt x="109" y="20"/>
                  </a:cubicBezTo>
                  <a:cubicBezTo>
                    <a:pt x="111" y="21"/>
                    <a:pt x="112" y="22"/>
                    <a:pt x="113" y="23"/>
                  </a:cubicBezTo>
                  <a:cubicBezTo>
                    <a:pt x="113" y="23"/>
                    <a:pt x="113" y="23"/>
                    <a:pt x="113" y="23"/>
                  </a:cubicBezTo>
                  <a:cubicBezTo>
                    <a:pt x="118" y="19"/>
                    <a:pt x="118" y="19"/>
                    <a:pt x="118" y="19"/>
                  </a:cubicBezTo>
                  <a:cubicBezTo>
                    <a:pt x="120" y="20"/>
                    <a:pt x="121" y="22"/>
                    <a:pt x="122" y="23"/>
                  </a:cubicBezTo>
                  <a:cubicBezTo>
                    <a:pt x="118" y="28"/>
                    <a:pt x="118" y="28"/>
                    <a:pt x="118" y="28"/>
                  </a:cubicBezTo>
                  <a:cubicBezTo>
                    <a:pt x="119" y="29"/>
                    <a:pt x="119" y="29"/>
                    <a:pt x="119" y="29"/>
                  </a:cubicBezTo>
                  <a:cubicBezTo>
                    <a:pt x="120" y="30"/>
                    <a:pt x="121" y="31"/>
                    <a:pt x="121" y="32"/>
                  </a:cubicBezTo>
                  <a:cubicBezTo>
                    <a:pt x="122" y="32"/>
                    <a:pt x="122" y="32"/>
                    <a:pt x="122" y="32"/>
                  </a:cubicBezTo>
                  <a:cubicBezTo>
                    <a:pt x="127" y="29"/>
                    <a:pt x="127" y="29"/>
                    <a:pt x="127" y="29"/>
                  </a:cubicBezTo>
                  <a:cubicBezTo>
                    <a:pt x="129" y="31"/>
                    <a:pt x="130" y="33"/>
                    <a:pt x="131" y="34"/>
                  </a:cubicBezTo>
                  <a:cubicBezTo>
                    <a:pt x="126" y="38"/>
                    <a:pt x="126" y="38"/>
                    <a:pt x="126" y="38"/>
                  </a:cubicBezTo>
                  <a:cubicBezTo>
                    <a:pt x="126" y="39"/>
                    <a:pt x="126" y="39"/>
                    <a:pt x="126" y="39"/>
                  </a:cubicBezTo>
                  <a:cubicBezTo>
                    <a:pt x="127" y="40"/>
                    <a:pt x="128" y="41"/>
                    <a:pt x="128" y="43"/>
                  </a:cubicBezTo>
                  <a:cubicBezTo>
                    <a:pt x="128" y="43"/>
                    <a:pt x="128" y="43"/>
                    <a:pt x="128" y="43"/>
                  </a:cubicBezTo>
                  <a:cubicBezTo>
                    <a:pt x="134" y="41"/>
                    <a:pt x="134" y="41"/>
                    <a:pt x="134" y="41"/>
                  </a:cubicBezTo>
                  <a:cubicBezTo>
                    <a:pt x="135" y="43"/>
                    <a:pt x="136" y="45"/>
                    <a:pt x="137" y="47"/>
                  </a:cubicBezTo>
                  <a:cubicBezTo>
                    <a:pt x="131" y="50"/>
                    <a:pt x="131" y="50"/>
                    <a:pt x="131" y="50"/>
                  </a:cubicBezTo>
                  <a:cubicBezTo>
                    <a:pt x="131" y="50"/>
                    <a:pt x="131" y="50"/>
                    <a:pt x="131" y="50"/>
                  </a:cubicBezTo>
                  <a:cubicBezTo>
                    <a:pt x="132" y="52"/>
                    <a:pt x="132" y="53"/>
                    <a:pt x="133" y="54"/>
                  </a:cubicBezTo>
                  <a:cubicBezTo>
                    <a:pt x="133" y="55"/>
                    <a:pt x="133" y="55"/>
                    <a:pt x="133" y="55"/>
                  </a:cubicBezTo>
                  <a:cubicBezTo>
                    <a:pt x="139" y="54"/>
                    <a:pt x="139" y="54"/>
                    <a:pt x="139" y="54"/>
                  </a:cubicBezTo>
                  <a:cubicBezTo>
                    <a:pt x="140" y="56"/>
                    <a:pt x="140" y="58"/>
                    <a:pt x="140" y="60"/>
                  </a:cubicBezTo>
                  <a:cubicBezTo>
                    <a:pt x="134" y="62"/>
                    <a:pt x="134" y="62"/>
                    <a:pt x="134" y="62"/>
                  </a:cubicBezTo>
                  <a:cubicBezTo>
                    <a:pt x="134" y="62"/>
                    <a:pt x="134" y="62"/>
                    <a:pt x="134" y="62"/>
                  </a:cubicBezTo>
                  <a:cubicBezTo>
                    <a:pt x="134" y="64"/>
                    <a:pt x="134" y="65"/>
                    <a:pt x="135" y="67"/>
                  </a:cubicBezTo>
                  <a:cubicBezTo>
                    <a:pt x="135" y="67"/>
                    <a:pt x="135" y="67"/>
                    <a:pt x="135" y="67"/>
                  </a:cubicBezTo>
                  <a:cubicBezTo>
                    <a:pt x="141" y="68"/>
                    <a:pt x="141" y="68"/>
                    <a:pt x="141" y="68"/>
                  </a:cubicBezTo>
                  <a:cubicBezTo>
                    <a:pt x="141" y="69"/>
                    <a:pt x="141" y="70"/>
                    <a:pt x="141" y="71"/>
                  </a:cubicBezTo>
                  <a:cubicBezTo>
                    <a:pt x="141" y="72"/>
                    <a:pt x="141" y="73"/>
                    <a:pt x="141" y="74"/>
                  </a:cubicBezTo>
                  <a:cubicBezTo>
                    <a:pt x="135" y="75"/>
                    <a:pt x="135" y="75"/>
                    <a:pt x="135" y="75"/>
                  </a:cubicBezTo>
                  <a:cubicBezTo>
                    <a:pt x="135" y="75"/>
                    <a:pt x="135" y="75"/>
                    <a:pt x="135" y="75"/>
                  </a:cubicBezTo>
                  <a:cubicBezTo>
                    <a:pt x="134" y="77"/>
                    <a:pt x="134" y="78"/>
                    <a:pt x="134" y="80"/>
                  </a:cubicBezTo>
                  <a:cubicBezTo>
                    <a:pt x="134" y="80"/>
                    <a:pt x="134" y="80"/>
                    <a:pt x="134" y="80"/>
                  </a:cubicBezTo>
                  <a:cubicBezTo>
                    <a:pt x="140" y="82"/>
                    <a:pt x="140" y="82"/>
                    <a:pt x="140" y="82"/>
                  </a:cubicBezTo>
                  <a:cubicBezTo>
                    <a:pt x="140" y="84"/>
                    <a:pt x="140" y="86"/>
                    <a:pt x="139" y="88"/>
                  </a:cubicBezTo>
                  <a:cubicBezTo>
                    <a:pt x="133" y="87"/>
                    <a:pt x="133" y="87"/>
                    <a:pt x="133" y="87"/>
                  </a:cubicBezTo>
                  <a:cubicBezTo>
                    <a:pt x="133" y="88"/>
                    <a:pt x="133" y="88"/>
                    <a:pt x="133" y="88"/>
                  </a:cubicBezTo>
                  <a:cubicBezTo>
                    <a:pt x="132" y="89"/>
                    <a:pt x="132" y="90"/>
                    <a:pt x="131" y="92"/>
                  </a:cubicBezTo>
                  <a:cubicBezTo>
                    <a:pt x="131" y="92"/>
                    <a:pt x="131" y="92"/>
                    <a:pt x="131" y="92"/>
                  </a:cubicBezTo>
                  <a:cubicBezTo>
                    <a:pt x="137" y="95"/>
                    <a:pt x="137" y="95"/>
                    <a:pt x="137" y="95"/>
                  </a:cubicBezTo>
                  <a:cubicBezTo>
                    <a:pt x="136" y="97"/>
                    <a:pt x="135" y="99"/>
                    <a:pt x="134" y="101"/>
                  </a:cubicBezTo>
                  <a:cubicBezTo>
                    <a:pt x="128" y="99"/>
                    <a:pt x="128" y="99"/>
                    <a:pt x="128" y="99"/>
                  </a:cubicBezTo>
                  <a:cubicBezTo>
                    <a:pt x="128" y="99"/>
                    <a:pt x="128" y="99"/>
                    <a:pt x="128" y="99"/>
                  </a:cubicBezTo>
                  <a:cubicBezTo>
                    <a:pt x="128" y="101"/>
                    <a:pt x="127" y="102"/>
                    <a:pt x="126" y="103"/>
                  </a:cubicBezTo>
                  <a:cubicBezTo>
                    <a:pt x="126" y="104"/>
                    <a:pt x="126" y="104"/>
                    <a:pt x="126" y="104"/>
                  </a:cubicBezTo>
                  <a:cubicBezTo>
                    <a:pt x="131" y="108"/>
                    <a:pt x="131" y="108"/>
                    <a:pt x="131" y="108"/>
                  </a:cubicBezTo>
                  <a:cubicBezTo>
                    <a:pt x="130" y="109"/>
                    <a:pt x="129" y="111"/>
                    <a:pt x="127" y="113"/>
                  </a:cubicBezTo>
                  <a:cubicBezTo>
                    <a:pt x="122" y="110"/>
                    <a:pt x="122" y="110"/>
                    <a:pt x="122" y="110"/>
                  </a:cubicBezTo>
                  <a:cubicBezTo>
                    <a:pt x="121" y="110"/>
                    <a:pt x="121" y="110"/>
                    <a:pt x="121" y="110"/>
                  </a:cubicBezTo>
                  <a:cubicBezTo>
                    <a:pt x="121" y="111"/>
                    <a:pt x="120" y="112"/>
                    <a:pt x="119" y="114"/>
                  </a:cubicBezTo>
                  <a:cubicBezTo>
                    <a:pt x="118" y="114"/>
                    <a:pt x="118" y="114"/>
                    <a:pt x="118" y="114"/>
                  </a:cubicBezTo>
                  <a:cubicBezTo>
                    <a:pt x="122" y="119"/>
                    <a:pt x="122" y="119"/>
                    <a:pt x="122" y="119"/>
                  </a:cubicBezTo>
                  <a:cubicBezTo>
                    <a:pt x="121" y="120"/>
                    <a:pt x="120" y="122"/>
                    <a:pt x="118" y="123"/>
                  </a:cubicBezTo>
                  <a:cubicBezTo>
                    <a:pt x="113" y="119"/>
                    <a:pt x="113" y="119"/>
                    <a:pt x="113" y="119"/>
                  </a:cubicBezTo>
                  <a:cubicBezTo>
                    <a:pt x="113" y="119"/>
                    <a:pt x="113" y="119"/>
                    <a:pt x="113" y="119"/>
                  </a:cubicBezTo>
                  <a:cubicBezTo>
                    <a:pt x="112" y="120"/>
                    <a:pt x="111" y="121"/>
                    <a:pt x="109" y="122"/>
                  </a:cubicBezTo>
                  <a:cubicBezTo>
                    <a:pt x="109" y="122"/>
                    <a:pt x="109" y="122"/>
                    <a:pt x="109" y="122"/>
                  </a:cubicBezTo>
                  <a:cubicBezTo>
                    <a:pt x="112" y="128"/>
                    <a:pt x="112" y="128"/>
                    <a:pt x="112" y="128"/>
                  </a:cubicBezTo>
                  <a:cubicBezTo>
                    <a:pt x="111" y="129"/>
                    <a:pt x="109" y="130"/>
                    <a:pt x="107" y="131"/>
                  </a:cubicBezTo>
                  <a:cubicBezTo>
                    <a:pt x="103" y="126"/>
                    <a:pt x="103" y="126"/>
                    <a:pt x="103" y="126"/>
                  </a:cubicBezTo>
                  <a:cubicBezTo>
                    <a:pt x="103" y="127"/>
                    <a:pt x="103" y="127"/>
                    <a:pt x="103" y="127"/>
                  </a:cubicBezTo>
                  <a:cubicBezTo>
                    <a:pt x="101" y="127"/>
                    <a:pt x="100" y="128"/>
                    <a:pt x="99" y="129"/>
                  </a:cubicBezTo>
                  <a:cubicBezTo>
                    <a:pt x="98" y="129"/>
                    <a:pt x="98" y="129"/>
                    <a:pt x="98" y="129"/>
                  </a:cubicBezTo>
                  <a:cubicBezTo>
                    <a:pt x="100" y="135"/>
                    <a:pt x="100" y="135"/>
                    <a:pt x="100" y="135"/>
                  </a:cubicBezTo>
                  <a:cubicBezTo>
                    <a:pt x="98" y="136"/>
                    <a:pt x="96" y="137"/>
                    <a:pt x="95" y="137"/>
                  </a:cubicBezTo>
                  <a:cubicBezTo>
                    <a:pt x="92" y="132"/>
                    <a:pt x="92" y="132"/>
                    <a:pt x="92" y="132"/>
                  </a:cubicBezTo>
                  <a:cubicBezTo>
                    <a:pt x="91" y="132"/>
                    <a:pt x="91" y="132"/>
                    <a:pt x="91" y="132"/>
                  </a:cubicBezTo>
                  <a:cubicBezTo>
                    <a:pt x="90" y="132"/>
                    <a:pt x="88" y="133"/>
                    <a:pt x="87" y="133"/>
                  </a:cubicBezTo>
                  <a:cubicBezTo>
                    <a:pt x="87" y="133"/>
                    <a:pt x="87" y="133"/>
                    <a:pt x="87" y="133"/>
                  </a:cubicBezTo>
                  <a:cubicBezTo>
                    <a:pt x="87" y="140"/>
                    <a:pt x="87" y="140"/>
                    <a:pt x="87" y="140"/>
                  </a:cubicBezTo>
                  <a:cubicBezTo>
                    <a:pt x="85" y="140"/>
                    <a:pt x="83" y="141"/>
                    <a:pt x="81" y="141"/>
                  </a:cubicBezTo>
                  <a:cubicBezTo>
                    <a:pt x="79" y="135"/>
                    <a:pt x="79" y="135"/>
                    <a:pt x="79" y="135"/>
                  </a:cubicBezTo>
                  <a:cubicBezTo>
                    <a:pt x="79" y="135"/>
                    <a:pt x="79" y="135"/>
                    <a:pt x="79" y="135"/>
                  </a:cubicBezTo>
                  <a:cubicBezTo>
                    <a:pt x="77" y="135"/>
                    <a:pt x="76" y="135"/>
                    <a:pt x="74" y="135"/>
                  </a:cubicBezTo>
                  <a:cubicBezTo>
                    <a:pt x="74" y="135"/>
                    <a:pt x="74" y="135"/>
                    <a:pt x="74" y="135"/>
                  </a:cubicBezTo>
                  <a:cubicBezTo>
                    <a:pt x="73" y="142"/>
                    <a:pt x="73" y="142"/>
                    <a:pt x="73" y="142"/>
                  </a:cubicBezTo>
                  <a:cubicBezTo>
                    <a:pt x="72" y="142"/>
                    <a:pt x="71" y="142"/>
                    <a:pt x="70" y="142"/>
                  </a:cubicBezTo>
                  <a:close/>
                </a:path>
              </a:pathLst>
            </a:custGeom>
            <a:solidFill>
              <a:schemeClr val="accent2"/>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cs typeface="Segoe UI" panose="020B0502040204020203" pitchFamily="34" charset="0"/>
              </a:endParaRPr>
            </a:p>
          </p:txBody>
        </p:sp>
        <p:sp>
          <p:nvSpPr>
            <p:cNvPr id="25" name="Freeform 12">
              <a:extLst>
                <a:ext uri="{FF2B5EF4-FFF2-40B4-BE49-F238E27FC236}">
                  <a16:creationId xmlns:a16="http://schemas.microsoft.com/office/drawing/2014/main" id="{8AAA3A5D-5B6C-4FF4-8072-1F10F07A1E82}"/>
                </a:ext>
              </a:extLst>
            </p:cNvPr>
            <p:cNvSpPr>
              <a:spLocks/>
            </p:cNvSpPr>
            <p:nvPr/>
          </p:nvSpPr>
          <p:spPr bwMode="auto">
            <a:xfrm flipH="1">
              <a:off x="1586468" y="1786536"/>
              <a:ext cx="1137124" cy="1145097"/>
            </a:xfrm>
            <a:custGeom>
              <a:avLst/>
              <a:gdLst>
                <a:gd name="T0" fmla="*/ 66 w 141"/>
                <a:gd name="T1" fmla="*/ 135 h 142"/>
                <a:gd name="T2" fmla="*/ 54 w 141"/>
                <a:gd name="T3" fmla="*/ 140 h 142"/>
                <a:gd name="T4" fmla="*/ 49 w 141"/>
                <a:gd name="T5" fmla="*/ 132 h 142"/>
                <a:gd name="T6" fmla="*/ 42 w 141"/>
                <a:gd name="T7" fmla="*/ 129 h 142"/>
                <a:gd name="T8" fmla="*/ 29 w 141"/>
                <a:gd name="T9" fmla="*/ 128 h 142"/>
                <a:gd name="T10" fmla="*/ 28 w 141"/>
                <a:gd name="T11" fmla="*/ 119 h 142"/>
                <a:gd name="T12" fmla="*/ 22 w 141"/>
                <a:gd name="T13" fmla="*/ 114 h 142"/>
                <a:gd name="T14" fmla="*/ 10 w 141"/>
                <a:gd name="T15" fmla="*/ 108 h 142"/>
                <a:gd name="T16" fmla="*/ 12 w 141"/>
                <a:gd name="T17" fmla="*/ 99 h 142"/>
                <a:gd name="T18" fmla="*/ 10 w 141"/>
                <a:gd name="T19" fmla="*/ 92 h 142"/>
                <a:gd name="T20" fmla="*/ 1 w 141"/>
                <a:gd name="T21" fmla="*/ 82 h 142"/>
                <a:gd name="T22" fmla="*/ 6 w 141"/>
                <a:gd name="T23" fmla="*/ 75 h 142"/>
                <a:gd name="T24" fmla="*/ 6 w 141"/>
                <a:gd name="T25" fmla="*/ 67 h 142"/>
                <a:gd name="T26" fmla="*/ 1 w 141"/>
                <a:gd name="T27" fmla="*/ 60 h 142"/>
                <a:gd name="T28" fmla="*/ 10 w 141"/>
                <a:gd name="T29" fmla="*/ 50 h 142"/>
                <a:gd name="T30" fmla="*/ 12 w 141"/>
                <a:gd name="T31" fmla="*/ 43 h 142"/>
                <a:gd name="T32" fmla="*/ 10 w 141"/>
                <a:gd name="T33" fmla="*/ 34 h 142"/>
                <a:gd name="T34" fmla="*/ 22 w 141"/>
                <a:gd name="T35" fmla="*/ 29 h 142"/>
                <a:gd name="T36" fmla="*/ 28 w 141"/>
                <a:gd name="T37" fmla="*/ 23 h 142"/>
                <a:gd name="T38" fmla="*/ 29 w 141"/>
                <a:gd name="T39" fmla="*/ 14 h 142"/>
                <a:gd name="T40" fmla="*/ 42 w 141"/>
                <a:gd name="T41" fmla="*/ 13 h 142"/>
                <a:gd name="T42" fmla="*/ 49 w 141"/>
                <a:gd name="T43" fmla="*/ 10 h 142"/>
                <a:gd name="T44" fmla="*/ 54 w 141"/>
                <a:gd name="T45" fmla="*/ 2 h 142"/>
                <a:gd name="T46" fmla="*/ 66 w 141"/>
                <a:gd name="T47" fmla="*/ 7 h 142"/>
                <a:gd name="T48" fmla="*/ 73 w 141"/>
                <a:gd name="T49" fmla="*/ 0 h 142"/>
                <a:gd name="T50" fmla="*/ 79 w 141"/>
                <a:gd name="T51" fmla="*/ 7 h 142"/>
                <a:gd name="T52" fmla="*/ 87 w 141"/>
                <a:gd name="T53" fmla="*/ 9 h 142"/>
                <a:gd name="T54" fmla="*/ 100 w 141"/>
                <a:gd name="T55" fmla="*/ 7 h 142"/>
                <a:gd name="T56" fmla="*/ 103 w 141"/>
                <a:gd name="T57" fmla="*/ 16 h 142"/>
                <a:gd name="T58" fmla="*/ 109 w 141"/>
                <a:gd name="T59" fmla="*/ 20 h 142"/>
                <a:gd name="T60" fmla="*/ 122 w 141"/>
                <a:gd name="T61" fmla="*/ 23 h 142"/>
                <a:gd name="T62" fmla="*/ 122 w 141"/>
                <a:gd name="T63" fmla="*/ 32 h 142"/>
                <a:gd name="T64" fmla="*/ 126 w 141"/>
                <a:gd name="T65" fmla="*/ 39 h 142"/>
                <a:gd name="T66" fmla="*/ 137 w 141"/>
                <a:gd name="T67" fmla="*/ 47 h 142"/>
                <a:gd name="T68" fmla="*/ 133 w 141"/>
                <a:gd name="T69" fmla="*/ 55 h 142"/>
                <a:gd name="T70" fmla="*/ 134 w 141"/>
                <a:gd name="T71" fmla="*/ 62 h 142"/>
                <a:gd name="T72" fmla="*/ 141 w 141"/>
                <a:gd name="T73" fmla="*/ 71 h 142"/>
                <a:gd name="T74" fmla="*/ 134 w 141"/>
                <a:gd name="T75" fmla="*/ 80 h 142"/>
                <a:gd name="T76" fmla="*/ 133 w 141"/>
                <a:gd name="T77" fmla="*/ 87 h 142"/>
                <a:gd name="T78" fmla="*/ 137 w 141"/>
                <a:gd name="T79" fmla="*/ 95 h 142"/>
                <a:gd name="T80" fmla="*/ 126 w 141"/>
                <a:gd name="T81" fmla="*/ 103 h 142"/>
                <a:gd name="T82" fmla="*/ 122 w 141"/>
                <a:gd name="T83" fmla="*/ 110 h 142"/>
                <a:gd name="T84" fmla="*/ 122 w 141"/>
                <a:gd name="T85" fmla="*/ 119 h 142"/>
                <a:gd name="T86" fmla="*/ 109 w 141"/>
                <a:gd name="T87" fmla="*/ 122 h 142"/>
                <a:gd name="T88" fmla="*/ 103 w 141"/>
                <a:gd name="T89" fmla="*/ 126 h 142"/>
                <a:gd name="T90" fmla="*/ 100 w 141"/>
                <a:gd name="T91" fmla="*/ 135 h 142"/>
                <a:gd name="T92" fmla="*/ 87 w 141"/>
                <a:gd name="T93" fmla="*/ 133 h 142"/>
                <a:gd name="T94" fmla="*/ 79 w 141"/>
                <a:gd name="T95" fmla="*/ 135 h 142"/>
                <a:gd name="T96" fmla="*/ 73 w 141"/>
                <a:gd name="T9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 h="142">
                  <a:moveTo>
                    <a:pt x="70" y="142"/>
                  </a:moveTo>
                  <a:cubicBezTo>
                    <a:pt x="69" y="142"/>
                    <a:pt x="68" y="142"/>
                    <a:pt x="67" y="142"/>
                  </a:cubicBezTo>
                  <a:cubicBezTo>
                    <a:pt x="67" y="135"/>
                    <a:pt x="67" y="135"/>
                    <a:pt x="67" y="135"/>
                  </a:cubicBezTo>
                  <a:cubicBezTo>
                    <a:pt x="66" y="135"/>
                    <a:pt x="66" y="135"/>
                    <a:pt x="66" y="135"/>
                  </a:cubicBezTo>
                  <a:cubicBezTo>
                    <a:pt x="65" y="135"/>
                    <a:pt x="63" y="135"/>
                    <a:pt x="62" y="135"/>
                  </a:cubicBezTo>
                  <a:cubicBezTo>
                    <a:pt x="61" y="135"/>
                    <a:pt x="61" y="135"/>
                    <a:pt x="61" y="135"/>
                  </a:cubicBezTo>
                  <a:cubicBezTo>
                    <a:pt x="60" y="141"/>
                    <a:pt x="60" y="141"/>
                    <a:pt x="60" y="141"/>
                  </a:cubicBezTo>
                  <a:cubicBezTo>
                    <a:pt x="58" y="141"/>
                    <a:pt x="56" y="140"/>
                    <a:pt x="54" y="140"/>
                  </a:cubicBezTo>
                  <a:cubicBezTo>
                    <a:pt x="54" y="133"/>
                    <a:pt x="54" y="133"/>
                    <a:pt x="54" y="133"/>
                  </a:cubicBezTo>
                  <a:cubicBezTo>
                    <a:pt x="54" y="133"/>
                    <a:pt x="54" y="133"/>
                    <a:pt x="54" y="133"/>
                  </a:cubicBezTo>
                  <a:cubicBezTo>
                    <a:pt x="52" y="133"/>
                    <a:pt x="51" y="132"/>
                    <a:pt x="50" y="132"/>
                  </a:cubicBezTo>
                  <a:cubicBezTo>
                    <a:pt x="49" y="132"/>
                    <a:pt x="49" y="132"/>
                    <a:pt x="49" y="132"/>
                  </a:cubicBezTo>
                  <a:cubicBezTo>
                    <a:pt x="46" y="137"/>
                    <a:pt x="46" y="137"/>
                    <a:pt x="46" y="137"/>
                  </a:cubicBezTo>
                  <a:cubicBezTo>
                    <a:pt x="44" y="137"/>
                    <a:pt x="42" y="136"/>
                    <a:pt x="41" y="135"/>
                  </a:cubicBezTo>
                  <a:cubicBezTo>
                    <a:pt x="42" y="129"/>
                    <a:pt x="42" y="129"/>
                    <a:pt x="42" y="129"/>
                  </a:cubicBezTo>
                  <a:cubicBezTo>
                    <a:pt x="42" y="129"/>
                    <a:pt x="42" y="129"/>
                    <a:pt x="42" y="129"/>
                  </a:cubicBezTo>
                  <a:cubicBezTo>
                    <a:pt x="41" y="128"/>
                    <a:pt x="39" y="127"/>
                    <a:pt x="38" y="127"/>
                  </a:cubicBezTo>
                  <a:cubicBezTo>
                    <a:pt x="38" y="126"/>
                    <a:pt x="38" y="126"/>
                    <a:pt x="38" y="126"/>
                  </a:cubicBezTo>
                  <a:cubicBezTo>
                    <a:pt x="34" y="131"/>
                    <a:pt x="34" y="131"/>
                    <a:pt x="34" y="131"/>
                  </a:cubicBezTo>
                  <a:cubicBezTo>
                    <a:pt x="32" y="130"/>
                    <a:pt x="30" y="129"/>
                    <a:pt x="29" y="128"/>
                  </a:cubicBezTo>
                  <a:cubicBezTo>
                    <a:pt x="32" y="122"/>
                    <a:pt x="32" y="122"/>
                    <a:pt x="32" y="122"/>
                  </a:cubicBezTo>
                  <a:cubicBezTo>
                    <a:pt x="31" y="122"/>
                    <a:pt x="31" y="122"/>
                    <a:pt x="31" y="122"/>
                  </a:cubicBezTo>
                  <a:cubicBezTo>
                    <a:pt x="30" y="121"/>
                    <a:pt x="29" y="120"/>
                    <a:pt x="28" y="119"/>
                  </a:cubicBezTo>
                  <a:cubicBezTo>
                    <a:pt x="28" y="119"/>
                    <a:pt x="28" y="119"/>
                    <a:pt x="28" y="119"/>
                  </a:cubicBezTo>
                  <a:cubicBezTo>
                    <a:pt x="23" y="123"/>
                    <a:pt x="23" y="123"/>
                    <a:pt x="23" y="123"/>
                  </a:cubicBezTo>
                  <a:cubicBezTo>
                    <a:pt x="21" y="122"/>
                    <a:pt x="20" y="120"/>
                    <a:pt x="18" y="119"/>
                  </a:cubicBezTo>
                  <a:cubicBezTo>
                    <a:pt x="22" y="114"/>
                    <a:pt x="22" y="114"/>
                    <a:pt x="22" y="114"/>
                  </a:cubicBezTo>
                  <a:cubicBezTo>
                    <a:pt x="22" y="114"/>
                    <a:pt x="22" y="114"/>
                    <a:pt x="22" y="114"/>
                  </a:cubicBezTo>
                  <a:cubicBezTo>
                    <a:pt x="21" y="112"/>
                    <a:pt x="20" y="111"/>
                    <a:pt x="19" y="110"/>
                  </a:cubicBezTo>
                  <a:cubicBezTo>
                    <a:pt x="19" y="110"/>
                    <a:pt x="19" y="110"/>
                    <a:pt x="19" y="110"/>
                  </a:cubicBezTo>
                  <a:cubicBezTo>
                    <a:pt x="13" y="113"/>
                    <a:pt x="13" y="113"/>
                    <a:pt x="13" y="113"/>
                  </a:cubicBezTo>
                  <a:cubicBezTo>
                    <a:pt x="12" y="111"/>
                    <a:pt x="11" y="109"/>
                    <a:pt x="10" y="108"/>
                  </a:cubicBezTo>
                  <a:cubicBezTo>
                    <a:pt x="15" y="104"/>
                    <a:pt x="15" y="104"/>
                    <a:pt x="15" y="104"/>
                  </a:cubicBezTo>
                  <a:cubicBezTo>
                    <a:pt x="15" y="103"/>
                    <a:pt x="15" y="103"/>
                    <a:pt x="15" y="103"/>
                  </a:cubicBezTo>
                  <a:cubicBezTo>
                    <a:pt x="14" y="102"/>
                    <a:pt x="13" y="101"/>
                    <a:pt x="13" y="99"/>
                  </a:cubicBezTo>
                  <a:cubicBezTo>
                    <a:pt x="12" y="99"/>
                    <a:pt x="12" y="99"/>
                    <a:pt x="12" y="99"/>
                  </a:cubicBezTo>
                  <a:cubicBezTo>
                    <a:pt x="6" y="101"/>
                    <a:pt x="6" y="101"/>
                    <a:pt x="6" y="101"/>
                  </a:cubicBezTo>
                  <a:cubicBezTo>
                    <a:pt x="5" y="99"/>
                    <a:pt x="5" y="97"/>
                    <a:pt x="4" y="95"/>
                  </a:cubicBezTo>
                  <a:cubicBezTo>
                    <a:pt x="10" y="92"/>
                    <a:pt x="10" y="92"/>
                    <a:pt x="10" y="92"/>
                  </a:cubicBezTo>
                  <a:cubicBezTo>
                    <a:pt x="10" y="92"/>
                    <a:pt x="10" y="92"/>
                    <a:pt x="10" y="92"/>
                  </a:cubicBezTo>
                  <a:cubicBezTo>
                    <a:pt x="9" y="90"/>
                    <a:pt x="9" y="89"/>
                    <a:pt x="8" y="88"/>
                  </a:cubicBezTo>
                  <a:cubicBezTo>
                    <a:pt x="8" y="87"/>
                    <a:pt x="8" y="87"/>
                    <a:pt x="8" y="87"/>
                  </a:cubicBezTo>
                  <a:cubicBezTo>
                    <a:pt x="2" y="88"/>
                    <a:pt x="2" y="88"/>
                    <a:pt x="2" y="88"/>
                  </a:cubicBezTo>
                  <a:cubicBezTo>
                    <a:pt x="1" y="86"/>
                    <a:pt x="1" y="84"/>
                    <a:pt x="1" y="82"/>
                  </a:cubicBezTo>
                  <a:cubicBezTo>
                    <a:pt x="7" y="80"/>
                    <a:pt x="7" y="80"/>
                    <a:pt x="7" y="80"/>
                  </a:cubicBezTo>
                  <a:cubicBezTo>
                    <a:pt x="7" y="80"/>
                    <a:pt x="7" y="80"/>
                    <a:pt x="7" y="80"/>
                  </a:cubicBezTo>
                  <a:cubicBezTo>
                    <a:pt x="6" y="78"/>
                    <a:pt x="6" y="77"/>
                    <a:pt x="6" y="75"/>
                  </a:cubicBezTo>
                  <a:cubicBezTo>
                    <a:pt x="6" y="75"/>
                    <a:pt x="6" y="75"/>
                    <a:pt x="6" y="75"/>
                  </a:cubicBezTo>
                  <a:cubicBezTo>
                    <a:pt x="0" y="74"/>
                    <a:pt x="0" y="74"/>
                    <a:pt x="0" y="74"/>
                  </a:cubicBezTo>
                  <a:cubicBezTo>
                    <a:pt x="0" y="73"/>
                    <a:pt x="0" y="72"/>
                    <a:pt x="0" y="71"/>
                  </a:cubicBezTo>
                  <a:cubicBezTo>
                    <a:pt x="0" y="70"/>
                    <a:pt x="0" y="69"/>
                    <a:pt x="0" y="68"/>
                  </a:cubicBezTo>
                  <a:cubicBezTo>
                    <a:pt x="6" y="67"/>
                    <a:pt x="6" y="67"/>
                    <a:pt x="6" y="67"/>
                  </a:cubicBezTo>
                  <a:cubicBezTo>
                    <a:pt x="6" y="67"/>
                    <a:pt x="6" y="67"/>
                    <a:pt x="6" y="67"/>
                  </a:cubicBezTo>
                  <a:cubicBezTo>
                    <a:pt x="6" y="65"/>
                    <a:pt x="6" y="64"/>
                    <a:pt x="7" y="62"/>
                  </a:cubicBezTo>
                  <a:cubicBezTo>
                    <a:pt x="7" y="62"/>
                    <a:pt x="7" y="62"/>
                    <a:pt x="7" y="62"/>
                  </a:cubicBezTo>
                  <a:cubicBezTo>
                    <a:pt x="1" y="60"/>
                    <a:pt x="1" y="60"/>
                    <a:pt x="1" y="60"/>
                  </a:cubicBezTo>
                  <a:cubicBezTo>
                    <a:pt x="1" y="58"/>
                    <a:pt x="1" y="56"/>
                    <a:pt x="2" y="54"/>
                  </a:cubicBezTo>
                  <a:cubicBezTo>
                    <a:pt x="8" y="55"/>
                    <a:pt x="8" y="55"/>
                    <a:pt x="8" y="55"/>
                  </a:cubicBezTo>
                  <a:cubicBezTo>
                    <a:pt x="8" y="54"/>
                    <a:pt x="8" y="54"/>
                    <a:pt x="8" y="54"/>
                  </a:cubicBezTo>
                  <a:cubicBezTo>
                    <a:pt x="9" y="53"/>
                    <a:pt x="9" y="52"/>
                    <a:pt x="10" y="50"/>
                  </a:cubicBezTo>
                  <a:cubicBezTo>
                    <a:pt x="10" y="50"/>
                    <a:pt x="10" y="50"/>
                    <a:pt x="10" y="50"/>
                  </a:cubicBezTo>
                  <a:cubicBezTo>
                    <a:pt x="4" y="47"/>
                    <a:pt x="4" y="47"/>
                    <a:pt x="4" y="47"/>
                  </a:cubicBezTo>
                  <a:cubicBezTo>
                    <a:pt x="5" y="45"/>
                    <a:pt x="5" y="43"/>
                    <a:pt x="6" y="41"/>
                  </a:cubicBezTo>
                  <a:cubicBezTo>
                    <a:pt x="12" y="43"/>
                    <a:pt x="12" y="43"/>
                    <a:pt x="12" y="43"/>
                  </a:cubicBezTo>
                  <a:cubicBezTo>
                    <a:pt x="13" y="43"/>
                    <a:pt x="13" y="43"/>
                    <a:pt x="13" y="43"/>
                  </a:cubicBezTo>
                  <a:cubicBezTo>
                    <a:pt x="13" y="41"/>
                    <a:pt x="14" y="40"/>
                    <a:pt x="15" y="39"/>
                  </a:cubicBezTo>
                  <a:cubicBezTo>
                    <a:pt x="15" y="38"/>
                    <a:pt x="15" y="38"/>
                    <a:pt x="15" y="38"/>
                  </a:cubicBezTo>
                  <a:cubicBezTo>
                    <a:pt x="10" y="34"/>
                    <a:pt x="10" y="34"/>
                    <a:pt x="10" y="34"/>
                  </a:cubicBezTo>
                  <a:cubicBezTo>
                    <a:pt x="11" y="33"/>
                    <a:pt x="12" y="31"/>
                    <a:pt x="13" y="29"/>
                  </a:cubicBezTo>
                  <a:cubicBezTo>
                    <a:pt x="19" y="32"/>
                    <a:pt x="19" y="32"/>
                    <a:pt x="19" y="32"/>
                  </a:cubicBezTo>
                  <a:cubicBezTo>
                    <a:pt x="19" y="32"/>
                    <a:pt x="19" y="32"/>
                    <a:pt x="19" y="32"/>
                  </a:cubicBezTo>
                  <a:cubicBezTo>
                    <a:pt x="20" y="31"/>
                    <a:pt x="21" y="30"/>
                    <a:pt x="22" y="29"/>
                  </a:cubicBezTo>
                  <a:cubicBezTo>
                    <a:pt x="22" y="28"/>
                    <a:pt x="22" y="28"/>
                    <a:pt x="22" y="28"/>
                  </a:cubicBezTo>
                  <a:cubicBezTo>
                    <a:pt x="18" y="23"/>
                    <a:pt x="18" y="23"/>
                    <a:pt x="18" y="23"/>
                  </a:cubicBezTo>
                  <a:cubicBezTo>
                    <a:pt x="20" y="22"/>
                    <a:pt x="21" y="20"/>
                    <a:pt x="23" y="19"/>
                  </a:cubicBezTo>
                  <a:cubicBezTo>
                    <a:pt x="28" y="23"/>
                    <a:pt x="28" y="23"/>
                    <a:pt x="28" y="23"/>
                  </a:cubicBezTo>
                  <a:cubicBezTo>
                    <a:pt x="28" y="23"/>
                    <a:pt x="28" y="23"/>
                    <a:pt x="28" y="23"/>
                  </a:cubicBezTo>
                  <a:cubicBezTo>
                    <a:pt x="29" y="22"/>
                    <a:pt x="30" y="21"/>
                    <a:pt x="31" y="20"/>
                  </a:cubicBezTo>
                  <a:cubicBezTo>
                    <a:pt x="32" y="20"/>
                    <a:pt x="32" y="20"/>
                    <a:pt x="32" y="20"/>
                  </a:cubicBezTo>
                  <a:cubicBezTo>
                    <a:pt x="29" y="14"/>
                    <a:pt x="29" y="14"/>
                    <a:pt x="29" y="14"/>
                  </a:cubicBezTo>
                  <a:cubicBezTo>
                    <a:pt x="30" y="13"/>
                    <a:pt x="32" y="12"/>
                    <a:pt x="34" y="11"/>
                  </a:cubicBezTo>
                  <a:cubicBezTo>
                    <a:pt x="38" y="16"/>
                    <a:pt x="38" y="16"/>
                    <a:pt x="38" y="16"/>
                  </a:cubicBezTo>
                  <a:cubicBezTo>
                    <a:pt x="38" y="15"/>
                    <a:pt x="38" y="15"/>
                    <a:pt x="38" y="15"/>
                  </a:cubicBezTo>
                  <a:cubicBezTo>
                    <a:pt x="39" y="15"/>
                    <a:pt x="41" y="14"/>
                    <a:pt x="42" y="13"/>
                  </a:cubicBezTo>
                  <a:cubicBezTo>
                    <a:pt x="42" y="13"/>
                    <a:pt x="42" y="13"/>
                    <a:pt x="42" y="13"/>
                  </a:cubicBezTo>
                  <a:cubicBezTo>
                    <a:pt x="41" y="7"/>
                    <a:pt x="41" y="7"/>
                    <a:pt x="41" y="7"/>
                  </a:cubicBezTo>
                  <a:cubicBezTo>
                    <a:pt x="42" y="6"/>
                    <a:pt x="44" y="5"/>
                    <a:pt x="46" y="5"/>
                  </a:cubicBezTo>
                  <a:cubicBezTo>
                    <a:pt x="49" y="10"/>
                    <a:pt x="49" y="10"/>
                    <a:pt x="49" y="10"/>
                  </a:cubicBezTo>
                  <a:cubicBezTo>
                    <a:pt x="50" y="10"/>
                    <a:pt x="50" y="10"/>
                    <a:pt x="50" y="10"/>
                  </a:cubicBezTo>
                  <a:cubicBezTo>
                    <a:pt x="51" y="10"/>
                    <a:pt x="52" y="9"/>
                    <a:pt x="54" y="9"/>
                  </a:cubicBezTo>
                  <a:cubicBezTo>
                    <a:pt x="54" y="9"/>
                    <a:pt x="54" y="9"/>
                    <a:pt x="54" y="9"/>
                  </a:cubicBezTo>
                  <a:cubicBezTo>
                    <a:pt x="54" y="2"/>
                    <a:pt x="54" y="2"/>
                    <a:pt x="54" y="2"/>
                  </a:cubicBezTo>
                  <a:cubicBezTo>
                    <a:pt x="56" y="2"/>
                    <a:pt x="58" y="1"/>
                    <a:pt x="60" y="1"/>
                  </a:cubicBezTo>
                  <a:cubicBezTo>
                    <a:pt x="61" y="7"/>
                    <a:pt x="61" y="7"/>
                    <a:pt x="61" y="7"/>
                  </a:cubicBezTo>
                  <a:cubicBezTo>
                    <a:pt x="62" y="7"/>
                    <a:pt x="62" y="7"/>
                    <a:pt x="62" y="7"/>
                  </a:cubicBezTo>
                  <a:cubicBezTo>
                    <a:pt x="63" y="7"/>
                    <a:pt x="65" y="7"/>
                    <a:pt x="66" y="7"/>
                  </a:cubicBezTo>
                  <a:cubicBezTo>
                    <a:pt x="67" y="7"/>
                    <a:pt x="67" y="7"/>
                    <a:pt x="67" y="7"/>
                  </a:cubicBezTo>
                  <a:cubicBezTo>
                    <a:pt x="67" y="0"/>
                    <a:pt x="67" y="0"/>
                    <a:pt x="67" y="0"/>
                  </a:cubicBezTo>
                  <a:cubicBezTo>
                    <a:pt x="68" y="0"/>
                    <a:pt x="69" y="0"/>
                    <a:pt x="70" y="0"/>
                  </a:cubicBezTo>
                  <a:cubicBezTo>
                    <a:pt x="71" y="0"/>
                    <a:pt x="72" y="0"/>
                    <a:pt x="73" y="0"/>
                  </a:cubicBezTo>
                  <a:cubicBezTo>
                    <a:pt x="74" y="7"/>
                    <a:pt x="74" y="7"/>
                    <a:pt x="74" y="7"/>
                  </a:cubicBezTo>
                  <a:cubicBezTo>
                    <a:pt x="74" y="7"/>
                    <a:pt x="74" y="7"/>
                    <a:pt x="74" y="7"/>
                  </a:cubicBezTo>
                  <a:cubicBezTo>
                    <a:pt x="76" y="7"/>
                    <a:pt x="77" y="7"/>
                    <a:pt x="79" y="7"/>
                  </a:cubicBezTo>
                  <a:cubicBezTo>
                    <a:pt x="79" y="7"/>
                    <a:pt x="79" y="7"/>
                    <a:pt x="79" y="7"/>
                  </a:cubicBezTo>
                  <a:cubicBezTo>
                    <a:pt x="81" y="1"/>
                    <a:pt x="81" y="1"/>
                    <a:pt x="81" y="1"/>
                  </a:cubicBezTo>
                  <a:cubicBezTo>
                    <a:pt x="83" y="1"/>
                    <a:pt x="85" y="2"/>
                    <a:pt x="87" y="2"/>
                  </a:cubicBezTo>
                  <a:cubicBezTo>
                    <a:pt x="87" y="9"/>
                    <a:pt x="87" y="9"/>
                    <a:pt x="87" y="9"/>
                  </a:cubicBezTo>
                  <a:cubicBezTo>
                    <a:pt x="87" y="9"/>
                    <a:pt x="87" y="9"/>
                    <a:pt x="87" y="9"/>
                  </a:cubicBezTo>
                  <a:cubicBezTo>
                    <a:pt x="88" y="9"/>
                    <a:pt x="90" y="10"/>
                    <a:pt x="91" y="10"/>
                  </a:cubicBezTo>
                  <a:cubicBezTo>
                    <a:pt x="92" y="10"/>
                    <a:pt x="92" y="10"/>
                    <a:pt x="92" y="10"/>
                  </a:cubicBezTo>
                  <a:cubicBezTo>
                    <a:pt x="95" y="5"/>
                    <a:pt x="95" y="5"/>
                    <a:pt x="95" y="5"/>
                  </a:cubicBezTo>
                  <a:cubicBezTo>
                    <a:pt x="96" y="5"/>
                    <a:pt x="98" y="6"/>
                    <a:pt x="100" y="7"/>
                  </a:cubicBezTo>
                  <a:cubicBezTo>
                    <a:pt x="98" y="13"/>
                    <a:pt x="98" y="13"/>
                    <a:pt x="98" y="13"/>
                  </a:cubicBezTo>
                  <a:cubicBezTo>
                    <a:pt x="99" y="13"/>
                    <a:pt x="99" y="13"/>
                    <a:pt x="99" y="13"/>
                  </a:cubicBezTo>
                  <a:cubicBezTo>
                    <a:pt x="100" y="14"/>
                    <a:pt x="101" y="15"/>
                    <a:pt x="103" y="15"/>
                  </a:cubicBezTo>
                  <a:cubicBezTo>
                    <a:pt x="103" y="16"/>
                    <a:pt x="103" y="16"/>
                    <a:pt x="103" y="16"/>
                  </a:cubicBezTo>
                  <a:cubicBezTo>
                    <a:pt x="107" y="11"/>
                    <a:pt x="107" y="11"/>
                    <a:pt x="107" y="11"/>
                  </a:cubicBezTo>
                  <a:cubicBezTo>
                    <a:pt x="109" y="12"/>
                    <a:pt x="111" y="13"/>
                    <a:pt x="112" y="14"/>
                  </a:cubicBezTo>
                  <a:cubicBezTo>
                    <a:pt x="109" y="20"/>
                    <a:pt x="109" y="20"/>
                    <a:pt x="109" y="20"/>
                  </a:cubicBezTo>
                  <a:cubicBezTo>
                    <a:pt x="109" y="20"/>
                    <a:pt x="109" y="20"/>
                    <a:pt x="109" y="20"/>
                  </a:cubicBezTo>
                  <a:cubicBezTo>
                    <a:pt x="111" y="21"/>
                    <a:pt x="112" y="22"/>
                    <a:pt x="113" y="23"/>
                  </a:cubicBezTo>
                  <a:cubicBezTo>
                    <a:pt x="113" y="23"/>
                    <a:pt x="113" y="23"/>
                    <a:pt x="113" y="23"/>
                  </a:cubicBezTo>
                  <a:cubicBezTo>
                    <a:pt x="118" y="19"/>
                    <a:pt x="118" y="19"/>
                    <a:pt x="118" y="19"/>
                  </a:cubicBezTo>
                  <a:cubicBezTo>
                    <a:pt x="120" y="20"/>
                    <a:pt x="121" y="22"/>
                    <a:pt x="122" y="23"/>
                  </a:cubicBezTo>
                  <a:cubicBezTo>
                    <a:pt x="118" y="28"/>
                    <a:pt x="118" y="28"/>
                    <a:pt x="118" y="28"/>
                  </a:cubicBezTo>
                  <a:cubicBezTo>
                    <a:pt x="119" y="29"/>
                    <a:pt x="119" y="29"/>
                    <a:pt x="119" y="29"/>
                  </a:cubicBezTo>
                  <a:cubicBezTo>
                    <a:pt x="120" y="30"/>
                    <a:pt x="121" y="31"/>
                    <a:pt x="121" y="32"/>
                  </a:cubicBezTo>
                  <a:cubicBezTo>
                    <a:pt x="122" y="32"/>
                    <a:pt x="122" y="32"/>
                    <a:pt x="122" y="32"/>
                  </a:cubicBezTo>
                  <a:cubicBezTo>
                    <a:pt x="127" y="29"/>
                    <a:pt x="127" y="29"/>
                    <a:pt x="127" y="29"/>
                  </a:cubicBezTo>
                  <a:cubicBezTo>
                    <a:pt x="129" y="31"/>
                    <a:pt x="130" y="33"/>
                    <a:pt x="131" y="34"/>
                  </a:cubicBezTo>
                  <a:cubicBezTo>
                    <a:pt x="126" y="38"/>
                    <a:pt x="126" y="38"/>
                    <a:pt x="126" y="38"/>
                  </a:cubicBezTo>
                  <a:cubicBezTo>
                    <a:pt x="126" y="39"/>
                    <a:pt x="126" y="39"/>
                    <a:pt x="126" y="39"/>
                  </a:cubicBezTo>
                  <a:cubicBezTo>
                    <a:pt x="127" y="40"/>
                    <a:pt x="128" y="41"/>
                    <a:pt x="128" y="43"/>
                  </a:cubicBezTo>
                  <a:cubicBezTo>
                    <a:pt x="128" y="43"/>
                    <a:pt x="128" y="43"/>
                    <a:pt x="128" y="43"/>
                  </a:cubicBezTo>
                  <a:cubicBezTo>
                    <a:pt x="134" y="41"/>
                    <a:pt x="134" y="41"/>
                    <a:pt x="134" y="41"/>
                  </a:cubicBezTo>
                  <a:cubicBezTo>
                    <a:pt x="135" y="43"/>
                    <a:pt x="136" y="45"/>
                    <a:pt x="137" y="47"/>
                  </a:cubicBezTo>
                  <a:cubicBezTo>
                    <a:pt x="131" y="50"/>
                    <a:pt x="131" y="50"/>
                    <a:pt x="131" y="50"/>
                  </a:cubicBezTo>
                  <a:cubicBezTo>
                    <a:pt x="131" y="50"/>
                    <a:pt x="131" y="50"/>
                    <a:pt x="131" y="50"/>
                  </a:cubicBezTo>
                  <a:cubicBezTo>
                    <a:pt x="132" y="52"/>
                    <a:pt x="132" y="53"/>
                    <a:pt x="133" y="54"/>
                  </a:cubicBezTo>
                  <a:cubicBezTo>
                    <a:pt x="133" y="55"/>
                    <a:pt x="133" y="55"/>
                    <a:pt x="133" y="55"/>
                  </a:cubicBezTo>
                  <a:cubicBezTo>
                    <a:pt x="139" y="54"/>
                    <a:pt x="139" y="54"/>
                    <a:pt x="139" y="54"/>
                  </a:cubicBezTo>
                  <a:cubicBezTo>
                    <a:pt x="140" y="56"/>
                    <a:pt x="140" y="58"/>
                    <a:pt x="140" y="60"/>
                  </a:cubicBezTo>
                  <a:cubicBezTo>
                    <a:pt x="134" y="62"/>
                    <a:pt x="134" y="62"/>
                    <a:pt x="134" y="62"/>
                  </a:cubicBezTo>
                  <a:cubicBezTo>
                    <a:pt x="134" y="62"/>
                    <a:pt x="134" y="62"/>
                    <a:pt x="134" y="62"/>
                  </a:cubicBezTo>
                  <a:cubicBezTo>
                    <a:pt x="134" y="64"/>
                    <a:pt x="134" y="65"/>
                    <a:pt x="135" y="67"/>
                  </a:cubicBezTo>
                  <a:cubicBezTo>
                    <a:pt x="135" y="67"/>
                    <a:pt x="135" y="67"/>
                    <a:pt x="135" y="67"/>
                  </a:cubicBezTo>
                  <a:cubicBezTo>
                    <a:pt x="141" y="68"/>
                    <a:pt x="141" y="68"/>
                    <a:pt x="141" y="68"/>
                  </a:cubicBezTo>
                  <a:cubicBezTo>
                    <a:pt x="141" y="69"/>
                    <a:pt x="141" y="70"/>
                    <a:pt x="141" y="71"/>
                  </a:cubicBezTo>
                  <a:cubicBezTo>
                    <a:pt x="141" y="72"/>
                    <a:pt x="141" y="73"/>
                    <a:pt x="141" y="74"/>
                  </a:cubicBezTo>
                  <a:cubicBezTo>
                    <a:pt x="135" y="75"/>
                    <a:pt x="135" y="75"/>
                    <a:pt x="135" y="75"/>
                  </a:cubicBezTo>
                  <a:cubicBezTo>
                    <a:pt x="135" y="75"/>
                    <a:pt x="135" y="75"/>
                    <a:pt x="135" y="75"/>
                  </a:cubicBezTo>
                  <a:cubicBezTo>
                    <a:pt x="134" y="77"/>
                    <a:pt x="134" y="78"/>
                    <a:pt x="134" y="80"/>
                  </a:cubicBezTo>
                  <a:cubicBezTo>
                    <a:pt x="134" y="80"/>
                    <a:pt x="134" y="80"/>
                    <a:pt x="134" y="80"/>
                  </a:cubicBezTo>
                  <a:cubicBezTo>
                    <a:pt x="140" y="82"/>
                    <a:pt x="140" y="82"/>
                    <a:pt x="140" y="82"/>
                  </a:cubicBezTo>
                  <a:cubicBezTo>
                    <a:pt x="140" y="84"/>
                    <a:pt x="140" y="86"/>
                    <a:pt x="139" y="88"/>
                  </a:cubicBezTo>
                  <a:cubicBezTo>
                    <a:pt x="133" y="87"/>
                    <a:pt x="133" y="87"/>
                    <a:pt x="133" y="87"/>
                  </a:cubicBezTo>
                  <a:cubicBezTo>
                    <a:pt x="133" y="88"/>
                    <a:pt x="133" y="88"/>
                    <a:pt x="133" y="88"/>
                  </a:cubicBezTo>
                  <a:cubicBezTo>
                    <a:pt x="132" y="89"/>
                    <a:pt x="132" y="90"/>
                    <a:pt x="131" y="92"/>
                  </a:cubicBezTo>
                  <a:cubicBezTo>
                    <a:pt x="131" y="92"/>
                    <a:pt x="131" y="92"/>
                    <a:pt x="131" y="92"/>
                  </a:cubicBezTo>
                  <a:cubicBezTo>
                    <a:pt x="137" y="95"/>
                    <a:pt x="137" y="95"/>
                    <a:pt x="137" y="95"/>
                  </a:cubicBezTo>
                  <a:cubicBezTo>
                    <a:pt x="136" y="97"/>
                    <a:pt x="135" y="99"/>
                    <a:pt x="134" y="101"/>
                  </a:cubicBezTo>
                  <a:cubicBezTo>
                    <a:pt x="128" y="99"/>
                    <a:pt x="128" y="99"/>
                    <a:pt x="128" y="99"/>
                  </a:cubicBezTo>
                  <a:cubicBezTo>
                    <a:pt x="128" y="99"/>
                    <a:pt x="128" y="99"/>
                    <a:pt x="128" y="99"/>
                  </a:cubicBezTo>
                  <a:cubicBezTo>
                    <a:pt x="128" y="101"/>
                    <a:pt x="127" y="102"/>
                    <a:pt x="126" y="103"/>
                  </a:cubicBezTo>
                  <a:cubicBezTo>
                    <a:pt x="126" y="104"/>
                    <a:pt x="126" y="104"/>
                    <a:pt x="126" y="104"/>
                  </a:cubicBezTo>
                  <a:cubicBezTo>
                    <a:pt x="131" y="108"/>
                    <a:pt x="131" y="108"/>
                    <a:pt x="131" y="108"/>
                  </a:cubicBezTo>
                  <a:cubicBezTo>
                    <a:pt x="130" y="109"/>
                    <a:pt x="129" y="111"/>
                    <a:pt x="127" y="113"/>
                  </a:cubicBezTo>
                  <a:cubicBezTo>
                    <a:pt x="122" y="110"/>
                    <a:pt x="122" y="110"/>
                    <a:pt x="122" y="110"/>
                  </a:cubicBezTo>
                  <a:cubicBezTo>
                    <a:pt x="121" y="110"/>
                    <a:pt x="121" y="110"/>
                    <a:pt x="121" y="110"/>
                  </a:cubicBezTo>
                  <a:cubicBezTo>
                    <a:pt x="121" y="111"/>
                    <a:pt x="120" y="112"/>
                    <a:pt x="119" y="114"/>
                  </a:cubicBezTo>
                  <a:cubicBezTo>
                    <a:pt x="118" y="114"/>
                    <a:pt x="118" y="114"/>
                    <a:pt x="118" y="114"/>
                  </a:cubicBezTo>
                  <a:cubicBezTo>
                    <a:pt x="122" y="119"/>
                    <a:pt x="122" y="119"/>
                    <a:pt x="122" y="119"/>
                  </a:cubicBezTo>
                  <a:cubicBezTo>
                    <a:pt x="121" y="120"/>
                    <a:pt x="120" y="122"/>
                    <a:pt x="118" y="123"/>
                  </a:cubicBezTo>
                  <a:cubicBezTo>
                    <a:pt x="113" y="119"/>
                    <a:pt x="113" y="119"/>
                    <a:pt x="113" y="119"/>
                  </a:cubicBezTo>
                  <a:cubicBezTo>
                    <a:pt x="113" y="119"/>
                    <a:pt x="113" y="119"/>
                    <a:pt x="113" y="119"/>
                  </a:cubicBezTo>
                  <a:cubicBezTo>
                    <a:pt x="112" y="120"/>
                    <a:pt x="111" y="121"/>
                    <a:pt x="109" y="122"/>
                  </a:cubicBezTo>
                  <a:cubicBezTo>
                    <a:pt x="109" y="122"/>
                    <a:pt x="109" y="122"/>
                    <a:pt x="109" y="122"/>
                  </a:cubicBezTo>
                  <a:cubicBezTo>
                    <a:pt x="112" y="128"/>
                    <a:pt x="112" y="128"/>
                    <a:pt x="112" y="128"/>
                  </a:cubicBezTo>
                  <a:cubicBezTo>
                    <a:pt x="111" y="129"/>
                    <a:pt x="109" y="130"/>
                    <a:pt x="107" y="131"/>
                  </a:cubicBezTo>
                  <a:cubicBezTo>
                    <a:pt x="103" y="126"/>
                    <a:pt x="103" y="126"/>
                    <a:pt x="103" y="126"/>
                  </a:cubicBezTo>
                  <a:cubicBezTo>
                    <a:pt x="103" y="127"/>
                    <a:pt x="103" y="127"/>
                    <a:pt x="103" y="127"/>
                  </a:cubicBezTo>
                  <a:cubicBezTo>
                    <a:pt x="101" y="127"/>
                    <a:pt x="100" y="128"/>
                    <a:pt x="99" y="129"/>
                  </a:cubicBezTo>
                  <a:cubicBezTo>
                    <a:pt x="98" y="129"/>
                    <a:pt x="98" y="129"/>
                    <a:pt x="98" y="129"/>
                  </a:cubicBezTo>
                  <a:cubicBezTo>
                    <a:pt x="100" y="135"/>
                    <a:pt x="100" y="135"/>
                    <a:pt x="100" y="135"/>
                  </a:cubicBezTo>
                  <a:cubicBezTo>
                    <a:pt x="98" y="136"/>
                    <a:pt x="96" y="137"/>
                    <a:pt x="95" y="137"/>
                  </a:cubicBezTo>
                  <a:cubicBezTo>
                    <a:pt x="92" y="132"/>
                    <a:pt x="92" y="132"/>
                    <a:pt x="92" y="132"/>
                  </a:cubicBezTo>
                  <a:cubicBezTo>
                    <a:pt x="91" y="132"/>
                    <a:pt x="91" y="132"/>
                    <a:pt x="91" y="132"/>
                  </a:cubicBezTo>
                  <a:cubicBezTo>
                    <a:pt x="90" y="132"/>
                    <a:pt x="88" y="133"/>
                    <a:pt x="87" y="133"/>
                  </a:cubicBezTo>
                  <a:cubicBezTo>
                    <a:pt x="87" y="133"/>
                    <a:pt x="87" y="133"/>
                    <a:pt x="87" y="133"/>
                  </a:cubicBezTo>
                  <a:cubicBezTo>
                    <a:pt x="87" y="140"/>
                    <a:pt x="87" y="140"/>
                    <a:pt x="87" y="140"/>
                  </a:cubicBezTo>
                  <a:cubicBezTo>
                    <a:pt x="85" y="140"/>
                    <a:pt x="83" y="141"/>
                    <a:pt x="81" y="141"/>
                  </a:cubicBezTo>
                  <a:cubicBezTo>
                    <a:pt x="79" y="135"/>
                    <a:pt x="79" y="135"/>
                    <a:pt x="79" y="135"/>
                  </a:cubicBezTo>
                  <a:cubicBezTo>
                    <a:pt x="79" y="135"/>
                    <a:pt x="79" y="135"/>
                    <a:pt x="79" y="135"/>
                  </a:cubicBezTo>
                  <a:cubicBezTo>
                    <a:pt x="77" y="135"/>
                    <a:pt x="76" y="135"/>
                    <a:pt x="74" y="135"/>
                  </a:cubicBezTo>
                  <a:cubicBezTo>
                    <a:pt x="74" y="135"/>
                    <a:pt x="74" y="135"/>
                    <a:pt x="74" y="135"/>
                  </a:cubicBezTo>
                  <a:cubicBezTo>
                    <a:pt x="73" y="142"/>
                    <a:pt x="73" y="142"/>
                    <a:pt x="73" y="142"/>
                  </a:cubicBezTo>
                  <a:cubicBezTo>
                    <a:pt x="72" y="142"/>
                    <a:pt x="71" y="142"/>
                    <a:pt x="70" y="142"/>
                  </a:cubicBezTo>
                  <a:close/>
                </a:path>
              </a:pathLst>
            </a:custGeom>
            <a:solidFill>
              <a:schemeClr val="accent5"/>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cs typeface="Segoe UI" panose="020B0502040204020203" pitchFamily="34" charset="0"/>
              </a:endParaRPr>
            </a:p>
          </p:txBody>
        </p:sp>
        <p:sp>
          <p:nvSpPr>
            <p:cNvPr id="27" name="Freeform 14">
              <a:extLst>
                <a:ext uri="{FF2B5EF4-FFF2-40B4-BE49-F238E27FC236}">
                  <a16:creationId xmlns:a16="http://schemas.microsoft.com/office/drawing/2014/main" id="{83F514ED-764B-4265-826D-201CFE856A9F}"/>
                </a:ext>
              </a:extLst>
            </p:cNvPr>
            <p:cNvSpPr>
              <a:spLocks/>
            </p:cNvSpPr>
            <p:nvPr/>
          </p:nvSpPr>
          <p:spPr bwMode="auto">
            <a:xfrm>
              <a:off x="1510851" y="2821557"/>
              <a:ext cx="381164" cy="383836"/>
            </a:xfrm>
            <a:custGeom>
              <a:avLst/>
              <a:gdLst>
                <a:gd name="T0" fmla="*/ 66 w 141"/>
                <a:gd name="T1" fmla="*/ 135 h 142"/>
                <a:gd name="T2" fmla="*/ 54 w 141"/>
                <a:gd name="T3" fmla="*/ 140 h 142"/>
                <a:gd name="T4" fmla="*/ 49 w 141"/>
                <a:gd name="T5" fmla="*/ 132 h 142"/>
                <a:gd name="T6" fmla="*/ 42 w 141"/>
                <a:gd name="T7" fmla="*/ 129 h 142"/>
                <a:gd name="T8" fmla="*/ 29 w 141"/>
                <a:gd name="T9" fmla="*/ 128 h 142"/>
                <a:gd name="T10" fmla="*/ 28 w 141"/>
                <a:gd name="T11" fmla="*/ 119 h 142"/>
                <a:gd name="T12" fmla="*/ 22 w 141"/>
                <a:gd name="T13" fmla="*/ 114 h 142"/>
                <a:gd name="T14" fmla="*/ 10 w 141"/>
                <a:gd name="T15" fmla="*/ 108 h 142"/>
                <a:gd name="T16" fmla="*/ 12 w 141"/>
                <a:gd name="T17" fmla="*/ 99 h 142"/>
                <a:gd name="T18" fmla="*/ 10 w 141"/>
                <a:gd name="T19" fmla="*/ 92 h 142"/>
                <a:gd name="T20" fmla="*/ 1 w 141"/>
                <a:gd name="T21" fmla="*/ 82 h 142"/>
                <a:gd name="T22" fmla="*/ 6 w 141"/>
                <a:gd name="T23" fmla="*/ 75 h 142"/>
                <a:gd name="T24" fmla="*/ 6 w 141"/>
                <a:gd name="T25" fmla="*/ 67 h 142"/>
                <a:gd name="T26" fmla="*/ 1 w 141"/>
                <a:gd name="T27" fmla="*/ 60 h 142"/>
                <a:gd name="T28" fmla="*/ 10 w 141"/>
                <a:gd name="T29" fmla="*/ 50 h 142"/>
                <a:gd name="T30" fmla="*/ 12 w 141"/>
                <a:gd name="T31" fmla="*/ 43 h 142"/>
                <a:gd name="T32" fmla="*/ 10 w 141"/>
                <a:gd name="T33" fmla="*/ 34 h 142"/>
                <a:gd name="T34" fmla="*/ 22 w 141"/>
                <a:gd name="T35" fmla="*/ 29 h 142"/>
                <a:gd name="T36" fmla="*/ 28 w 141"/>
                <a:gd name="T37" fmla="*/ 23 h 142"/>
                <a:gd name="T38" fmla="*/ 29 w 141"/>
                <a:gd name="T39" fmla="*/ 14 h 142"/>
                <a:gd name="T40" fmla="*/ 42 w 141"/>
                <a:gd name="T41" fmla="*/ 13 h 142"/>
                <a:gd name="T42" fmla="*/ 49 w 141"/>
                <a:gd name="T43" fmla="*/ 10 h 142"/>
                <a:gd name="T44" fmla="*/ 54 w 141"/>
                <a:gd name="T45" fmla="*/ 2 h 142"/>
                <a:gd name="T46" fmla="*/ 66 w 141"/>
                <a:gd name="T47" fmla="*/ 7 h 142"/>
                <a:gd name="T48" fmla="*/ 73 w 141"/>
                <a:gd name="T49" fmla="*/ 0 h 142"/>
                <a:gd name="T50" fmla="*/ 79 w 141"/>
                <a:gd name="T51" fmla="*/ 7 h 142"/>
                <a:gd name="T52" fmla="*/ 87 w 141"/>
                <a:gd name="T53" fmla="*/ 9 h 142"/>
                <a:gd name="T54" fmla="*/ 100 w 141"/>
                <a:gd name="T55" fmla="*/ 7 h 142"/>
                <a:gd name="T56" fmla="*/ 103 w 141"/>
                <a:gd name="T57" fmla="*/ 16 h 142"/>
                <a:gd name="T58" fmla="*/ 109 w 141"/>
                <a:gd name="T59" fmla="*/ 20 h 142"/>
                <a:gd name="T60" fmla="*/ 122 w 141"/>
                <a:gd name="T61" fmla="*/ 23 h 142"/>
                <a:gd name="T62" fmla="*/ 122 w 141"/>
                <a:gd name="T63" fmla="*/ 32 h 142"/>
                <a:gd name="T64" fmla="*/ 126 w 141"/>
                <a:gd name="T65" fmla="*/ 39 h 142"/>
                <a:gd name="T66" fmla="*/ 137 w 141"/>
                <a:gd name="T67" fmla="*/ 47 h 142"/>
                <a:gd name="T68" fmla="*/ 133 w 141"/>
                <a:gd name="T69" fmla="*/ 55 h 142"/>
                <a:gd name="T70" fmla="*/ 134 w 141"/>
                <a:gd name="T71" fmla="*/ 62 h 142"/>
                <a:gd name="T72" fmla="*/ 141 w 141"/>
                <a:gd name="T73" fmla="*/ 71 h 142"/>
                <a:gd name="T74" fmla="*/ 134 w 141"/>
                <a:gd name="T75" fmla="*/ 80 h 142"/>
                <a:gd name="T76" fmla="*/ 133 w 141"/>
                <a:gd name="T77" fmla="*/ 87 h 142"/>
                <a:gd name="T78" fmla="*/ 137 w 141"/>
                <a:gd name="T79" fmla="*/ 95 h 142"/>
                <a:gd name="T80" fmla="*/ 126 w 141"/>
                <a:gd name="T81" fmla="*/ 103 h 142"/>
                <a:gd name="T82" fmla="*/ 122 w 141"/>
                <a:gd name="T83" fmla="*/ 110 h 142"/>
                <a:gd name="T84" fmla="*/ 122 w 141"/>
                <a:gd name="T85" fmla="*/ 119 h 142"/>
                <a:gd name="T86" fmla="*/ 109 w 141"/>
                <a:gd name="T87" fmla="*/ 122 h 142"/>
                <a:gd name="T88" fmla="*/ 103 w 141"/>
                <a:gd name="T89" fmla="*/ 126 h 142"/>
                <a:gd name="T90" fmla="*/ 100 w 141"/>
                <a:gd name="T91" fmla="*/ 135 h 142"/>
                <a:gd name="T92" fmla="*/ 87 w 141"/>
                <a:gd name="T93" fmla="*/ 133 h 142"/>
                <a:gd name="T94" fmla="*/ 79 w 141"/>
                <a:gd name="T95" fmla="*/ 135 h 142"/>
                <a:gd name="T96" fmla="*/ 73 w 141"/>
                <a:gd name="T9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 h="142">
                  <a:moveTo>
                    <a:pt x="70" y="142"/>
                  </a:moveTo>
                  <a:cubicBezTo>
                    <a:pt x="69" y="142"/>
                    <a:pt x="68" y="142"/>
                    <a:pt x="67" y="142"/>
                  </a:cubicBezTo>
                  <a:cubicBezTo>
                    <a:pt x="67" y="135"/>
                    <a:pt x="67" y="135"/>
                    <a:pt x="67" y="135"/>
                  </a:cubicBezTo>
                  <a:cubicBezTo>
                    <a:pt x="66" y="135"/>
                    <a:pt x="66" y="135"/>
                    <a:pt x="66" y="135"/>
                  </a:cubicBezTo>
                  <a:cubicBezTo>
                    <a:pt x="65" y="135"/>
                    <a:pt x="63" y="135"/>
                    <a:pt x="62" y="135"/>
                  </a:cubicBezTo>
                  <a:cubicBezTo>
                    <a:pt x="61" y="135"/>
                    <a:pt x="61" y="135"/>
                    <a:pt x="61" y="135"/>
                  </a:cubicBezTo>
                  <a:cubicBezTo>
                    <a:pt x="60" y="141"/>
                    <a:pt x="60" y="141"/>
                    <a:pt x="60" y="141"/>
                  </a:cubicBezTo>
                  <a:cubicBezTo>
                    <a:pt x="58" y="141"/>
                    <a:pt x="56" y="140"/>
                    <a:pt x="54" y="140"/>
                  </a:cubicBezTo>
                  <a:cubicBezTo>
                    <a:pt x="54" y="133"/>
                    <a:pt x="54" y="133"/>
                    <a:pt x="54" y="133"/>
                  </a:cubicBezTo>
                  <a:cubicBezTo>
                    <a:pt x="54" y="133"/>
                    <a:pt x="54" y="133"/>
                    <a:pt x="54" y="133"/>
                  </a:cubicBezTo>
                  <a:cubicBezTo>
                    <a:pt x="52" y="133"/>
                    <a:pt x="51" y="132"/>
                    <a:pt x="50" y="132"/>
                  </a:cubicBezTo>
                  <a:cubicBezTo>
                    <a:pt x="49" y="132"/>
                    <a:pt x="49" y="132"/>
                    <a:pt x="49" y="132"/>
                  </a:cubicBezTo>
                  <a:cubicBezTo>
                    <a:pt x="46" y="137"/>
                    <a:pt x="46" y="137"/>
                    <a:pt x="46" y="137"/>
                  </a:cubicBezTo>
                  <a:cubicBezTo>
                    <a:pt x="44" y="137"/>
                    <a:pt x="42" y="136"/>
                    <a:pt x="41" y="135"/>
                  </a:cubicBezTo>
                  <a:cubicBezTo>
                    <a:pt x="42" y="129"/>
                    <a:pt x="42" y="129"/>
                    <a:pt x="42" y="129"/>
                  </a:cubicBezTo>
                  <a:cubicBezTo>
                    <a:pt x="42" y="129"/>
                    <a:pt x="42" y="129"/>
                    <a:pt x="42" y="129"/>
                  </a:cubicBezTo>
                  <a:cubicBezTo>
                    <a:pt x="41" y="128"/>
                    <a:pt x="39" y="127"/>
                    <a:pt x="38" y="127"/>
                  </a:cubicBezTo>
                  <a:cubicBezTo>
                    <a:pt x="38" y="126"/>
                    <a:pt x="38" y="126"/>
                    <a:pt x="38" y="126"/>
                  </a:cubicBezTo>
                  <a:cubicBezTo>
                    <a:pt x="34" y="131"/>
                    <a:pt x="34" y="131"/>
                    <a:pt x="34" y="131"/>
                  </a:cubicBezTo>
                  <a:cubicBezTo>
                    <a:pt x="32" y="130"/>
                    <a:pt x="30" y="129"/>
                    <a:pt x="29" y="128"/>
                  </a:cubicBezTo>
                  <a:cubicBezTo>
                    <a:pt x="32" y="122"/>
                    <a:pt x="32" y="122"/>
                    <a:pt x="32" y="122"/>
                  </a:cubicBezTo>
                  <a:cubicBezTo>
                    <a:pt x="31" y="122"/>
                    <a:pt x="31" y="122"/>
                    <a:pt x="31" y="122"/>
                  </a:cubicBezTo>
                  <a:cubicBezTo>
                    <a:pt x="30" y="121"/>
                    <a:pt x="29" y="120"/>
                    <a:pt x="28" y="119"/>
                  </a:cubicBezTo>
                  <a:cubicBezTo>
                    <a:pt x="28" y="119"/>
                    <a:pt x="28" y="119"/>
                    <a:pt x="28" y="119"/>
                  </a:cubicBezTo>
                  <a:cubicBezTo>
                    <a:pt x="23" y="123"/>
                    <a:pt x="23" y="123"/>
                    <a:pt x="23" y="123"/>
                  </a:cubicBezTo>
                  <a:cubicBezTo>
                    <a:pt x="21" y="122"/>
                    <a:pt x="20" y="120"/>
                    <a:pt x="18" y="119"/>
                  </a:cubicBezTo>
                  <a:cubicBezTo>
                    <a:pt x="22" y="114"/>
                    <a:pt x="22" y="114"/>
                    <a:pt x="22" y="114"/>
                  </a:cubicBezTo>
                  <a:cubicBezTo>
                    <a:pt x="22" y="114"/>
                    <a:pt x="22" y="114"/>
                    <a:pt x="22" y="114"/>
                  </a:cubicBezTo>
                  <a:cubicBezTo>
                    <a:pt x="21" y="112"/>
                    <a:pt x="20" y="111"/>
                    <a:pt x="19" y="110"/>
                  </a:cubicBezTo>
                  <a:cubicBezTo>
                    <a:pt x="19" y="110"/>
                    <a:pt x="19" y="110"/>
                    <a:pt x="19" y="110"/>
                  </a:cubicBezTo>
                  <a:cubicBezTo>
                    <a:pt x="13" y="113"/>
                    <a:pt x="13" y="113"/>
                    <a:pt x="13" y="113"/>
                  </a:cubicBezTo>
                  <a:cubicBezTo>
                    <a:pt x="12" y="111"/>
                    <a:pt x="11" y="109"/>
                    <a:pt x="10" y="108"/>
                  </a:cubicBezTo>
                  <a:cubicBezTo>
                    <a:pt x="15" y="104"/>
                    <a:pt x="15" y="104"/>
                    <a:pt x="15" y="104"/>
                  </a:cubicBezTo>
                  <a:cubicBezTo>
                    <a:pt x="15" y="103"/>
                    <a:pt x="15" y="103"/>
                    <a:pt x="15" y="103"/>
                  </a:cubicBezTo>
                  <a:cubicBezTo>
                    <a:pt x="14" y="102"/>
                    <a:pt x="13" y="101"/>
                    <a:pt x="13" y="99"/>
                  </a:cubicBezTo>
                  <a:cubicBezTo>
                    <a:pt x="12" y="99"/>
                    <a:pt x="12" y="99"/>
                    <a:pt x="12" y="99"/>
                  </a:cubicBezTo>
                  <a:cubicBezTo>
                    <a:pt x="6" y="101"/>
                    <a:pt x="6" y="101"/>
                    <a:pt x="6" y="101"/>
                  </a:cubicBezTo>
                  <a:cubicBezTo>
                    <a:pt x="5" y="99"/>
                    <a:pt x="5" y="97"/>
                    <a:pt x="4" y="95"/>
                  </a:cubicBezTo>
                  <a:cubicBezTo>
                    <a:pt x="10" y="92"/>
                    <a:pt x="10" y="92"/>
                    <a:pt x="10" y="92"/>
                  </a:cubicBezTo>
                  <a:cubicBezTo>
                    <a:pt x="10" y="92"/>
                    <a:pt x="10" y="92"/>
                    <a:pt x="10" y="92"/>
                  </a:cubicBezTo>
                  <a:cubicBezTo>
                    <a:pt x="9" y="90"/>
                    <a:pt x="9" y="89"/>
                    <a:pt x="8" y="88"/>
                  </a:cubicBezTo>
                  <a:cubicBezTo>
                    <a:pt x="8" y="87"/>
                    <a:pt x="8" y="87"/>
                    <a:pt x="8" y="87"/>
                  </a:cubicBezTo>
                  <a:cubicBezTo>
                    <a:pt x="2" y="88"/>
                    <a:pt x="2" y="88"/>
                    <a:pt x="2" y="88"/>
                  </a:cubicBezTo>
                  <a:cubicBezTo>
                    <a:pt x="1" y="86"/>
                    <a:pt x="1" y="84"/>
                    <a:pt x="1" y="82"/>
                  </a:cubicBezTo>
                  <a:cubicBezTo>
                    <a:pt x="7" y="80"/>
                    <a:pt x="7" y="80"/>
                    <a:pt x="7" y="80"/>
                  </a:cubicBezTo>
                  <a:cubicBezTo>
                    <a:pt x="7" y="80"/>
                    <a:pt x="7" y="80"/>
                    <a:pt x="7" y="80"/>
                  </a:cubicBezTo>
                  <a:cubicBezTo>
                    <a:pt x="6" y="78"/>
                    <a:pt x="6" y="77"/>
                    <a:pt x="6" y="75"/>
                  </a:cubicBezTo>
                  <a:cubicBezTo>
                    <a:pt x="6" y="75"/>
                    <a:pt x="6" y="75"/>
                    <a:pt x="6" y="75"/>
                  </a:cubicBezTo>
                  <a:cubicBezTo>
                    <a:pt x="0" y="74"/>
                    <a:pt x="0" y="74"/>
                    <a:pt x="0" y="74"/>
                  </a:cubicBezTo>
                  <a:cubicBezTo>
                    <a:pt x="0" y="73"/>
                    <a:pt x="0" y="72"/>
                    <a:pt x="0" y="71"/>
                  </a:cubicBezTo>
                  <a:cubicBezTo>
                    <a:pt x="0" y="70"/>
                    <a:pt x="0" y="69"/>
                    <a:pt x="0" y="68"/>
                  </a:cubicBezTo>
                  <a:cubicBezTo>
                    <a:pt x="6" y="67"/>
                    <a:pt x="6" y="67"/>
                    <a:pt x="6" y="67"/>
                  </a:cubicBezTo>
                  <a:cubicBezTo>
                    <a:pt x="6" y="67"/>
                    <a:pt x="6" y="67"/>
                    <a:pt x="6" y="67"/>
                  </a:cubicBezTo>
                  <a:cubicBezTo>
                    <a:pt x="6" y="65"/>
                    <a:pt x="6" y="64"/>
                    <a:pt x="7" y="62"/>
                  </a:cubicBezTo>
                  <a:cubicBezTo>
                    <a:pt x="7" y="62"/>
                    <a:pt x="7" y="62"/>
                    <a:pt x="7" y="62"/>
                  </a:cubicBezTo>
                  <a:cubicBezTo>
                    <a:pt x="1" y="60"/>
                    <a:pt x="1" y="60"/>
                    <a:pt x="1" y="60"/>
                  </a:cubicBezTo>
                  <a:cubicBezTo>
                    <a:pt x="1" y="58"/>
                    <a:pt x="1" y="56"/>
                    <a:pt x="2" y="54"/>
                  </a:cubicBezTo>
                  <a:cubicBezTo>
                    <a:pt x="8" y="55"/>
                    <a:pt x="8" y="55"/>
                    <a:pt x="8" y="55"/>
                  </a:cubicBezTo>
                  <a:cubicBezTo>
                    <a:pt x="8" y="54"/>
                    <a:pt x="8" y="54"/>
                    <a:pt x="8" y="54"/>
                  </a:cubicBezTo>
                  <a:cubicBezTo>
                    <a:pt x="9" y="53"/>
                    <a:pt x="9" y="52"/>
                    <a:pt x="10" y="50"/>
                  </a:cubicBezTo>
                  <a:cubicBezTo>
                    <a:pt x="10" y="50"/>
                    <a:pt x="10" y="50"/>
                    <a:pt x="10" y="50"/>
                  </a:cubicBezTo>
                  <a:cubicBezTo>
                    <a:pt x="4" y="47"/>
                    <a:pt x="4" y="47"/>
                    <a:pt x="4" y="47"/>
                  </a:cubicBezTo>
                  <a:cubicBezTo>
                    <a:pt x="5" y="45"/>
                    <a:pt x="5" y="43"/>
                    <a:pt x="6" y="41"/>
                  </a:cubicBezTo>
                  <a:cubicBezTo>
                    <a:pt x="12" y="43"/>
                    <a:pt x="12" y="43"/>
                    <a:pt x="12" y="43"/>
                  </a:cubicBezTo>
                  <a:cubicBezTo>
                    <a:pt x="13" y="43"/>
                    <a:pt x="13" y="43"/>
                    <a:pt x="13" y="43"/>
                  </a:cubicBezTo>
                  <a:cubicBezTo>
                    <a:pt x="13" y="41"/>
                    <a:pt x="14" y="40"/>
                    <a:pt x="15" y="39"/>
                  </a:cubicBezTo>
                  <a:cubicBezTo>
                    <a:pt x="15" y="38"/>
                    <a:pt x="15" y="38"/>
                    <a:pt x="15" y="38"/>
                  </a:cubicBezTo>
                  <a:cubicBezTo>
                    <a:pt x="10" y="34"/>
                    <a:pt x="10" y="34"/>
                    <a:pt x="10" y="34"/>
                  </a:cubicBezTo>
                  <a:cubicBezTo>
                    <a:pt x="11" y="33"/>
                    <a:pt x="12" y="31"/>
                    <a:pt x="13" y="29"/>
                  </a:cubicBezTo>
                  <a:cubicBezTo>
                    <a:pt x="19" y="32"/>
                    <a:pt x="19" y="32"/>
                    <a:pt x="19" y="32"/>
                  </a:cubicBezTo>
                  <a:cubicBezTo>
                    <a:pt x="19" y="32"/>
                    <a:pt x="19" y="32"/>
                    <a:pt x="19" y="32"/>
                  </a:cubicBezTo>
                  <a:cubicBezTo>
                    <a:pt x="20" y="31"/>
                    <a:pt x="21" y="30"/>
                    <a:pt x="22" y="29"/>
                  </a:cubicBezTo>
                  <a:cubicBezTo>
                    <a:pt x="22" y="28"/>
                    <a:pt x="22" y="28"/>
                    <a:pt x="22" y="28"/>
                  </a:cubicBezTo>
                  <a:cubicBezTo>
                    <a:pt x="18" y="23"/>
                    <a:pt x="18" y="23"/>
                    <a:pt x="18" y="23"/>
                  </a:cubicBezTo>
                  <a:cubicBezTo>
                    <a:pt x="20" y="22"/>
                    <a:pt x="21" y="20"/>
                    <a:pt x="23" y="19"/>
                  </a:cubicBezTo>
                  <a:cubicBezTo>
                    <a:pt x="28" y="23"/>
                    <a:pt x="28" y="23"/>
                    <a:pt x="28" y="23"/>
                  </a:cubicBezTo>
                  <a:cubicBezTo>
                    <a:pt x="28" y="23"/>
                    <a:pt x="28" y="23"/>
                    <a:pt x="28" y="23"/>
                  </a:cubicBezTo>
                  <a:cubicBezTo>
                    <a:pt x="29" y="22"/>
                    <a:pt x="30" y="21"/>
                    <a:pt x="31" y="20"/>
                  </a:cubicBezTo>
                  <a:cubicBezTo>
                    <a:pt x="32" y="20"/>
                    <a:pt x="32" y="20"/>
                    <a:pt x="32" y="20"/>
                  </a:cubicBezTo>
                  <a:cubicBezTo>
                    <a:pt x="29" y="14"/>
                    <a:pt x="29" y="14"/>
                    <a:pt x="29" y="14"/>
                  </a:cubicBezTo>
                  <a:cubicBezTo>
                    <a:pt x="30" y="13"/>
                    <a:pt x="32" y="12"/>
                    <a:pt x="34" y="11"/>
                  </a:cubicBezTo>
                  <a:cubicBezTo>
                    <a:pt x="38" y="16"/>
                    <a:pt x="38" y="16"/>
                    <a:pt x="38" y="16"/>
                  </a:cubicBezTo>
                  <a:cubicBezTo>
                    <a:pt x="38" y="15"/>
                    <a:pt x="38" y="15"/>
                    <a:pt x="38" y="15"/>
                  </a:cubicBezTo>
                  <a:cubicBezTo>
                    <a:pt x="39" y="15"/>
                    <a:pt x="41" y="14"/>
                    <a:pt x="42" y="13"/>
                  </a:cubicBezTo>
                  <a:cubicBezTo>
                    <a:pt x="42" y="13"/>
                    <a:pt x="42" y="13"/>
                    <a:pt x="42" y="13"/>
                  </a:cubicBezTo>
                  <a:cubicBezTo>
                    <a:pt x="41" y="7"/>
                    <a:pt x="41" y="7"/>
                    <a:pt x="41" y="7"/>
                  </a:cubicBezTo>
                  <a:cubicBezTo>
                    <a:pt x="42" y="6"/>
                    <a:pt x="44" y="5"/>
                    <a:pt x="46" y="5"/>
                  </a:cubicBezTo>
                  <a:cubicBezTo>
                    <a:pt x="49" y="10"/>
                    <a:pt x="49" y="10"/>
                    <a:pt x="49" y="10"/>
                  </a:cubicBezTo>
                  <a:cubicBezTo>
                    <a:pt x="50" y="10"/>
                    <a:pt x="50" y="10"/>
                    <a:pt x="50" y="10"/>
                  </a:cubicBezTo>
                  <a:cubicBezTo>
                    <a:pt x="51" y="10"/>
                    <a:pt x="52" y="9"/>
                    <a:pt x="54" y="9"/>
                  </a:cubicBezTo>
                  <a:cubicBezTo>
                    <a:pt x="54" y="9"/>
                    <a:pt x="54" y="9"/>
                    <a:pt x="54" y="9"/>
                  </a:cubicBezTo>
                  <a:cubicBezTo>
                    <a:pt x="54" y="2"/>
                    <a:pt x="54" y="2"/>
                    <a:pt x="54" y="2"/>
                  </a:cubicBezTo>
                  <a:cubicBezTo>
                    <a:pt x="56" y="2"/>
                    <a:pt x="58" y="1"/>
                    <a:pt x="60" y="1"/>
                  </a:cubicBezTo>
                  <a:cubicBezTo>
                    <a:pt x="61" y="7"/>
                    <a:pt x="61" y="7"/>
                    <a:pt x="61" y="7"/>
                  </a:cubicBezTo>
                  <a:cubicBezTo>
                    <a:pt x="62" y="7"/>
                    <a:pt x="62" y="7"/>
                    <a:pt x="62" y="7"/>
                  </a:cubicBezTo>
                  <a:cubicBezTo>
                    <a:pt x="63" y="7"/>
                    <a:pt x="65" y="7"/>
                    <a:pt x="66" y="7"/>
                  </a:cubicBezTo>
                  <a:cubicBezTo>
                    <a:pt x="67" y="7"/>
                    <a:pt x="67" y="7"/>
                    <a:pt x="67" y="7"/>
                  </a:cubicBezTo>
                  <a:cubicBezTo>
                    <a:pt x="67" y="0"/>
                    <a:pt x="67" y="0"/>
                    <a:pt x="67" y="0"/>
                  </a:cubicBezTo>
                  <a:cubicBezTo>
                    <a:pt x="68" y="0"/>
                    <a:pt x="69" y="0"/>
                    <a:pt x="70" y="0"/>
                  </a:cubicBezTo>
                  <a:cubicBezTo>
                    <a:pt x="71" y="0"/>
                    <a:pt x="72" y="0"/>
                    <a:pt x="73" y="0"/>
                  </a:cubicBezTo>
                  <a:cubicBezTo>
                    <a:pt x="74" y="7"/>
                    <a:pt x="74" y="7"/>
                    <a:pt x="74" y="7"/>
                  </a:cubicBezTo>
                  <a:cubicBezTo>
                    <a:pt x="74" y="7"/>
                    <a:pt x="74" y="7"/>
                    <a:pt x="74" y="7"/>
                  </a:cubicBezTo>
                  <a:cubicBezTo>
                    <a:pt x="76" y="7"/>
                    <a:pt x="77" y="7"/>
                    <a:pt x="79" y="7"/>
                  </a:cubicBezTo>
                  <a:cubicBezTo>
                    <a:pt x="79" y="7"/>
                    <a:pt x="79" y="7"/>
                    <a:pt x="79" y="7"/>
                  </a:cubicBezTo>
                  <a:cubicBezTo>
                    <a:pt x="81" y="1"/>
                    <a:pt x="81" y="1"/>
                    <a:pt x="81" y="1"/>
                  </a:cubicBezTo>
                  <a:cubicBezTo>
                    <a:pt x="83" y="1"/>
                    <a:pt x="85" y="2"/>
                    <a:pt x="87" y="2"/>
                  </a:cubicBezTo>
                  <a:cubicBezTo>
                    <a:pt x="87" y="9"/>
                    <a:pt x="87" y="9"/>
                    <a:pt x="87" y="9"/>
                  </a:cubicBezTo>
                  <a:cubicBezTo>
                    <a:pt x="87" y="9"/>
                    <a:pt x="87" y="9"/>
                    <a:pt x="87" y="9"/>
                  </a:cubicBezTo>
                  <a:cubicBezTo>
                    <a:pt x="88" y="9"/>
                    <a:pt x="90" y="10"/>
                    <a:pt x="91" y="10"/>
                  </a:cubicBezTo>
                  <a:cubicBezTo>
                    <a:pt x="92" y="10"/>
                    <a:pt x="92" y="10"/>
                    <a:pt x="92" y="10"/>
                  </a:cubicBezTo>
                  <a:cubicBezTo>
                    <a:pt x="95" y="5"/>
                    <a:pt x="95" y="5"/>
                    <a:pt x="95" y="5"/>
                  </a:cubicBezTo>
                  <a:cubicBezTo>
                    <a:pt x="96" y="5"/>
                    <a:pt x="98" y="6"/>
                    <a:pt x="100" y="7"/>
                  </a:cubicBezTo>
                  <a:cubicBezTo>
                    <a:pt x="98" y="13"/>
                    <a:pt x="98" y="13"/>
                    <a:pt x="98" y="13"/>
                  </a:cubicBezTo>
                  <a:cubicBezTo>
                    <a:pt x="99" y="13"/>
                    <a:pt x="99" y="13"/>
                    <a:pt x="99" y="13"/>
                  </a:cubicBezTo>
                  <a:cubicBezTo>
                    <a:pt x="100" y="14"/>
                    <a:pt x="101" y="15"/>
                    <a:pt x="103" y="15"/>
                  </a:cubicBezTo>
                  <a:cubicBezTo>
                    <a:pt x="103" y="16"/>
                    <a:pt x="103" y="16"/>
                    <a:pt x="103" y="16"/>
                  </a:cubicBezTo>
                  <a:cubicBezTo>
                    <a:pt x="107" y="11"/>
                    <a:pt x="107" y="11"/>
                    <a:pt x="107" y="11"/>
                  </a:cubicBezTo>
                  <a:cubicBezTo>
                    <a:pt x="109" y="12"/>
                    <a:pt x="111" y="13"/>
                    <a:pt x="112" y="14"/>
                  </a:cubicBezTo>
                  <a:cubicBezTo>
                    <a:pt x="109" y="20"/>
                    <a:pt x="109" y="20"/>
                    <a:pt x="109" y="20"/>
                  </a:cubicBezTo>
                  <a:cubicBezTo>
                    <a:pt x="109" y="20"/>
                    <a:pt x="109" y="20"/>
                    <a:pt x="109" y="20"/>
                  </a:cubicBezTo>
                  <a:cubicBezTo>
                    <a:pt x="111" y="21"/>
                    <a:pt x="112" y="22"/>
                    <a:pt x="113" y="23"/>
                  </a:cubicBezTo>
                  <a:cubicBezTo>
                    <a:pt x="113" y="23"/>
                    <a:pt x="113" y="23"/>
                    <a:pt x="113" y="23"/>
                  </a:cubicBezTo>
                  <a:cubicBezTo>
                    <a:pt x="118" y="19"/>
                    <a:pt x="118" y="19"/>
                    <a:pt x="118" y="19"/>
                  </a:cubicBezTo>
                  <a:cubicBezTo>
                    <a:pt x="120" y="20"/>
                    <a:pt x="121" y="22"/>
                    <a:pt x="122" y="23"/>
                  </a:cubicBezTo>
                  <a:cubicBezTo>
                    <a:pt x="118" y="28"/>
                    <a:pt x="118" y="28"/>
                    <a:pt x="118" y="28"/>
                  </a:cubicBezTo>
                  <a:cubicBezTo>
                    <a:pt x="119" y="29"/>
                    <a:pt x="119" y="29"/>
                    <a:pt x="119" y="29"/>
                  </a:cubicBezTo>
                  <a:cubicBezTo>
                    <a:pt x="120" y="30"/>
                    <a:pt x="121" y="31"/>
                    <a:pt x="121" y="32"/>
                  </a:cubicBezTo>
                  <a:cubicBezTo>
                    <a:pt x="122" y="32"/>
                    <a:pt x="122" y="32"/>
                    <a:pt x="122" y="32"/>
                  </a:cubicBezTo>
                  <a:cubicBezTo>
                    <a:pt x="127" y="29"/>
                    <a:pt x="127" y="29"/>
                    <a:pt x="127" y="29"/>
                  </a:cubicBezTo>
                  <a:cubicBezTo>
                    <a:pt x="129" y="31"/>
                    <a:pt x="130" y="33"/>
                    <a:pt x="131" y="34"/>
                  </a:cubicBezTo>
                  <a:cubicBezTo>
                    <a:pt x="126" y="38"/>
                    <a:pt x="126" y="38"/>
                    <a:pt x="126" y="38"/>
                  </a:cubicBezTo>
                  <a:cubicBezTo>
                    <a:pt x="126" y="39"/>
                    <a:pt x="126" y="39"/>
                    <a:pt x="126" y="39"/>
                  </a:cubicBezTo>
                  <a:cubicBezTo>
                    <a:pt x="127" y="40"/>
                    <a:pt x="128" y="41"/>
                    <a:pt x="128" y="43"/>
                  </a:cubicBezTo>
                  <a:cubicBezTo>
                    <a:pt x="128" y="43"/>
                    <a:pt x="128" y="43"/>
                    <a:pt x="128" y="43"/>
                  </a:cubicBezTo>
                  <a:cubicBezTo>
                    <a:pt x="134" y="41"/>
                    <a:pt x="134" y="41"/>
                    <a:pt x="134" y="41"/>
                  </a:cubicBezTo>
                  <a:cubicBezTo>
                    <a:pt x="135" y="43"/>
                    <a:pt x="136" y="45"/>
                    <a:pt x="137" y="47"/>
                  </a:cubicBezTo>
                  <a:cubicBezTo>
                    <a:pt x="131" y="50"/>
                    <a:pt x="131" y="50"/>
                    <a:pt x="131" y="50"/>
                  </a:cubicBezTo>
                  <a:cubicBezTo>
                    <a:pt x="131" y="50"/>
                    <a:pt x="131" y="50"/>
                    <a:pt x="131" y="50"/>
                  </a:cubicBezTo>
                  <a:cubicBezTo>
                    <a:pt x="132" y="52"/>
                    <a:pt x="132" y="53"/>
                    <a:pt x="133" y="54"/>
                  </a:cubicBezTo>
                  <a:cubicBezTo>
                    <a:pt x="133" y="55"/>
                    <a:pt x="133" y="55"/>
                    <a:pt x="133" y="55"/>
                  </a:cubicBezTo>
                  <a:cubicBezTo>
                    <a:pt x="139" y="54"/>
                    <a:pt x="139" y="54"/>
                    <a:pt x="139" y="54"/>
                  </a:cubicBezTo>
                  <a:cubicBezTo>
                    <a:pt x="140" y="56"/>
                    <a:pt x="140" y="58"/>
                    <a:pt x="140" y="60"/>
                  </a:cubicBezTo>
                  <a:cubicBezTo>
                    <a:pt x="134" y="62"/>
                    <a:pt x="134" y="62"/>
                    <a:pt x="134" y="62"/>
                  </a:cubicBezTo>
                  <a:cubicBezTo>
                    <a:pt x="134" y="62"/>
                    <a:pt x="134" y="62"/>
                    <a:pt x="134" y="62"/>
                  </a:cubicBezTo>
                  <a:cubicBezTo>
                    <a:pt x="134" y="64"/>
                    <a:pt x="134" y="65"/>
                    <a:pt x="135" y="67"/>
                  </a:cubicBezTo>
                  <a:cubicBezTo>
                    <a:pt x="135" y="67"/>
                    <a:pt x="135" y="67"/>
                    <a:pt x="135" y="67"/>
                  </a:cubicBezTo>
                  <a:cubicBezTo>
                    <a:pt x="141" y="68"/>
                    <a:pt x="141" y="68"/>
                    <a:pt x="141" y="68"/>
                  </a:cubicBezTo>
                  <a:cubicBezTo>
                    <a:pt x="141" y="69"/>
                    <a:pt x="141" y="70"/>
                    <a:pt x="141" y="71"/>
                  </a:cubicBezTo>
                  <a:cubicBezTo>
                    <a:pt x="141" y="72"/>
                    <a:pt x="141" y="73"/>
                    <a:pt x="141" y="74"/>
                  </a:cubicBezTo>
                  <a:cubicBezTo>
                    <a:pt x="135" y="75"/>
                    <a:pt x="135" y="75"/>
                    <a:pt x="135" y="75"/>
                  </a:cubicBezTo>
                  <a:cubicBezTo>
                    <a:pt x="135" y="75"/>
                    <a:pt x="135" y="75"/>
                    <a:pt x="135" y="75"/>
                  </a:cubicBezTo>
                  <a:cubicBezTo>
                    <a:pt x="134" y="77"/>
                    <a:pt x="134" y="78"/>
                    <a:pt x="134" y="80"/>
                  </a:cubicBezTo>
                  <a:cubicBezTo>
                    <a:pt x="134" y="80"/>
                    <a:pt x="134" y="80"/>
                    <a:pt x="134" y="80"/>
                  </a:cubicBezTo>
                  <a:cubicBezTo>
                    <a:pt x="140" y="82"/>
                    <a:pt x="140" y="82"/>
                    <a:pt x="140" y="82"/>
                  </a:cubicBezTo>
                  <a:cubicBezTo>
                    <a:pt x="140" y="84"/>
                    <a:pt x="140" y="86"/>
                    <a:pt x="139" y="88"/>
                  </a:cubicBezTo>
                  <a:cubicBezTo>
                    <a:pt x="133" y="87"/>
                    <a:pt x="133" y="87"/>
                    <a:pt x="133" y="87"/>
                  </a:cubicBezTo>
                  <a:cubicBezTo>
                    <a:pt x="133" y="88"/>
                    <a:pt x="133" y="88"/>
                    <a:pt x="133" y="88"/>
                  </a:cubicBezTo>
                  <a:cubicBezTo>
                    <a:pt x="132" y="89"/>
                    <a:pt x="132" y="90"/>
                    <a:pt x="131" y="92"/>
                  </a:cubicBezTo>
                  <a:cubicBezTo>
                    <a:pt x="131" y="92"/>
                    <a:pt x="131" y="92"/>
                    <a:pt x="131" y="92"/>
                  </a:cubicBezTo>
                  <a:cubicBezTo>
                    <a:pt x="137" y="95"/>
                    <a:pt x="137" y="95"/>
                    <a:pt x="137" y="95"/>
                  </a:cubicBezTo>
                  <a:cubicBezTo>
                    <a:pt x="136" y="97"/>
                    <a:pt x="135" y="99"/>
                    <a:pt x="134" y="101"/>
                  </a:cubicBezTo>
                  <a:cubicBezTo>
                    <a:pt x="128" y="99"/>
                    <a:pt x="128" y="99"/>
                    <a:pt x="128" y="99"/>
                  </a:cubicBezTo>
                  <a:cubicBezTo>
                    <a:pt x="128" y="99"/>
                    <a:pt x="128" y="99"/>
                    <a:pt x="128" y="99"/>
                  </a:cubicBezTo>
                  <a:cubicBezTo>
                    <a:pt x="128" y="101"/>
                    <a:pt x="127" y="102"/>
                    <a:pt x="126" y="103"/>
                  </a:cubicBezTo>
                  <a:cubicBezTo>
                    <a:pt x="126" y="104"/>
                    <a:pt x="126" y="104"/>
                    <a:pt x="126" y="104"/>
                  </a:cubicBezTo>
                  <a:cubicBezTo>
                    <a:pt x="131" y="108"/>
                    <a:pt x="131" y="108"/>
                    <a:pt x="131" y="108"/>
                  </a:cubicBezTo>
                  <a:cubicBezTo>
                    <a:pt x="130" y="109"/>
                    <a:pt x="129" y="111"/>
                    <a:pt x="127" y="113"/>
                  </a:cubicBezTo>
                  <a:cubicBezTo>
                    <a:pt x="122" y="110"/>
                    <a:pt x="122" y="110"/>
                    <a:pt x="122" y="110"/>
                  </a:cubicBezTo>
                  <a:cubicBezTo>
                    <a:pt x="121" y="110"/>
                    <a:pt x="121" y="110"/>
                    <a:pt x="121" y="110"/>
                  </a:cubicBezTo>
                  <a:cubicBezTo>
                    <a:pt x="121" y="111"/>
                    <a:pt x="120" y="112"/>
                    <a:pt x="119" y="114"/>
                  </a:cubicBezTo>
                  <a:cubicBezTo>
                    <a:pt x="118" y="114"/>
                    <a:pt x="118" y="114"/>
                    <a:pt x="118" y="114"/>
                  </a:cubicBezTo>
                  <a:cubicBezTo>
                    <a:pt x="122" y="119"/>
                    <a:pt x="122" y="119"/>
                    <a:pt x="122" y="119"/>
                  </a:cubicBezTo>
                  <a:cubicBezTo>
                    <a:pt x="121" y="120"/>
                    <a:pt x="120" y="122"/>
                    <a:pt x="118" y="123"/>
                  </a:cubicBezTo>
                  <a:cubicBezTo>
                    <a:pt x="113" y="119"/>
                    <a:pt x="113" y="119"/>
                    <a:pt x="113" y="119"/>
                  </a:cubicBezTo>
                  <a:cubicBezTo>
                    <a:pt x="113" y="119"/>
                    <a:pt x="113" y="119"/>
                    <a:pt x="113" y="119"/>
                  </a:cubicBezTo>
                  <a:cubicBezTo>
                    <a:pt x="112" y="120"/>
                    <a:pt x="111" y="121"/>
                    <a:pt x="109" y="122"/>
                  </a:cubicBezTo>
                  <a:cubicBezTo>
                    <a:pt x="109" y="122"/>
                    <a:pt x="109" y="122"/>
                    <a:pt x="109" y="122"/>
                  </a:cubicBezTo>
                  <a:cubicBezTo>
                    <a:pt x="112" y="128"/>
                    <a:pt x="112" y="128"/>
                    <a:pt x="112" y="128"/>
                  </a:cubicBezTo>
                  <a:cubicBezTo>
                    <a:pt x="111" y="129"/>
                    <a:pt x="109" y="130"/>
                    <a:pt x="107" y="131"/>
                  </a:cubicBezTo>
                  <a:cubicBezTo>
                    <a:pt x="103" y="126"/>
                    <a:pt x="103" y="126"/>
                    <a:pt x="103" y="126"/>
                  </a:cubicBezTo>
                  <a:cubicBezTo>
                    <a:pt x="103" y="127"/>
                    <a:pt x="103" y="127"/>
                    <a:pt x="103" y="127"/>
                  </a:cubicBezTo>
                  <a:cubicBezTo>
                    <a:pt x="101" y="127"/>
                    <a:pt x="100" y="128"/>
                    <a:pt x="99" y="129"/>
                  </a:cubicBezTo>
                  <a:cubicBezTo>
                    <a:pt x="98" y="129"/>
                    <a:pt x="98" y="129"/>
                    <a:pt x="98" y="129"/>
                  </a:cubicBezTo>
                  <a:cubicBezTo>
                    <a:pt x="100" y="135"/>
                    <a:pt x="100" y="135"/>
                    <a:pt x="100" y="135"/>
                  </a:cubicBezTo>
                  <a:cubicBezTo>
                    <a:pt x="98" y="136"/>
                    <a:pt x="96" y="137"/>
                    <a:pt x="95" y="137"/>
                  </a:cubicBezTo>
                  <a:cubicBezTo>
                    <a:pt x="92" y="132"/>
                    <a:pt x="92" y="132"/>
                    <a:pt x="92" y="132"/>
                  </a:cubicBezTo>
                  <a:cubicBezTo>
                    <a:pt x="91" y="132"/>
                    <a:pt x="91" y="132"/>
                    <a:pt x="91" y="132"/>
                  </a:cubicBezTo>
                  <a:cubicBezTo>
                    <a:pt x="90" y="132"/>
                    <a:pt x="88" y="133"/>
                    <a:pt x="87" y="133"/>
                  </a:cubicBezTo>
                  <a:cubicBezTo>
                    <a:pt x="87" y="133"/>
                    <a:pt x="87" y="133"/>
                    <a:pt x="87" y="133"/>
                  </a:cubicBezTo>
                  <a:cubicBezTo>
                    <a:pt x="87" y="140"/>
                    <a:pt x="87" y="140"/>
                    <a:pt x="87" y="140"/>
                  </a:cubicBezTo>
                  <a:cubicBezTo>
                    <a:pt x="85" y="140"/>
                    <a:pt x="83" y="141"/>
                    <a:pt x="81" y="141"/>
                  </a:cubicBezTo>
                  <a:cubicBezTo>
                    <a:pt x="79" y="135"/>
                    <a:pt x="79" y="135"/>
                    <a:pt x="79" y="135"/>
                  </a:cubicBezTo>
                  <a:cubicBezTo>
                    <a:pt x="79" y="135"/>
                    <a:pt x="79" y="135"/>
                    <a:pt x="79" y="135"/>
                  </a:cubicBezTo>
                  <a:cubicBezTo>
                    <a:pt x="77" y="135"/>
                    <a:pt x="76" y="135"/>
                    <a:pt x="74" y="135"/>
                  </a:cubicBezTo>
                  <a:cubicBezTo>
                    <a:pt x="74" y="135"/>
                    <a:pt x="74" y="135"/>
                    <a:pt x="74" y="135"/>
                  </a:cubicBezTo>
                  <a:cubicBezTo>
                    <a:pt x="73" y="142"/>
                    <a:pt x="73" y="142"/>
                    <a:pt x="73" y="142"/>
                  </a:cubicBezTo>
                  <a:cubicBezTo>
                    <a:pt x="72" y="142"/>
                    <a:pt x="71" y="142"/>
                    <a:pt x="70" y="142"/>
                  </a:cubicBezTo>
                  <a:close/>
                </a:path>
              </a:pathLst>
            </a:custGeom>
            <a:solidFill>
              <a:schemeClr val="accent3">
                <a:lumMod val="90000"/>
                <a:lumOff val="10000"/>
              </a:schemeClr>
            </a:solidFill>
            <a:ln>
              <a:noFill/>
            </a:ln>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cs typeface="Segoe UI" panose="020B0502040204020203" pitchFamily="34" charset="0"/>
              </a:endParaRPr>
            </a:p>
          </p:txBody>
        </p:sp>
        <p:sp>
          <p:nvSpPr>
            <p:cNvPr id="28" name="Freeform 23">
              <a:extLst>
                <a:ext uri="{FF2B5EF4-FFF2-40B4-BE49-F238E27FC236}">
                  <a16:creationId xmlns:a16="http://schemas.microsoft.com/office/drawing/2014/main" id="{931A5C58-A6A9-43B7-A116-B65097B2A07C}"/>
                </a:ext>
              </a:extLst>
            </p:cNvPr>
            <p:cNvSpPr>
              <a:spLocks noEditPoints="1"/>
            </p:cNvSpPr>
            <p:nvPr/>
          </p:nvSpPr>
          <p:spPr bwMode="auto">
            <a:xfrm>
              <a:off x="4126606" y="1357381"/>
              <a:ext cx="382631" cy="383470"/>
            </a:xfrm>
            <a:custGeom>
              <a:avLst/>
              <a:gdLst>
                <a:gd name="T0" fmla="*/ 274 w 274"/>
                <a:gd name="T1" fmla="*/ 155 h 275"/>
                <a:gd name="T2" fmla="*/ 274 w 274"/>
                <a:gd name="T3" fmla="*/ 120 h 275"/>
                <a:gd name="T4" fmla="*/ 247 w 274"/>
                <a:gd name="T5" fmla="*/ 120 h 275"/>
                <a:gd name="T6" fmla="*/ 241 w 274"/>
                <a:gd name="T7" fmla="*/ 97 h 275"/>
                <a:gd name="T8" fmla="*/ 265 w 274"/>
                <a:gd name="T9" fmla="*/ 84 h 275"/>
                <a:gd name="T10" fmla="*/ 247 w 274"/>
                <a:gd name="T11" fmla="*/ 54 h 275"/>
                <a:gd name="T12" fmla="*/ 224 w 274"/>
                <a:gd name="T13" fmla="*/ 67 h 275"/>
                <a:gd name="T14" fmla="*/ 207 w 274"/>
                <a:gd name="T15" fmla="*/ 51 h 275"/>
                <a:gd name="T16" fmla="*/ 221 w 274"/>
                <a:gd name="T17" fmla="*/ 27 h 275"/>
                <a:gd name="T18" fmla="*/ 191 w 274"/>
                <a:gd name="T19" fmla="*/ 10 h 275"/>
                <a:gd name="T20" fmla="*/ 177 w 274"/>
                <a:gd name="T21" fmla="*/ 34 h 275"/>
                <a:gd name="T22" fmla="*/ 154 w 274"/>
                <a:gd name="T23" fmla="*/ 27 h 275"/>
                <a:gd name="T24" fmla="*/ 154 w 274"/>
                <a:gd name="T25" fmla="*/ 0 h 275"/>
                <a:gd name="T26" fmla="*/ 120 w 274"/>
                <a:gd name="T27" fmla="*/ 0 h 275"/>
                <a:gd name="T28" fmla="*/ 120 w 274"/>
                <a:gd name="T29" fmla="*/ 27 h 275"/>
                <a:gd name="T30" fmla="*/ 97 w 274"/>
                <a:gd name="T31" fmla="*/ 34 h 275"/>
                <a:gd name="T32" fmla="*/ 83 w 274"/>
                <a:gd name="T33" fmla="*/ 10 h 275"/>
                <a:gd name="T34" fmla="*/ 54 w 274"/>
                <a:gd name="T35" fmla="*/ 27 h 275"/>
                <a:gd name="T36" fmla="*/ 67 w 274"/>
                <a:gd name="T37" fmla="*/ 51 h 275"/>
                <a:gd name="T38" fmla="*/ 50 w 274"/>
                <a:gd name="T39" fmla="*/ 67 h 275"/>
                <a:gd name="T40" fmla="*/ 27 w 274"/>
                <a:gd name="T41" fmla="*/ 54 h 275"/>
                <a:gd name="T42" fmla="*/ 10 w 274"/>
                <a:gd name="T43" fmla="*/ 84 h 275"/>
                <a:gd name="T44" fmla="*/ 33 w 274"/>
                <a:gd name="T45" fmla="*/ 97 h 275"/>
                <a:gd name="T46" fmla="*/ 27 w 274"/>
                <a:gd name="T47" fmla="*/ 120 h 275"/>
                <a:gd name="T48" fmla="*/ 0 w 274"/>
                <a:gd name="T49" fmla="*/ 120 h 275"/>
                <a:gd name="T50" fmla="*/ 0 w 274"/>
                <a:gd name="T51" fmla="*/ 155 h 275"/>
                <a:gd name="T52" fmla="*/ 27 w 274"/>
                <a:gd name="T53" fmla="*/ 155 h 275"/>
                <a:gd name="T54" fmla="*/ 33 w 274"/>
                <a:gd name="T55" fmla="*/ 178 h 275"/>
                <a:gd name="T56" fmla="*/ 10 w 274"/>
                <a:gd name="T57" fmla="*/ 191 h 275"/>
                <a:gd name="T58" fmla="*/ 27 w 274"/>
                <a:gd name="T59" fmla="*/ 221 h 275"/>
                <a:gd name="T60" fmla="*/ 50 w 274"/>
                <a:gd name="T61" fmla="*/ 207 h 275"/>
                <a:gd name="T62" fmla="*/ 67 w 274"/>
                <a:gd name="T63" fmla="*/ 224 h 275"/>
                <a:gd name="T64" fmla="*/ 54 w 274"/>
                <a:gd name="T65" fmla="*/ 248 h 275"/>
                <a:gd name="T66" fmla="*/ 83 w 274"/>
                <a:gd name="T67" fmla="*/ 265 h 275"/>
                <a:gd name="T68" fmla="*/ 97 w 274"/>
                <a:gd name="T69" fmla="*/ 241 h 275"/>
                <a:gd name="T70" fmla="*/ 120 w 274"/>
                <a:gd name="T71" fmla="*/ 247 h 275"/>
                <a:gd name="T72" fmla="*/ 120 w 274"/>
                <a:gd name="T73" fmla="*/ 275 h 275"/>
                <a:gd name="T74" fmla="*/ 154 w 274"/>
                <a:gd name="T75" fmla="*/ 275 h 275"/>
                <a:gd name="T76" fmla="*/ 154 w 274"/>
                <a:gd name="T77" fmla="*/ 247 h 275"/>
                <a:gd name="T78" fmla="*/ 177 w 274"/>
                <a:gd name="T79" fmla="*/ 241 h 275"/>
                <a:gd name="T80" fmla="*/ 191 w 274"/>
                <a:gd name="T81" fmla="*/ 265 h 275"/>
                <a:gd name="T82" fmla="*/ 221 w 274"/>
                <a:gd name="T83" fmla="*/ 248 h 275"/>
                <a:gd name="T84" fmla="*/ 207 w 274"/>
                <a:gd name="T85" fmla="*/ 224 h 275"/>
                <a:gd name="T86" fmla="*/ 224 w 274"/>
                <a:gd name="T87" fmla="*/ 207 h 275"/>
                <a:gd name="T88" fmla="*/ 247 w 274"/>
                <a:gd name="T89" fmla="*/ 221 h 275"/>
                <a:gd name="T90" fmla="*/ 265 w 274"/>
                <a:gd name="T91" fmla="*/ 191 h 275"/>
                <a:gd name="T92" fmla="*/ 241 w 274"/>
                <a:gd name="T93" fmla="*/ 178 h 275"/>
                <a:gd name="T94" fmla="*/ 247 w 274"/>
                <a:gd name="T95" fmla="*/ 155 h 275"/>
                <a:gd name="T96" fmla="*/ 274 w 274"/>
                <a:gd name="T97" fmla="*/ 155 h 275"/>
                <a:gd name="T98" fmla="*/ 137 w 274"/>
                <a:gd name="T99" fmla="*/ 215 h 275"/>
                <a:gd name="T100" fmla="*/ 60 w 274"/>
                <a:gd name="T101" fmla="*/ 137 h 275"/>
                <a:gd name="T102" fmla="*/ 137 w 274"/>
                <a:gd name="T103" fmla="*/ 60 h 275"/>
                <a:gd name="T104" fmla="*/ 214 w 274"/>
                <a:gd name="T105" fmla="*/ 137 h 275"/>
                <a:gd name="T106" fmla="*/ 137 w 274"/>
                <a:gd name="T107" fmla="*/ 21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4" h="275">
                  <a:moveTo>
                    <a:pt x="274" y="155"/>
                  </a:moveTo>
                  <a:cubicBezTo>
                    <a:pt x="274" y="120"/>
                    <a:pt x="274" y="120"/>
                    <a:pt x="274" y="120"/>
                  </a:cubicBezTo>
                  <a:cubicBezTo>
                    <a:pt x="247" y="120"/>
                    <a:pt x="247" y="120"/>
                    <a:pt x="247" y="120"/>
                  </a:cubicBezTo>
                  <a:cubicBezTo>
                    <a:pt x="246" y="112"/>
                    <a:pt x="244" y="105"/>
                    <a:pt x="241" y="97"/>
                  </a:cubicBezTo>
                  <a:cubicBezTo>
                    <a:pt x="265" y="84"/>
                    <a:pt x="265" y="84"/>
                    <a:pt x="265" y="84"/>
                  </a:cubicBezTo>
                  <a:cubicBezTo>
                    <a:pt x="247" y="54"/>
                    <a:pt x="247" y="54"/>
                    <a:pt x="247" y="54"/>
                  </a:cubicBezTo>
                  <a:cubicBezTo>
                    <a:pt x="224" y="67"/>
                    <a:pt x="224" y="67"/>
                    <a:pt x="224" y="67"/>
                  </a:cubicBezTo>
                  <a:cubicBezTo>
                    <a:pt x="219" y="61"/>
                    <a:pt x="213" y="56"/>
                    <a:pt x="207" y="51"/>
                  </a:cubicBezTo>
                  <a:cubicBezTo>
                    <a:pt x="221" y="27"/>
                    <a:pt x="221" y="27"/>
                    <a:pt x="221" y="27"/>
                  </a:cubicBezTo>
                  <a:cubicBezTo>
                    <a:pt x="191" y="10"/>
                    <a:pt x="191" y="10"/>
                    <a:pt x="191" y="10"/>
                  </a:cubicBezTo>
                  <a:cubicBezTo>
                    <a:pt x="177" y="34"/>
                    <a:pt x="177" y="34"/>
                    <a:pt x="177" y="34"/>
                  </a:cubicBezTo>
                  <a:cubicBezTo>
                    <a:pt x="170" y="31"/>
                    <a:pt x="162" y="29"/>
                    <a:pt x="154" y="27"/>
                  </a:cubicBezTo>
                  <a:cubicBezTo>
                    <a:pt x="154" y="0"/>
                    <a:pt x="154" y="0"/>
                    <a:pt x="154" y="0"/>
                  </a:cubicBezTo>
                  <a:cubicBezTo>
                    <a:pt x="120" y="0"/>
                    <a:pt x="120" y="0"/>
                    <a:pt x="120" y="0"/>
                  </a:cubicBezTo>
                  <a:cubicBezTo>
                    <a:pt x="120" y="27"/>
                    <a:pt x="120" y="27"/>
                    <a:pt x="120" y="27"/>
                  </a:cubicBezTo>
                  <a:cubicBezTo>
                    <a:pt x="112" y="29"/>
                    <a:pt x="104" y="31"/>
                    <a:pt x="97" y="34"/>
                  </a:cubicBezTo>
                  <a:cubicBezTo>
                    <a:pt x="83" y="10"/>
                    <a:pt x="83" y="10"/>
                    <a:pt x="83" y="10"/>
                  </a:cubicBezTo>
                  <a:cubicBezTo>
                    <a:pt x="54" y="27"/>
                    <a:pt x="54" y="27"/>
                    <a:pt x="54" y="27"/>
                  </a:cubicBezTo>
                  <a:cubicBezTo>
                    <a:pt x="67" y="51"/>
                    <a:pt x="67" y="51"/>
                    <a:pt x="67" y="51"/>
                  </a:cubicBezTo>
                  <a:cubicBezTo>
                    <a:pt x="61" y="56"/>
                    <a:pt x="55" y="61"/>
                    <a:pt x="50" y="67"/>
                  </a:cubicBezTo>
                  <a:cubicBezTo>
                    <a:pt x="27" y="54"/>
                    <a:pt x="27" y="54"/>
                    <a:pt x="27" y="54"/>
                  </a:cubicBezTo>
                  <a:cubicBezTo>
                    <a:pt x="10" y="84"/>
                    <a:pt x="10" y="84"/>
                    <a:pt x="10" y="84"/>
                  </a:cubicBezTo>
                  <a:cubicBezTo>
                    <a:pt x="33" y="97"/>
                    <a:pt x="33" y="97"/>
                    <a:pt x="33" y="97"/>
                  </a:cubicBezTo>
                  <a:cubicBezTo>
                    <a:pt x="30" y="105"/>
                    <a:pt x="28" y="112"/>
                    <a:pt x="27" y="120"/>
                  </a:cubicBezTo>
                  <a:cubicBezTo>
                    <a:pt x="0" y="120"/>
                    <a:pt x="0" y="120"/>
                    <a:pt x="0" y="120"/>
                  </a:cubicBezTo>
                  <a:cubicBezTo>
                    <a:pt x="0" y="155"/>
                    <a:pt x="0" y="155"/>
                    <a:pt x="0" y="155"/>
                  </a:cubicBezTo>
                  <a:cubicBezTo>
                    <a:pt x="27" y="155"/>
                    <a:pt x="27" y="155"/>
                    <a:pt x="27" y="155"/>
                  </a:cubicBezTo>
                  <a:cubicBezTo>
                    <a:pt x="28" y="163"/>
                    <a:pt x="30" y="170"/>
                    <a:pt x="33" y="178"/>
                  </a:cubicBezTo>
                  <a:cubicBezTo>
                    <a:pt x="10" y="191"/>
                    <a:pt x="10" y="191"/>
                    <a:pt x="10" y="191"/>
                  </a:cubicBezTo>
                  <a:cubicBezTo>
                    <a:pt x="27" y="221"/>
                    <a:pt x="27" y="221"/>
                    <a:pt x="27" y="221"/>
                  </a:cubicBezTo>
                  <a:cubicBezTo>
                    <a:pt x="50" y="207"/>
                    <a:pt x="50" y="207"/>
                    <a:pt x="50" y="207"/>
                  </a:cubicBezTo>
                  <a:cubicBezTo>
                    <a:pt x="55" y="214"/>
                    <a:pt x="61" y="219"/>
                    <a:pt x="67" y="224"/>
                  </a:cubicBezTo>
                  <a:cubicBezTo>
                    <a:pt x="54" y="248"/>
                    <a:pt x="54" y="248"/>
                    <a:pt x="54" y="248"/>
                  </a:cubicBezTo>
                  <a:cubicBezTo>
                    <a:pt x="83" y="265"/>
                    <a:pt x="83" y="265"/>
                    <a:pt x="83" y="265"/>
                  </a:cubicBezTo>
                  <a:cubicBezTo>
                    <a:pt x="97" y="241"/>
                    <a:pt x="97" y="241"/>
                    <a:pt x="97" y="241"/>
                  </a:cubicBezTo>
                  <a:cubicBezTo>
                    <a:pt x="104" y="244"/>
                    <a:pt x="112" y="246"/>
                    <a:pt x="120" y="247"/>
                  </a:cubicBezTo>
                  <a:cubicBezTo>
                    <a:pt x="120" y="275"/>
                    <a:pt x="120" y="275"/>
                    <a:pt x="120" y="275"/>
                  </a:cubicBezTo>
                  <a:cubicBezTo>
                    <a:pt x="154" y="275"/>
                    <a:pt x="154" y="275"/>
                    <a:pt x="154" y="275"/>
                  </a:cubicBezTo>
                  <a:cubicBezTo>
                    <a:pt x="154" y="247"/>
                    <a:pt x="154" y="247"/>
                    <a:pt x="154" y="247"/>
                  </a:cubicBezTo>
                  <a:cubicBezTo>
                    <a:pt x="162" y="246"/>
                    <a:pt x="170" y="244"/>
                    <a:pt x="177" y="241"/>
                  </a:cubicBezTo>
                  <a:cubicBezTo>
                    <a:pt x="191" y="265"/>
                    <a:pt x="191" y="265"/>
                    <a:pt x="191" y="265"/>
                  </a:cubicBezTo>
                  <a:cubicBezTo>
                    <a:pt x="221" y="248"/>
                    <a:pt x="221" y="248"/>
                    <a:pt x="221" y="248"/>
                  </a:cubicBezTo>
                  <a:cubicBezTo>
                    <a:pt x="207" y="224"/>
                    <a:pt x="207" y="224"/>
                    <a:pt x="207" y="224"/>
                  </a:cubicBezTo>
                  <a:cubicBezTo>
                    <a:pt x="213" y="219"/>
                    <a:pt x="219" y="214"/>
                    <a:pt x="224" y="207"/>
                  </a:cubicBezTo>
                  <a:cubicBezTo>
                    <a:pt x="247" y="221"/>
                    <a:pt x="247" y="221"/>
                    <a:pt x="247" y="221"/>
                  </a:cubicBezTo>
                  <a:cubicBezTo>
                    <a:pt x="265" y="191"/>
                    <a:pt x="265" y="191"/>
                    <a:pt x="265" y="191"/>
                  </a:cubicBezTo>
                  <a:cubicBezTo>
                    <a:pt x="241" y="178"/>
                    <a:pt x="241" y="178"/>
                    <a:pt x="241" y="178"/>
                  </a:cubicBezTo>
                  <a:cubicBezTo>
                    <a:pt x="244" y="170"/>
                    <a:pt x="246" y="163"/>
                    <a:pt x="247" y="155"/>
                  </a:cubicBezTo>
                  <a:cubicBezTo>
                    <a:pt x="274" y="155"/>
                    <a:pt x="274" y="155"/>
                    <a:pt x="274" y="155"/>
                  </a:cubicBezTo>
                  <a:close/>
                  <a:moveTo>
                    <a:pt x="137" y="215"/>
                  </a:moveTo>
                  <a:cubicBezTo>
                    <a:pt x="95" y="215"/>
                    <a:pt x="60" y="180"/>
                    <a:pt x="60" y="137"/>
                  </a:cubicBezTo>
                  <a:cubicBezTo>
                    <a:pt x="60" y="95"/>
                    <a:pt x="95" y="60"/>
                    <a:pt x="137" y="60"/>
                  </a:cubicBezTo>
                  <a:cubicBezTo>
                    <a:pt x="180" y="60"/>
                    <a:pt x="214" y="95"/>
                    <a:pt x="214" y="137"/>
                  </a:cubicBezTo>
                  <a:cubicBezTo>
                    <a:pt x="214" y="180"/>
                    <a:pt x="180" y="215"/>
                    <a:pt x="137" y="215"/>
                  </a:cubicBezTo>
                  <a:close/>
                </a:path>
              </a:pathLst>
            </a:custGeom>
            <a:solidFill>
              <a:schemeClr val="accent3">
                <a:lumMod val="90000"/>
                <a:lumOff val="10000"/>
              </a:schemeClr>
            </a:solidFill>
            <a:ln>
              <a:noFill/>
            </a:ln>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cs typeface="Segoe UI" panose="020B0502040204020203" pitchFamily="34" charset="0"/>
              </a:endParaRPr>
            </a:p>
          </p:txBody>
        </p:sp>
        <p:sp>
          <p:nvSpPr>
            <p:cNvPr id="29" name="Freeform 23">
              <a:extLst>
                <a:ext uri="{FF2B5EF4-FFF2-40B4-BE49-F238E27FC236}">
                  <a16:creationId xmlns:a16="http://schemas.microsoft.com/office/drawing/2014/main" id="{52160ED8-669D-4004-9BC2-CB9CD1CF2F4A}"/>
                </a:ext>
              </a:extLst>
            </p:cNvPr>
            <p:cNvSpPr>
              <a:spLocks noEditPoints="1"/>
            </p:cNvSpPr>
            <p:nvPr/>
          </p:nvSpPr>
          <p:spPr bwMode="auto">
            <a:xfrm>
              <a:off x="2198841" y="1357381"/>
              <a:ext cx="382631" cy="383470"/>
            </a:xfrm>
            <a:custGeom>
              <a:avLst/>
              <a:gdLst>
                <a:gd name="T0" fmla="*/ 274 w 274"/>
                <a:gd name="T1" fmla="*/ 155 h 275"/>
                <a:gd name="T2" fmla="*/ 274 w 274"/>
                <a:gd name="T3" fmla="*/ 120 h 275"/>
                <a:gd name="T4" fmla="*/ 247 w 274"/>
                <a:gd name="T5" fmla="*/ 120 h 275"/>
                <a:gd name="T6" fmla="*/ 241 w 274"/>
                <a:gd name="T7" fmla="*/ 97 h 275"/>
                <a:gd name="T8" fmla="*/ 265 w 274"/>
                <a:gd name="T9" fmla="*/ 84 h 275"/>
                <a:gd name="T10" fmla="*/ 247 w 274"/>
                <a:gd name="T11" fmla="*/ 54 h 275"/>
                <a:gd name="T12" fmla="*/ 224 w 274"/>
                <a:gd name="T13" fmla="*/ 67 h 275"/>
                <a:gd name="T14" fmla="*/ 207 w 274"/>
                <a:gd name="T15" fmla="*/ 51 h 275"/>
                <a:gd name="T16" fmla="*/ 221 w 274"/>
                <a:gd name="T17" fmla="*/ 27 h 275"/>
                <a:gd name="T18" fmla="*/ 191 w 274"/>
                <a:gd name="T19" fmla="*/ 10 h 275"/>
                <a:gd name="T20" fmla="*/ 177 w 274"/>
                <a:gd name="T21" fmla="*/ 34 h 275"/>
                <a:gd name="T22" fmla="*/ 154 w 274"/>
                <a:gd name="T23" fmla="*/ 27 h 275"/>
                <a:gd name="T24" fmla="*/ 154 w 274"/>
                <a:gd name="T25" fmla="*/ 0 h 275"/>
                <a:gd name="T26" fmla="*/ 120 w 274"/>
                <a:gd name="T27" fmla="*/ 0 h 275"/>
                <a:gd name="T28" fmla="*/ 120 w 274"/>
                <a:gd name="T29" fmla="*/ 27 h 275"/>
                <a:gd name="T30" fmla="*/ 97 w 274"/>
                <a:gd name="T31" fmla="*/ 34 h 275"/>
                <a:gd name="T32" fmla="*/ 83 w 274"/>
                <a:gd name="T33" fmla="*/ 10 h 275"/>
                <a:gd name="T34" fmla="*/ 54 w 274"/>
                <a:gd name="T35" fmla="*/ 27 h 275"/>
                <a:gd name="T36" fmla="*/ 67 w 274"/>
                <a:gd name="T37" fmla="*/ 51 h 275"/>
                <a:gd name="T38" fmla="*/ 50 w 274"/>
                <a:gd name="T39" fmla="*/ 67 h 275"/>
                <a:gd name="T40" fmla="*/ 27 w 274"/>
                <a:gd name="T41" fmla="*/ 54 h 275"/>
                <a:gd name="T42" fmla="*/ 10 w 274"/>
                <a:gd name="T43" fmla="*/ 84 h 275"/>
                <a:gd name="T44" fmla="*/ 33 w 274"/>
                <a:gd name="T45" fmla="*/ 97 h 275"/>
                <a:gd name="T46" fmla="*/ 27 w 274"/>
                <a:gd name="T47" fmla="*/ 120 h 275"/>
                <a:gd name="T48" fmla="*/ 0 w 274"/>
                <a:gd name="T49" fmla="*/ 120 h 275"/>
                <a:gd name="T50" fmla="*/ 0 w 274"/>
                <a:gd name="T51" fmla="*/ 155 h 275"/>
                <a:gd name="T52" fmla="*/ 27 w 274"/>
                <a:gd name="T53" fmla="*/ 155 h 275"/>
                <a:gd name="T54" fmla="*/ 33 w 274"/>
                <a:gd name="T55" fmla="*/ 178 h 275"/>
                <a:gd name="T56" fmla="*/ 10 w 274"/>
                <a:gd name="T57" fmla="*/ 191 h 275"/>
                <a:gd name="T58" fmla="*/ 27 w 274"/>
                <a:gd name="T59" fmla="*/ 221 h 275"/>
                <a:gd name="T60" fmla="*/ 50 w 274"/>
                <a:gd name="T61" fmla="*/ 207 h 275"/>
                <a:gd name="T62" fmla="*/ 67 w 274"/>
                <a:gd name="T63" fmla="*/ 224 h 275"/>
                <a:gd name="T64" fmla="*/ 54 w 274"/>
                <a:gd name="T65" fmla="*/ 248 h 275"/>
                <a:gd name="T66" fmla="*/ 83 w 274"/>
                <a:gd name="T67" fmla="*/ 265 h 275"/>
                <a:gd name="T68" fmla="*/ 97 w 274"/>
                <a:gd name="T69" fmla="*/ 241 h 275"/>
                <a:gd name="T70" fmla="*/ 120 w 274"/>
                <a:gd name="T71" fmla="*/ 247 h 275"/>
                <a:gd name="T72" fmla="*/ 120 w 274"/>
                <a:gd name="T73" fmla="*/ 275 h 275"/>
                <a:gd name="T74" fmla="*/ 154 w 274"/>
                <a:gd name="T75" fmla="*/ 275 h 275"/>
                <a:gd name="T76" fmla="*/ 154 w 274"/>
                <a:gd name="T77" fmla="*/ 247 h 275"/>
                <a:gd name="T78" fmla="*/ 177 w 274"/>
                <a:gd name="T79" fmla="*/ 241 h 275"/>
                <a:gd name="T80" fmla="*/ 191 w 274"/>
                <a:gd name="T81" fmla="*/ 265 h 275"/>
                <a:gd name="T82" fmla="*/ 221 w 274"/>
                <a:gd name="T83" fmla="*/ 248 h 275"/>
                <a:gd name="T84" fmla="*/ 207 w 274"/>
                <a:gd name="T85" fmla="*/ 224 h 275"/>
                <a:gd name="T86" fmla="*/ 224 w 274"/>
                <a:gd name="T87" fmla="*/ 207 h 275"/>
                <a:gd name="T88" fmla="*/ 247 w 274"/>
                <a:gd name="T89" fmla="*/ 221 h 275"/>
                <a:gd name="T90" fmla="*/ 265 w 274"/>
                <a:gd name="T91" fmla="*/ 191 h 275"/>
                <a:gd name="T92" fmla="*/ 241 w 274"/>
                <a:gd name="T93" fmla="*/ 178 h 275"/>
                <a:gd name="T94" fmla="*/ 247 w 274"/>
                <a:gd name="T95" fmla="*/ 155 h 275"/>
                <a:gd name="T96" fmla="*/ 274 w 274"/>
                <a:gd name="T97" fmla="*/ 155 h 275"/>
                <a:gd name="T98" fmla="*/ 137 w 274"/>
                <a:gd name="T99" fmla="*/ 215 h 275"/>
                <a:gd name="T100" fmla="*/ 60 w 274"/>
                <a:gd name="T101" fmla="*/ 137 h 275"/>
                <a:gd name="T102" fmla="*/ 137 w 274"/>
                <a:gd name="T103" fmla="*/ 60 h 275"/>
                <a:gd name="T104" fmla="*/ 214 w 274"/>
                <a:gd name="T105" fmla="*/ 137 h 275"/>
                <a:gd name="T106" fmla="*/ 137 w 274"/>
                <a:gd name="T107" fmla="*/ 21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4" h="275">
                  <a:moveTo>
                    <a:pt x="274" y="155"/>
                  </a:moveTo>
                  <a:cubicBezTo>
                    <a:pt x="274" y="120"/>
                    <a:pt x="274" y="120"/>
                    <a:pt x="274" y="120"/>
                  </a:cubicBezTo>
                  <a:cubicBezTo>
                    <a:pt x="247" y="120"/>
                    <a:pt x="247" y="120"/>
                    <a:pt x="247" y="120"/>
                  </a:cubicBezTo>
                  <a:cubicBezTo>
                    <a:pt x="246" y="112"/>
                    <a:pt x="244" y="105"/>
                    <a:pt x="241" y="97"/>
                  </a:cubicBezTo>
                  <a:cubicBezTo>
                    <a:pt x="265" y="84"/>
                    <a:pt x="265" y="84"/>
                    <a:pt x="265" y="84"/>
                  </a:cubicBezTo>
                  <a:cubicBezTo>
                    <a:pt x="247" y="54"/>
                    <a:pt x="247" y="54"/>
                    <a:pt x="247" y="54"/>
                  </a:cubicBezTo>
                  <a:cubicBezTo>
                    <a:pt x="224" y="67"/>
                    <a:pt x="224" y="67"/>
                    <a:pt x="224" y="67"/>
                  </a:cubicBezTo>
                  <a:cubicBezTo>
                    <a:pt x="219" y="61"/>
                    <a:pt x="213" y="56"/>
                    <a:pt x="207" y="51"/>
                  </a:cubicBezTo>
                  <a:cubicBezTo>
                    <a:pt x="221" y="27"/>
                    <a:pt x="221" y="27"/>
                    <a:pt x="221" y="27"/>
                  </a:cubicBezTo>
                  <a:cubicBezTo>
                    <a:pt x="191" y="10"/>
                    <a:pt x="191" y="10"/>
                    <a:pt x="191" y="10"/>
                  </a:cubicBezTo>
                  <a:cubicBezTo>
                    <a:pt x="177" y="34"/>
                    <a:pt x="177" y="34"/>
                    <a:pt x="177" y="34"/>
                  </a:cubicBezTo>
                  <a:cubicBezTo>
                    <a:pt x="170" y="31"/>
                    <a:pt x="162" y="29"/>
                    <a:pt x="154" y="27"/>
                  </a:cubicBezTo>
                  <a:cubicBezTo>
                    <a:pt x="154" y="0"/>
                    <a:pt x="154" y="0"/>
                    <a:pt x="154" y="0"/>
                  </a:cubicBezTo>
                  <a:cubicBezTo>
                    <a:pt x="120" y="0"/>
                    <a:pt x="120" y="0"/>
                    <a:pt x="120" y="0"/>
                  </a:cubicBezTo>
                  <a:cubicBezTo>
                    <a:pt x="120" y="27"/>
                    <a:pt x="120" y="27"/>
                    <a:pt x="120" y="27"/>
                  </a:cubicBezTo>
                  <a:cubicBezTo>
                    <a:pt x="112" y="29"/>
                    <a:pt x="104" y="31"/>
                    <a:pt x="97" y="34"/>
                  </a:cubicBezTo>
                  <a:cubicBezTo>
                    <a:pt x="83" y="10"/>
                    <a:pt x="83" y="10"/>
                    <a:pt x="83" y="10"/>
                  </a:cubicBezTo>
                  <a:cubicBezTo>
                    <a:pt x="54" y="27"/>
                    <a:pt x="54" y="27"/>
                    <a:pt x="54" y="27"/>
                  </a:cubicBezTo>
                  <a:cubicBezTo>
                    <a:pt x="67" y="51"/>
                    <a:pt x="67" y="51"/>
                    <a:pt x="67" y="51"/>
                  </a:cubicBezTo>
                  <a:cubicBezTo>
                    <a:pt x="61" y="56"/>
                    <a:pt x="55" y="61"/>
                    <a:pt x="50" y="67"/>
                  </a:cubicBezTo>
                  <a:cubicBezTo>
                    <a:pt x="27" y="54"/>
                    <a:pt x="27" y="54"/>
                    <a:pt x="27" y="54"/>
                  </a:cubicBezTo>
                  <a:cubicBezTo>
                    <a:pt x="10" y="84"/>
                    <a:pt x="10" y="84"/>
                    <a:pt x="10" y="84"/>
                  </a:cubicBezTo>
                  <a:cubicBezTo>
                    <a:pt x="33" y="97"/>
                    <a:pt x="33" y="97"/>
                    <a:pt x="33" y="97"/>
                  </a:cubicBezTo>
                  <a:cubicBezTo>
                    <a:pt x="30" y="105"/>
                    <a:pt x="28" y="112"/>
                    <a:pt x="27" y="120"/>
                  </a:cubicBezTo>
                  <a:cubicBezTo>
                    <a:pt x="0" y="120"/>
                    <a:pt x="0" y="120"/>
                    <a:pt x="0" y="120"/>
                  </a:cubicBezTo>
                  <a:cubicBezTo>
                    <a:pt x="0" y="155"/>
                    <a:pt x="0" y="155"/>
                    <a:pt x="0" y="155"/>
                  </a:cubicBezTo>
                  <a:cubicBezTo>
                    <a:pt x="27" y="155"/>
                    <a:pt x="27" y="155"/>
                    <a:pt x="27" y="155"/>
                  </a:cubicBezTo>
                  <a:cubicBezTo>
                    <a:pt x="28" y="163"/>
                    <a:pt x="30" y="170"/>
                    <a:pt x="33" y="178"/>
                  </a:cubicBezTo>
                  <a:cubicBezTo>
                    <a:pt x="10" y="191"/>
                    <a:pt x="10" y="191"/>
                    <a:pt x="10" y="191"/>
                  </a:cubicBezTo>
                  <a:cubicBezTo>
                    <a:pt x="27" y="221"/>
                    <a:pt x="27" y="221"/>
                    <a:pt x="27" y="221"/>
                  </a:cubicBezTo>
                  <a:cubicBezTo>
                    <a:pt x="50" y="207"/>
                    <a:pt x="50" y="207"/>
                    <a:pt x="50" y="207"/>
                  </a:cubicBezTo>
                  <a:cubicBezTo>
                    <a:pt x="55" y="214"/>
                    <a:pt x="61" y="219"/>
                    <a:pt x="67" y="224"/>
                  </a:cubicBezTo>
                  <a:cubicBezTo>
                    <a:pt x="54" y="248"/>
                    <a:pt x="54" y="248"/>
                    <a:pt x="54" y="248"/>
                  </a:cubicBezTo>
                  <a:cubicBezTo>
                    <a:pt x="83" y="265"/>
                    <a:pt x="83" y="265"/>
                    <a:pt x="83" y="265"/>
                  </a:cubicBezTo>
                  <a:cubicBezTo>
                    <a:pt x="97" y="241"/>
                    <a:pt x="97" y="241"/>
                    <a:pt x="97" y="241"/>
                  </a:cubicBezTo>
                  <a:cubicBezTo>
                    <a:pt x="104" y="244"/>
                    <a:pt x="112" y="246"/>
                    <a:pt x="120" y="247"/>
                  </a:cubicBezTo>
                  <a:cubicBezTo>
                    <a:pt x="120" y="275"/>
                    <a:pt x="120" y="275"/>
                    <a:pt x="120" y="275"/>
                  </a:cubicBezTo>
                  <a:cubicBezTo>
                    <a:pt x="154" y="275"/>
                    <a:pt x="154" y="275"/>
                    <a:pt x="154" y="275"/>
                  </a:cubicBezTo>
                  <a:cubicBezTo>
                    <a:pt x="154" y="247"/>
                    <a:pt x="154" y="247"/>
                    <a:pt x="154" y="247"/>
                  </a:cubicBezTo>
                  <a:cubicBezTo>
                    <a:pt x="162" y="246"/>
                    <a:pt x="170" y="244"/>
                    <a:pt x="177" y="241"/>
                  </a:cubicBezTo>
                  <a:cubicBezTo>
                    <a:pt x="191" y="265"/>
                    <a:pt x="191" y="265"/>
                    <a:pt x="191" y="265"/>
                  </a:cubicBezTo>
                  <a:cubicBezTo>
                    <a:pt x="221" y="248"/>
                    <a:pt x="221" y="248"/>
                    <a:pt x="221" y="248"/>
                  </a:cubicBezTo>
                  <a:cubicBezTo>
                    <a:pt x="207" y="224"/>
                    <a:pt x="207" y="224"/>
                    <a:pt x="207" y="224"/>
                  </a:cubicBezTo>
                  <a:cubicBezTo>
                    <a:pt x="213" y="219"/>
                    <a:pt x="219" y="214"/>
                    <a:pt x="224" y="207"/>
                  </a:cubicBezTo>
                  <a:cubicBezTo>
                    <a:pt x="247" y="221"/>
                    <a:pt x="247" y="221"/>
                    <a:pt x="247" y="221"/>
                  </a:cubicBezTo>
                  <a:cubicBezTo>
                    <a:pt x="265" y="191"/>
                    <a:pt x="265" y="191"/>
                    <a:pt x="265" y="191"/>
                  </a:cubicBezTo>
                  <a:cubicBezTo>
                    <a:pt x="241" y="178"/>
                    <a:pt x="241" y="178"/>
                    <a:pt x="241" y="178"/>
                  </a:cubicBezTo>
                  <a:cubicBezTo>
                    <a:pt x="244" y="170"/>
                    <a:pt x="246" y="163"/>
                    <a:pt x="247" y="155"/>
                  </a:cubicBezTo>
                  <a:cubicBezTo>
                    <a:pt x="274" y="155"/>
                    <a:pt x="274" y="155"/>
                    <a:pt x="274" y="155"/>
                  </a:cubicBezTo>
                  <a:close/>
                  <a:moveTo>
                    <a:pt x="137" y="215"/>
                  </a:moveTo>
                  <a:cubicBezTo>
                    <a:pt x="95" y="215"/>
                    <a:pt x="60" y="180"/>
                    <a:pt x="60" y="137"/>
                  </a:cubicBezTo>
                  <a:cubicBezTo>
                    <a:pt x="60" y="95"/>
                    <a:pt x="95" y="60"/>
                    <a:pt x="137" y="60"/>
                  </a:cubicBezTo>
                  <a:cubicBezTo>
                    <a:pt x="180" y="60"/>
                    <a:pt x="214" y="95"/>
                    <a:pt x="214" y="137"/>
                  </a:cubicBezTo>
                  <a:cubicBezTo>
                    <a:pt x="214" y="180"/>
                    <a:pt x="180" y="215"/>
                    <a:pt x="137" y="215"/>
                  </a:cubicBezTo>
                  <a:close/>
                </a:path>
              </a:pathLst>
            </a:custGeom>
            <a:solidFill>
              <a:schemeClr val="accent3">
                <a:lumMod val="90000"/>
                <a:lumOff val="10000"/>
              </a:schemeClr>
            </a:solidFill>
            <a:ln>
              <a:noFill/>
            </a:ln>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cs typeface="Segoe UI" panose="020B0502040204020203" pitchFamily="34" charset="0"/>
              </a:endParaRPr>
            </a:p>
          </p:txBody>
        </p:sp>
        <p:sp>
          <p:nvSpPr>
            <p:cNvPr id="30" name="Freeform 23">
              <a:extLst>
                <a:ext uri="{FF2B5EF4-FFF2-40B4-BE49-F238E27FC236}">
                  <a16:creationId xmlns:a16="http://schemas.microsoft.com/office/drawing/2014/main" id="{50DBDC97-9E38-494D-8E83-C151BE9A6818}"/>
                </a:ext>
              </a:extLst>
            </p:cNvPr>
            <p:cNvSpPr>
              <a:spLocks noEditPoints="1"/>
            </p:cNvSpPr>
            <p:nvPr/>
          </p:nvSpPr>
          <p:spPr bwMode="auto">
            <a:xfrm>
              <a:off x="2721321" y="2330007"/>
              <a:ext cx="802185" cy="803946"/>
            </a:xfrm>
            <a:custGeom>
              <a:avLst/>
              <a:gdLst>
                <a:gd name="T0" fmla="*/ 274 w 274"/>
                <a:gd name="T1" fmla="*/ 155 h 275"/>
                <a:gd name="T2" fmla="*/ 274 w 274"/>
                <a:gd name="T3" fmla="*/ 120 h 275"/>
                <a:gd name="T4" fmla="*/ 247 w 274"/>
                <a:gd name="T5" fmla="*/ 120 h 275"/>
                <a:gd name="T6" fmla="*/ 241 w 274"/>
                <a:gd name="T7" fmla="*/ 97 h 275"/>
                <a:gd name="T8" fmla="*/ 265 w 274"/>
                <a:gd name="T9" fmla="*/ 84 h 275"/>
                <a:gd name="T10" fmla="*/ 247 w 274"/>
                <a:gd name="T11" fmla="*/ 54 h 275"/>
                <a:gd name="T12" fmla="*/ 224 w 274"/>
                <a:gd name="T13" fmla="*/ 67 h 275"/>
                <a:gd name="T14" fmla="*/ 207 w 274"/>
                <a:gd name="T15" fmla="*/ 51 h 275"/>
                <a:gd name="T16" fmla="*/ 221 w 274"/>
                <a:gd name="T17" fmla="*/ 27 h 275"/>
                <a:gd name="T18" fmla="*/ 191 w 274"/>
                <a:gd name="T19" fmla="*/ 10 h 275"/>
                <a:gd name="T20" fmla="*/ 177 w 274"/>
                <a:gd name="T21" fmla="*/ 34 h 275"/>
                <a:gd name="T22" fmla="*/ 154 w 274"/>
                <a:gd name="T23" fmla="*/ 27 h 275"/>
                <a:gd name="T24" fmla="*/ 154 w 274"/>
                <a:gd name="T25" fmla="*/ 0 h 275"/>
                <a:gd name="T26" fmla="*/ 120 w 274"/>
                <a:gd name="T27" fmla="*/ 0 h 275"/>
                <a:gd name="T28" fmla="*/ 120 w 274"/>
                <a:gd name="T29" fmla="*/ 27 h 275"/>
                <a:gd name="T30" fmla="*/ 97 w 274"/>
                <a:gd name="T31" fmla="*/ 34 h 275"/>
                <a:gd name="T32" fmla="*/ 83 w 274"/>
                <a:gd name="T33" fmla="*/ 10 h 275"/>
                <a:gd name="T34" fmla="*/ 54 w 274"/>
                <a:gd name="T35" fmla="*/ 27 h 275"/>
                <a:gd name="T36" fmla="*/ 67 w 274"/>
                <a:gd name="T37" fmla="*/ 51 h 275"/>
                <a:gd name="T38" fmla="*/ 50 w 274"/>
                <a:gd name="T39" fmla="*/ 67 h 275"/>
                <a:gd name="T40" fmla="*/ 27 w 274"/>
                <a:gd name="T41" fmla="*/ 54 h 275"/>
                <a:gd name="T42" fmla="*/ 10 w 274"/>
                <a:gd name="T43" fmla="*/ 84 h 275"/>
                <a:gd name="T44" fmla="*/ 33 w 274"/>
                <a:gd name="T45" fmla="*/ 97 h 275"/>
                <a:gd name="T46" fmla="*/ 27 w 274"/>
                <a:gd name="T47" fmla="*/ 120 h 275"/>
                <a:gd name="T48" fmla="*/ 0 w 274"/>
                <a:gd name="T49" fmla="*/ 120 h 275"/>
                <a:gd name="T50" fmla="*/ 0 w 274"/>
                <a:gd name="T51" fmla="*/ 155 h 275"/>
                <a:gd name="T52" fmla="*/ 27 w 274"/>
                <a:gd name="T53" fmla="*/ 155 h 275"/>
                <a:gd name="T54" fmla="*/ 33 w 274"/>
                <a:gd name="T55" fmla="*/ 178 h 275"/>
                <a:gd name="T56" fmla="*/ 10 w 274"/>
                <a:gd name="T57" fmla="*/ 191 h 275"/>
                <a:gd name="T58" fmla="*/ 27 w 274"/>
                <a:gd name="T59" fmla="*/ 221 h 275"/>
                <a:gd name="T60" fmla="*/ 50 w 274"/>
                <a:gd name="T61" fmla="*/ 207 h 275"/>
                <a:gd name="T62" fmla="*/ 67 w 274"/>
                <a:gd name="T63" fmla="*/ 224 h 275"/>
                <a:gd name="T64" fmla="*/ 54 w 274"/>
                <a:gd name="T65" fmla="*/ 248 h 275"/>
                <a:gd name="T66" fmla="*/ 83 w 274"/>
                <a:gd name="T67" fmla="*/ 265 h 275"/>
                <a:gd name="T68" fmla="*/ 97 w 274"/>
                <a:gd name="T69" fmla="*/ 241 h 275"/>
                <a:gd name="T70" fmla="*/ 120 w 274"/>
                <a:gd name="T71" fmla="*/ 247 h 275"/>
                <a:gd name="T72" fmla="*/ 120 w 274"/>
                <a:gd name="T73" fmla="*/ 275 h 275"/>
                <a:gd name="T74" fmla="*/ 154 w 274"/>
                <a:gd name="T75" fmla="*/ 275 h 275"/>
                <a:gd name="T76" fmla="*/ 154 w 274"/>
                <a:gd name="T77" fmla="*/ 247 h 275"/>
                <a:gd name="T78" fmla="*/ 177 w 274"/>
                <a:gd name="T79" fmla="*/ 241 h 275"/>
                <a:gd name="T80" fmla="*/ 191 w 274"/>
                <a:gd name="T81" fmla="*/ 265 h 275"/>
                <a:gd name="T82" fmla="*/ 221 w 274"/>
                <a:gd name="T83" fmla="*/ 248 h 275"/>
                <a:gd name="T84" fmla="*/ 207 w 274"/>
                <a:gd name="T85" fmla="*/ 224 h 275"/>
                <a:gd name="T86" fmla="*/ 224 w 274"/>
                <a:gd name="T87" fmla="*/ 207 h 275"/>
                <a:gd name="T88" fmla="*/ 247 w 274"/>
                <a:gd name="T89" fmla="*/ 221 h 275"/>
                <a:gd name="T90" fmla="*/ 265 w 274"/>
                <a:gd name="T91" fmla="*/ 191 h 275"/>
                <a:gd name="T92" fmla="*/ 241 w 274"/>
                <a:gd name="T93" fmla="*/ 178 h 275"/>
                <a:gd name="T94" fmla="*/ 247 w 274"/>
                <a:gd name="T95" fmla="*/ 155 h 275"/>
                <a:gd name="T96" fmla="*/ 274 w 274"/>
                <a:gd name="T97" fmla="*/ 155 h 275"/>
                <a:gd name="T98" fmla="*/ 137 w 274"/>
                <a:gd name="T99" fmla="*/ 215 h 275"/>
                <a:gd name="T100" fmla="*/ 60 w 274"/>
                <a:gd name="T101" fmla="*/ 137 h 275"/>
                <a:gd name="T102" fmla="*/ 137 w 274"/>
                <a:gd name="T103" fmla="*/ 60 h 275"/>
                <a:gd name="T104" fmla="*/ 214 w 274"/>
                <a:gd name="T105" fmla="*/ 137 h 275"/>
                <a:gd name="T106" fmla="*/ 137 w 274"/>
                <a:gd name="T107" fmla="*/ 21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4" h="275">
                  <a:moveTo>
                    <a:pt x="274" y="155"/>
                  </a:moveTo>
                  <a:cubicBezTo>
                    <a:pt x="274" y="120"/>
                    <a:pt x="274" y="120"/>
                    <a:pt x="274" y="120"/>
                  </a:cubicBezTo>
                  <a:cubicBezTo>
                    <a:pt x="247" y="120"/>
                    <a:pt x="247" y="120"/>
                    <a:pt x="247" y="120"/>
                  </a:cubicBezTo>
                  <a:cubicBezTo>
                    <a:pt x="246" y="112"/>
                    <a:pt x="244" y="105"/>
                    <a:pt x="241" y="97"/>
                  </a:cubicBezTo>
                  <a:cubicBezTo>
                    <a:pt x="265" y="84"/>
                    <a:pt x="265" y="84"/>
                    <a:pt x="265" y="84"/>
                  </a:cubicBezTo>
                  <a:cubicBezTo>
                    <a:pt x="247" y="54"/>
                    <a:pt x="247" y="54"/>
                    <a:pt x="247" y="54"/>
                  </a:cubicBezTo>
                  <a:cubicBezTo>
                    <a:pt x="224" y="67"/>
                    <a:pt x="224" y="67"/>
                    <a:pt x="224" y="67"/>
                  </a:cubicBezTo>
                  <a:cubicBezTo>
                    <a:pt x="219" y="61"/>
                    <a:pt x="213" y="56"/>
                    <a:pt x="207" y="51"/>
                  </a:cubicBezTo>
                  <a:cubicBezTo>
                    <a:pt x="221" y="27"/>
                    <a:pt x="221" y="27"/>
                    <a:pt x="221" y="27"/>
                  </a:cubicBezTo>
                  <a:cubicBezTo>
                    <a:pt x="191" y="10"/>
                    <a:pt x="191" y="10"/>
                    <a:pt x="191" y="10"/>
                  </a:cubicBezTo>
                  <a:cubicBezTo>
                    <a:pt x="177" y="34"/>
                    <a:pt x="177" y="34"/>
                    <a:pt x="177" y="34"/>
                  </a:cubicBezTo>
                  <a:cubicBezTo>
                    <a:pt x="170" y="31"/>
                    <a:pt x="162" y="29"/>
                    <a:pt x="154" y="27"/>
                  </a:cubicBezTo>
                  <a:cubicBezTo>
                    <a:pt x="154" y="0"/>
                    <a:pt x="154" y="0"/>
                    <a:pt x="154" y="0"/>
                  </a:cubicBezTo>
                  <a:cubicBezTo>
                    <a:pt x="120" y="0"/>
                    <a:pt x="120" y="0"/>
                    <a:pt x="120" y="0"/>
                  </a:cubicBezTo>
                  <a:cubicBezTo>
                    <a:pt x="120" y="27"/>
                    <a:pt x="120" y="27"/>
                    <a:pt x="120" y="27"/>
                  </a:cubicBezTo>
                  <a:cubicBezTo>
                    <a:pt x="112" y="29"/>
                    <a:pt x="104" y="31"/>
                    <a:pt x="97" y="34"/>
                  </a:cubicBezTo>
                  <a:cubicBezTo>
                    <a:pt x="83" y="10"/>
                    <a:pt x="83" y="10"/>
                    <a:pt x="83" y="10"/>
                  </a:cubicBezTo>
                  <a:cubicBezTo>
                    <a:pt x="54" y="27"/>
                    <a:pt x="54" y="27"/>
                    <a:pt x="54" y="27"/>
                  </a:cubicBezTo>
                  <a:cubicBezTo>
                    <a:pt x="67" y="51"/>
                    <a:pt x="67" y="51"/>
                    <a:pt x="67" y="51"/>
                  </a:cubicBezTo>
                  <a:cubicBezTo>
                    <a:pt x="61" y="56"/>
                    <a:pt x="55" y="61"/>
                    <a:pt x="50" y="67"/>
                  </a:cubicBezTo>
                  <a:cubicBezTo>
                    <a:pt x="27" y="54"/>
                    <a:pt x="27" y="54"/>
                    <a:pt x="27" y="54"/>
                  </a:cubicBezTo>
                  <a:cubicBezTo>
                    <a:pt x="10" y="84"/>
                    <a:pt x="10" y="84"/>
                    <a:pt x="10" y="84"/>
                  </a:cubicBezTo>
                  <a:cubicBezTo>
                    <a:pt x="33" y="97"/>
                    <a:pt x="33" y="97"/>
                    <a:pt x="33" y="97"/>
                  </a:cubicBezTo>
                  <a:cubicBezTo>
                    <a:pt x="30" y="105"/>
                    <a:pt x="28" y="112"/>
                    <a:pt x="27" y="120"/>
                  </a:cubicBezTo>
                  <a:cubicBezTo>
                    <a:pt x="0" y="120"/>
                    <a:pt x="0" y="120"/>
                    <a:pt x="0" y="120"/>
                  </a:cubicBezTo>
                  <a:cubicBezTo>
                    <a:pt x="0" y="155"/>
                    <a:pt x="0" y="155"/>
                    <a:pt x="0" y="155"/>
                  </a:cubicBezTo>
                  <a:cubicBezTo>
                    <a:pt x="27" y="155"/>
                    <a:pt x="27" y="155"/>
                    <a:pt x="27" y="155"/>
                  </a:cubicBezTo>
                  <a:cubicBezTo>
                    <a:pt x="28" y="163"/>
                    <a:pt x="30" y="170"/>
                    <a:pt x="33" y="178"/>
                  </a:cubicBezTo>
                  <a:cubicBezTo>
                    <a:pt x="10" y="191"/>
                    <a:pt x="10" y="191"/>
                    <a:pt x="10" y="191"/>
                  </a:cubicBezTo>
                  <a:cubicBezTo>
                    <a:pt x="27" y="221"/>
                    <a:pt x="27" y="221"/>
                    <a:pt x="27" y="221"/>
                  </a:cubicBezTo>
                  <a:cubicBezTo>
                    <a:pt x="50" y="207"/>
                    <a:pt x="50" y="207"/>
                    <a:pt x="50" y="207"/>
                  </a:cubicBezTo>
                  <a:cubicBezTo>
                    <a:pt x="55" y="214"/>
                    <a:pt x="61" y="219"/>
                    <a:pt x="67" y="224"/>
                  </a:cubicBezTo>
                  <a:cubicBezTo>
                    <a:pt x="54" y="248"/>
                    <a:pt x="54" y="248"/>
                    <a:pt x="54" y="248"/>
                  </a:cubicBezTo>
                  <a:cubicBezTo>
                    <a:pt x="83" y="265"/>
                    <a:pt x="83" y="265"/>
                    <a:pt x="83" y="265"/>
                  </a:cubicBezTo>
                  <a:cubicBezTo>
                    <a:pt x="97" y="241"/>
                    <a:pt x="97" y="241"/>
                    <a:pt x="97" y="241"/>
                  </a:cubicBezTo>
                  <a:cubicBezTo>
                    <a:pt x="104" y="244"/>
                    <a:pt x="112" y="246"/>
                    <a:pt x="120" y="247"/>
                  </a:cubicBezTo>
                  <a:cubicBezTo>
                    <a:pt x="120" y="275"/>
                    <a:pt x="120" y="275"/>
                    <a:pt x="120" y="275"/>
                  </a:cubicBezTo>
                  <a:cubicBezTo>
                    <a:pt x="154" y="275"/>
                    <a:pt x="154" y="275"/>
                    <a:pt x="154" y="275"/>
                  </a:cubicBezTo>
                  <a:cubicBezTo>
                    <a:pt x="154" y="247"/>
                    <a:pt x="154" y="247"/>
                    <a:pt x="154" y="247"/>
                  </a:cubicBezTo>
                  <a:cubicBezTo>
                    <a:pt x="162" y="246"/>
                    <a:pt x="170" y="244"/>
                    <a:pt x="177" y="241"/>
                  </a:cubicBezTo>
                  <a:cubicBezTo>
                    <a:pt x="191" y="265"/>
                    <a:pt x="191" y="265"/>
                    <a:pt x="191" y="265"/>
                  </a:cubicBezTo>
                  <a:cubicBezTo>
                    <a:pt x="221" y="248"/>
                    <a:pt x="221" y="248"/>
                    <a:pt x="221" y="248"/>
                  </a:cubicBezTo>
                  <a:cubicBezTo>
                    <a:pt x="207" y="224"/>
                    <a:pt x="207" y="224"/>
                    <a:pt x="207" y="224"/>
                  </a:cubicBezTo>
                  <a:cubicBezTo>
                    <a:pt x="213" y="219"/>
                    <a:pt x="219" y="214"/>
                    <a:pt x="224" y="207"/>
                  </a:cubicBezTo>
                  <a:cubicBezTo>
                    <a:pt x="247" y="221"/>
                    <a:pt x="247" y="221"/>
                    <a:pt x="247" y="221"/>
                  </a:cubicBezTo>
                  <a:cubicBezTo>
                    <a:pt x="265" y="191"/>
                    <a:pt x="265" y="191"/>
                    <a:pt x="265" y="191"/>
                  </a:cubicBezTo>
                  <a:cubicBezTo>
                    <a:pt x="241" y="178"/>
                    <a:pt x="241" y="178"/>
                    <a:pt x="241" y="178"/>
                  </a:cubicBezTo>
                  <a:cubicBezTo>
                    <a:pt x="244" y="170"/>
                    <a:pt x="246" y="163"/>
                    <a:pt x="247" y="155"/>
                  </a:cubicBezTo>
                  <a:cubicBezTo>
                    <a:pt x="274" y="155"/>
                    <a:pt x="274" y="155"/>
                    <a:pt x="274" y="155"/>
                  </a:cubicBezTo>
                  <a:close/>
                  <a:moveTo>
                    <a:pt x="137" y="215"/>
                  </a:moveTo>
                  <a:cubicBezTo>
                    <a:pt x="95" y="215"/>
                    <a:pt x="60" y="180"/>
                    <a:pt x="60" y="137"/>
                  </a:cubicBezTo>
                  <a:cubicBezTo>
                    <a:pt x="60" y="95"/>
                    <a:pt x="95" y="60"/>
                    <a:pt x="137" y="60"/>
                  </a:cubicBezTo>
                  <a:cubicBezTo>
                    <a:pt x="180" y="60"/>
                    <a:pt x="214" y="95"/>
                    <a:pt x="214" y="137"/>
                  </a:cubicBezTo>
                  <a:cubicBezTo>
                    <a:pt x="214" y="180"/>
                    <a:pt x="180" y="215"/>
                    <a:pt x="137" y="215"/>
                  </a:cubicBezTo>
                  <a:close/>
                </a:path>
              </a:pathLst>
            </a:custGeom>
            <a:solidFill>
              <a:schemeClr val="accent3">
                <a:lumMod val="90000"/>
                <a:lumOff val="10000"/>
              </a:schemeClr>
            </a:solidFill>
            <a:ln>
              <a:noFill/>
            </a:ln>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cs typeface="Segoe UI" panose="020B0502040204020203" pitchFamily="34" charset="0"/>
              </a:endParaRPr>
            </a:p>
          </p:txBody>
        </p:sp>
        <p:sp>
          <p:nvSpPr>
            <p:cNvPr id="31" name="Freeform 23">
              <a:extLst>
                <a:ext uri="{FF2B5EF4-FFF2-40B4-BE49-F238E27FC236}">
                  <a16:creationId xmlns:a16="http://schemas.microsoft.com/office/drawing/2014/main" id="{16AF6F16-1FF3-40A9-910F-F981C64B5D04}"/>
                </a:ext>
              </a:extLst>
            </p:cNvPr>
            <p:cNvSpPr>
              <a:spLocks noEditPoints="1"/>
            </p:cNvSpPr>
            <p:nvPr/>
          </p:nvSpPr>
          <p:spPr bwMode="auto">
            <a:xfrm>
              <a:off x="3530429" y="2291353"/>
              <a:ext cx="439662" cy="440628"/>
            </a:xfrm>
            <a:custGeom>
              <a:avLst/>
              <a:gdLst>
                <a:gd name="T0" fmla="*/ 274 w 274"/>
                <a:gd name="T1" fmla="*/ 155 h 275"/>
                <a:gd name="T2" fmla="*/ 274 w 274"/>
                <a:gd name="T3" fmla="*/ 120 h 275"/>
                <a:gd name="T4" fmla="*/ 247 w 274"/>
                <a:gd name="T5" fmla="*/ 120 h 275"/>
                <a:gd name="T6" fmla="*/ 241 w 274"/>
                <a:gd name="T7" fmla="*/ 97 h 275"/>
                <a:gd name="T8" fmla="*/ 265 w 274"/>
                <a:gd name="T9" fmla="*/ 84 h 275"/>
                <a:gd name="T10" fmla="*/ 247 w 274"/>
                <a:gd name="T11" fmla="*/ 54 h 275"/>
                <a:gd name="T12" fmla="*/ 224 w 274"/>
                <a:gd name="T13" fmla="*/ 67 h 275"/>
                <a:gd name="T14" fmla="*/ 207 w 274"/>
                <a:gd name="T15" fmla="*/ 51 h 275"/>
                <a:gd name="T16" fmla="*/ 221 w 274"/>
                <a:gd name="T17" fmla="*/ 27 h 275"/>
                <a:gd name="T18" fmla="*/ 191 w 274"/>
                <a:gd name="T19" fmla="*/ 10 h 275"/>
                <a:gd name="T20" fmla="*/ 177 w 274"/>
                <a:gd name="T21" fmla="*/ 34 h 275"/>
                <a:gd name="T22" fmla="*/ 154 w 274"/>
                <a:gd name="T23" fmla="*/ 27 h 275"/>
                <a:gd name="T24" fmla="*/ 154 w 274"/>
                <a:gd name="T25" fmla="*/ 0 h 275"/>
                <a:gd name="T26" fmla="*/ 120 w 274"/>
                <a:gd name="T27" fmla="*/ 0 h 275"/>
                <a:gd name="T28" fmla="*/ 120 w 274"/>
                <a:gd name="T29" fmla="*/ 27 h 275"/>
                <a:gd name="T30" fmla="*/ 97 w 274"/>
                <a:gd name="T31" fmla="*/ 34 h 275"/>
                <a:gd name="T32" fmla="*/ 83 w 274"/>
                <a:gd name="T33" fmla="*/ 10 h 275"/>
                <a:gd name="T34" fmla="*/ 54 w 274"/>
                <a:gd name="T35" fmla="*/ 27 h 275"/>
                <a:gd name="T36" fmla="*/ 67 w 274"/>
                <a:gd name="T37" fmla="*/ 51 h 275"/>
                <a:gd name="T38" fmla="*/ 50 w 274"/>
                <a:gd name="T39" fmla="*/ 67 h 275"/>
                <a:gd name="T40" fmla="*/ 27 w 274"/>
                <a:gd name="T41" fmla="*/ 54 h 275"/>
                <a:gd name="T42" fmla="*/ 10 w 274"/>
                <a:gd name="T43" fmla="*/ 84 h 275"/>
                <a:gd name="T44" fmla="*/ 33 w 274"/>
                <a:gd name="T45" fmla="*/ 97 h 275"/>
                <a:gd name="T46" fmla="*/ 27 w 274"/>
                <a:gd name="T47" fmla="*/ 120 h 275"/>
                <a:gd name="T48" fmla="*/ 0 w 274"/>
                <a:gd name="T49" fmla="*/ 120 h 275"/>
                <a:gd name="T50" fmla="*/ 0 w 274"/>
                <a:gd name="T51" fmla="*/ 155 h 275"/>
                <a:gd name="T52" fmla="*/ 27 w 274"/>
                <a:gd name="T53" fmla="*/ 155 h 275"/>
                <a:gd name="T54" fmla="*/ 33 w 274"/>
                <a:gd name="T55" fmla="*/ 178 h 275"/>
                <a:gd name="T56" fmla="*/ 10 w 274"/>
                <a:gd name="T57" fmla="*/ 191 h 275"/>
                <a:gd name="T58" fmla="*/ 27 w 274"/>
                <a:gd name="T59" fmla="*/ 221 h 275"/>
                <a:gd name="T60" fmla="*/ 50 w 274"/>
                <a:gd name="T61" fmla="*/ 207 h 275"/>
                <a:gd name="T62" fmla="*/ 67 w 274"/>
                <a:gd name="T63" fmla="*/ 224 h 275"/>
                <a:gd name="T64" fmla="*/ 54 w 274"/>
                <a:gd name="T65" fmla="*/ 248 h 275"/>
                <a:gd name="T66" fmla="*/ 83 w 274"/>
                <a:gd name="T67" fmla="*/ 265 h 275"/>
                <a:gd name="T68" fmla="*/ 97 w 274"/>
                <a:gd name="T69" fmla="*/ 241 h 275"/>
                <a:gd name="T70" fmla="*/ 120 w 274"/>
                <a:gd name="T71" fmla="*/ 247 h 275"/>
                <a:gd name="T72" fmla="*/ 120 w 274"/>
                <a:gd name="T73" fmla="*/ 275 h 275"/>
                <a:gd name="T74" fmla="*/ 154 w 274"/>
                <a:gd name="T75" fmla="*/ 275 h 275"/>
                <a:gd name="T76" fmla="*/ 154 w 274"/>
                <a:gd name="T77" fmla="*/ 247 h 275"/>
                <a:gd name="T78" fmla="*/ 177 w 274"/>
                <a:gd name="T79" fmla="*/ 241 h 275"/>
                <a:gd name="T80" fmla="*/ 191 w 274"/>
                <a:gd name="T81" fmla="*/ 265 h 275"/>
                <a:gd name="T82" fmla="*/ 221 w 274"/>
                <a:gd name="T83" fmla="*/ 248 h 275"/>
                <a:gd name="T84" fmla="*/ 207 w 274"/>
                <a:gd name="T85" fmla="*/ 224 h 275"/>
                <a:gd name="T86" fmla="*/ 224 w 274"/>
                <a:gd name="T87" fmla="*/ 207 h 275"/>
                <a:gd name="T88" fmla="*/ 247 w 274"/>
                <a:gd name="T89" fmla="*/ 221 h 275"/>
                <a:gd name="T90" fmla="*/ 265 w 274"/>
                <a:gd name="T91" fmla="*/ 191 h 275"/>
                <a:gd name="T92" fmla="*/ 241 w 274"/>
                <a:gd name="T93" fmla="*/ 178 h 275"/>
                <a:gd name="T94" fmla="*/ 247 w 274"/>
                <a:gd name="T95" fmla="*/ 155 h 275"/>
                <a:gd name="T96" fmla="*/ 274 w 274"/>
                <a:gd name="T97" fmla="*/ 155 h 275"/>
                <a:gd name="T98" fmla="*/ 137 w 274"/>
                <a:gd name="T99" fmla="*/ 215 h 275"/>
                <a:gd name="T100" fmla="*/ 60 w 274"/>
                <a:gd name="T101" fmla="*/ 137 h 275"/>
                <a:gd name="T102" fmla="*/ 137 w 274"/>
                <a:gd name="T103" fmla="*/ 60 h 275"/>
                <a:gd name="T104" fmla="*/ 214 w 274"/>
                <a:gd name="T105" fmla="*/ 137 h 275"/>
                <a:gd name="T106" fmla="*/ 137 w 274"/>
                <a:gd name="T107" fmla="*/ 21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4" h="275">
                  <a:moveTo>
                    <a:pt x="274" y="155"/>
                  </a:moveTo>
                  <a:cubicBezTo>
                    <a:pt x="274" y="120"/>
                    <a:pt x="274" y="120"/>
                    <a:pt x="274" y="120"/>
                  </a:cubicBezTo>
                  <a:cubicBezTo>
                    <a:pt x="247" y="120"/>
                    <a:pt x="247" y="120"/>
                    <a:pt x="247" y="120"/>
                  </a:cubicBezTo>
                  <a:cubicBezTo>
                    <a:pt x="246" y="112"/>
                    <a:pt x="244" y="105"/>
                    <a:pt x="241" y="97"/>
                  </a:cubicBezTo>
                  <a:cubicBezTo>
                    <a:pt x="265" y="84"/>
                    <a:pt x="265" y="84"/>
                    <a:pt x="265" y="84"/>
                  </a:cubicBezTo>
                  <a:cubicBezTo>
                    <a:pt x="247" y="54"/>
                    <a:pt x="247" y="54"/>
                    <a:pt x="247" y="54"/>
                  </a:cubicBezTo>
                  <a:cubicBezTo>
                    <a:pt x="224" y="67"/>
                    <a:pt x="224" y="67"/>
                    <a:pt x="224" y="67"/>
                  </a:cubicBezTo>
                  <a:cubicBezTo>
                    <a:pt x="219" y="61"/>
                    <a:pt x="213" y="56"/>
                    <a:pt x="207" y="51"/>
                  </a:cubicBezTo>
                  <a:cubicBezTo>
                    <a:pt x="221" y="27"/>
                    <a:pt x="221" y="27"/>
                    <a:pt x="221" y="27"/>
                  </a:cubicBezTo>
                  <a:cubicBezTo>
                    <a:pt x="191" y="10"/>
                    <a:pt x="191" y="10"/>
                    <a:pt x="191" y="10"/>
                  </a:cubicBezTo>
                  <a:cubicBezTo>
                    <a:pt x="177" y="34"/>
                    <a:pt x="177" y="34"/>
                    <a:pt x="177" y="34"/>
                  </a:cubicBezTo>
                  <a:cubicBezTo>
                    <a:pt x="170" y="31"/>
                    <a:pt x="162" y="29"/>
                    <a:pt x="154" y="27"/>
                  </a:cubicBezTo>
                  <a:cubicBezTo>
                    <a:pt x="154" y="0"/>
                    <a:pt x="154" y="0"/>
                    <a:pt x="154" y="0"/>
                  </a:cubicBezTo>
                  <a:cubicBezTo>
                    <a:pt x="120" y="0"/>
                    <a:pt x="120" y="0"/>
                    <a:pt x="120" y="0"/>
                  </a:cubicBezTo>
                  <a:cubicBezTo>
                    <a:pt x="120" y="27"/>
                    <a:pt x="120" y="27"/>
                    <a:pt x="120" y="27"/>
                  </a:cubicBezTo>
                  <a:cubicBezTo>
                    <a:pt x="112" y="29"/>
                    <a:pt x="104" y="31"/>
                    <a:pt x="97" y="34"/>
                  </a:cubicBezTo>
                  <a:cubicBezTo>
                    <a:pt x="83" y="10"/>
                    <a:pt x="83" y="10"/>
                    <a:pt x="83" y="10"/>
                  </a:cubicBezTo>
                  <a:cubicBezTo>
                    <a:pt x="54" y="27"/>
                    <a:pt x="54" y="27"/>
                    <a:pt x="54" y="27"/>
                  </a:cubicBezTo>
                  <a:cubicBezTo>
                    <a:pt x="67" y="51"/>
                    <a:pt x="67" y="51"/>
                    <a:pt x="67" y="51"/>
                  </a:cubicBezTo>
                  <a:cubicBezTo>
                    <a:pt x="61" y="56"/>
                    <a:pt x="55" y="61"/>
                    <a:pt x="50" y="67"/>
                  </a:cubicBezTo>
                  <a:cubicBezTo>
                    <a:pt x="27" y="54"/>
                    <a:pt x="27" y="54"/>
                    <a:pt x="27" y="54"/>
                  </a:cubicBezTo>
                  <a:cubicBezTo>
                    <a:pt x="10" y="84"/>
                    <a:pt x="10" y="84"/>
                    <a:pt x="10" y="84"/>
                  </a:cubicBezTo>
                  <a:cubicBezTo>
                    <a:pt x="33" y="97"/>
                    <a:pt x="33" y="97"/>
                    <a:pt x="33" y="97"/>
                  </a:cubicBezTo>
                  <a:cubicBezTo>
                    <a:pt x="30" y="105"/>
                    <a:pt x="28" y="112"/>
                    <a:pt x="27" y="120"/>
                  </a:cubicBezTo>
                  <a:cubicBezTo>
                    <a:pt x="0" y="120"/>
                    <a:pt x="0" y="120"/>
                    <a:pt x="0" y="120"/>
                  </a:cubicBezTo>
                  <a:cubicBezTo>
                    <a:pt x="0" y="155"/>
                    <a:pt x="0" y="155"/>
                    <a:pt x="0" y="155"/>
                  </a:cubicBezTo>
                  <a:cubicBezTo>
                    <a:pt x="27" y="155"/>
                    <a:pt x="27" y="155"/>
                    <a:pt x="27" y="155"/>
                  </a:cubicBezTo>
                  <a:cubicBezTo>
                    <a:pt x="28" y="163"/>
                    <a:pt x="30" y="170"/>
                    <a:pt x="33" y="178"/>
                  </a:cubicBezTo>
                  <a:cubicBezTo>
                    <a:pt x="10" y="191"/>
                    <a:pt x="10" y="191"/>
                    <a:pt x="10" y="191"/>
                  </a:cubicBezTo>
                  <a:cubicBezTo>
                    <a:pt x="27" y="221"/>
                    <a:pt x="27" y="221"/>
                    <a:pt x="27" y="221"/>
                  </a:cubicBezTo>
                  <a:cubicBezTo>
                    <a:pt x="50" y="207"/>
                    <a:pt x="50" y="207"/>
                    <a:pt x="50" y="207"/>
                  </a:cubicBezTo>
                  <a:cubicBezTo>
                    <a:pt x="55" y="214"/>
                    <a:pt x="61" y="219"/>
                    <a:pt x="67" y="224"/>
                  </a:cubicBezTo>
                  <a:cubicBezTo>
                    <a:pt x="54" y="248"/>
                    <a:pt x="54" y="248"/>
                    <a:pt x="54" y="248"/>
                  </a:cubicBezTo>
                  <a:cubicBezTo>
                    <a:pt x="83" y="265"/>
                    <a:pt x="83" y="265"/>
                    <a:pt x="83" y="265"/>
                  </a:cubicBezTo>
                  <a:cubicBezTo>
                    <a:pt x="97" y="241"/>
                    <a:pt x="97" y="241"/>
                    <a:pt x="97" y="241"/>
                  </a:cubicBezTo>
                  <a:cubicBezTo>
                    <a:pt x="104" y="244"/>
                    <a:pt x="112" y="246"/>
                    <a:pt x="120" y="247"/>
                  </a:cubicBezTo>
                  <a:cubicBezTo>
                    <a:pt x="120" y="275"/>
                    <a:pt x="120" y="275"/>
                    <a:pt x="120" y="275"/>
                  </a:cubicBezTo>
                  <a:cubicBezTo>
                    <a:pt x="154" y="275"/>
                    <a:pt x="154" y="275"/>
                    <a:pt x="154" y="275"/>
                  </a:cubicBezTo>
                  <a:cubicBezTo>
                    <a:pt x="154" y="247"/>
                    <a:pt x="154" y="247"/>
                    <a:pt x="154" y="247"/>
                  </a:cubicBezTo>
                  <a:cubicBezTo>
                    <a:pt x="162" y="246"/>
                    <a:pt x="170" y="244"/>
                    <a:pt x="177" y="241"/>
                  </a:cubicBezTo>
                  <a:cubicBezTo>
                    <a:pt x="191" y="265"/>
                    <a:pt x="191" y="265"/>
                    <a:pt x="191" y="265"/>
                  </a:cubicBezTo>
                  <a:cubicBezTo>
                    <a:pt x="221" y="248"/>
                    <a:pt x="221" y="248"/>
                    <a:pt x="221" y="248"/>
                  </a:cubicBezTo>
                  <a:cubicBezTo>
                    <a:pt x="207" y="224"/>
                    <a:pt x="207" y="224"/>
                    <a:pt x="207" y="224"/>
                  </a:cubicBezTo>
                  <a:cubicBezTo>
                    <a:pt x="213" y="219"/>
                    <a:pt x="219" y="214"/>
                    <a:pt x="224" y="207"/>
                  </a:cubicBezTo>
                  <a:cubicBezTo>
                    <a:pt x="247" y="221"/>
                    <a:pt x="247" y="221"/>
                    <a:pt x="247" y="221"/>
                  </a:cubicBezTo>
                  <a:cubicBezTo>
                    <a:pt x="265" y="191"/>
                    <a:pt x="265" y="191"/>
                    <a:pt x="265" y="191"/>
                  </a:cubicBezTo>
                  <a:cubicBezTo>
                    <a:pt x="241" y="178"/>
                    <a:pt x="241" y="178"/>
                    <a:pt x="241" y="178"/>
                  </a:cubicBezTo>
                  <a:cubicBezTo>
                    <a:pt x="244" y="170"/>
                    <a:pt x="246" y="163"/>
                    <a:pt x="247" y="155"/>
                  </a:cubicBezTo>
                  <a:cubicBezTo>
                    <a:pt x="274" y="155"/>
                    <a:pt x="274" y="155"/>
                    <a:pt x="274" y="155"/>
                  </a:cubicBezTo>
                  <a:close/>
                  <a:moveTo>
                    <a:pt x="137" y="215"/>
                  </a:moveTo>
                  <a:cubicBezTo>
                    <a:pt x="95" y="215"/>
                    <a:pt x="60" y="180"/>
                    <a:pt x="60" y="137"/>
                  </a:cubicBezTo>
                  <a:cubicBezTo>
                    <a:pt x="60" y="95"/>
                    <a:pt x="95" y="60"/>
                    <a:pt x="137" y="60"/>
                  </a:cubicBezTo>
                  <a:cubicBezTo>
                    <a:pt x="180" y="60"/>
                    <a:pt x="214" y="95"/>
                    <a:pt x="214" y="137"/>
                  </a:cubicBezTo>
                  <a:cubicBezTo>
                    <a:pt x="214" y="180"/>
                    <a:pt x="180" y="215"/>
                    <a:pt x="137" y="215"/>
                  </a:cubicBezTo>
                  <a:close/>
                </a:path>
              </a:pathLst>
            </a:custGeom>
            <a:solidFill>
              <a:schemeClr val="accent3">
                <a:lumMod val="90000"/>
                <a:lumOff val="10000"/>
              </a:schemeClr>
            </a:solidFill>
            <a:ln>
              <a:noFill/>
            </a:ln>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cs typeface="Segoe UI" panose="020B0502040204020203" pitchFamily="34" charset="0"/>
              </a:endParaRPr>
            </a:p>
          </p:txBody>
        </p:sp>
        <p:sp>
          <p:nvSpPr>
            <p:cNvPr id="32" name="Freeform 23">
              <a:extLst>
                <a:ext uri="{FF2B5EF4-FFF2-40B4-BE49-F238E27FC236}">
                  <a16:creationId xmlns:a16="http://schemas.microsoft.com/office/drawing/2014/main" id="{08770704-15C5-4E81-BE4D-E27EAD683F72}"/>
                </a:ext>
              </a:extLst>
            </p:cNvPr>
            <p:cNvSpPr>
              <a:spLocks noEditPoints="1"/>
            </p:cNvSpPr>
            <p:nvPr/>
          </p:nvSpPr>
          <p:spPr bwMode="auto">
            <a:xfrm>
              <a:off x="3024614" y="3105504"/>
              <a:ext cx="912187" cy="914189"/>
            </a:xfrm>
            <a:custGeom>
              <a:avLst/>
              <a:gdLst>
                <a:gd name="T0" fmla="*/ 274 w 274"/>
                <a:gd name="T1" fmla="*/ 155 h 275"/>
                <a:gd name="T2" fmla="*/ 274 w 274"/>
                <a:gd name="T3" fmla="*/ 120 h 275"/>
                <a:gd name="T4" fmla="*/ 247 w 274"/>
                <a:gd name="T5" fmla="*/ 120 h 275"/>
                <a:gd name="T6" fmla="*/ 241 w 274"/>
                <a:gd name="T7" fmla="*/ 97 h 275"/>
                <a:gd name="T8" fmla="*/ 265 w 274"/>
                <a:gd name="T9" fmla="*/ 84 h 275"/>
                <a:gd name="T10" fmla="*/ 247 w 274"/>
                <a:gd name="T11" fmla="*/ 54 h 275"/>
                <a:gd name="T12" fmla="*/ 224 w 274"/>
                <a:gd name="T13" fmla="*/ 67 h 275"/>
                <a:gd name="T14" fmla="*/ 207 w 274"/>
                <a:gd name="T15" fmla="*/ 51 h 275"/>
                <a:gd name="T16" fmla="*/ 221 w 274"/>
                <a:gd name="T17" fmla="*/ 27 h 275"/>
                <a:gd name="T18" fmla="*/ 191 w 274"/>
                <a:gd name="T19" fmla="*/ 10 h 275"/>
                <a:gd name="T20" fmla="*/ 177 w 274"/>
                <a:gd name="T21" fmla="*/ 34 h 275"/>
                <a:gd name="T22" fmla="*/ 154 w 274"/>
                <a:gd name="T23" fmla="*/ 27 h 275"/>
                <a:gd name="T24" fmla="*/ 154 w 274"/>
                <a:gd name="T25" fmla="*/ 0 h 275"/>
                <a:gd name="T26" fmla="*/ 120 w 274"/>
                <a:gd name="T27" fmla="*/ 0 h 275"/>
                <a:gd name="T28" fmla="*/ 120 w 274"/>
                <a:gd name="T29" fmla="*/ 27 h 275"/>
                <a:gd name="T30" fmla="*/ 97 w 274"/>
                <a:gd name="T31" fmla="*/ 34 h 275"/>
                <a:gd name="T32" fmla="*/ 83 w 274"/>
                <a:gd name="T33" fmla="*/ 10 h 275"/>
                <a:gd name="T34" fmla="*/ 54 w 274"/>
                <a:gd name="T35" fmla="*/ 27 h 275"/>
                <a:gd name="T36" fmla="*/ 67 w 274"/>
                <a:gd name="T37" fmla="*/ 51 h 275"/>
                <a:gd name="T38" fmla="*/ 50 w 274"/>
                <a:gd name="T39" fmla="*/ 67 h 275"/>
                <a:gd name="T40" fmla="*/ 27 w 274"/>
                <a:gd name="T41" fmla="*/ 54 h 275"/>
                <a:gd name="T42" fmla="*/ 10 w 274"/>
                <a:gd name="T43" fmla="*/ 84 h 275"/>
                <a:gd name="T44" fmla="*/ 33 w 274"/>
                <a:gd name="T45" fmla="*/ 97 h 275"/>
                <a:gd name="T46" fmla="*/ 27 w 274"/>
                <a:gd name="T47" fmla="*/ 120 h 275"/>
                <a:gd name="T48" fmla="*/ 0 w 274"/>
                <a:gd name="T49" fmla="*/ 120 h 275"/>
                <a:gd name="T50" fmla="*/ 0 w 274"/>
                <a:gd name="T51" fmla="*/ 155 h 275"/>
                <a:gd name="T52" fmla="*/ 27 w 274"/>
                <a:gd name="T53" fmla="*/ 155 h 275"/>
                <a:gd name="T54" fmla="*/ 33 w 274"/>
                <a:gd name="T55" fmla="*/ 178 h 275"/>
                <a:gd name="T56" fmla="*/ 10 w 274"/>
                <a:gd name="T57" fmla="*/ 191 h 275"/>
                <a:gd name="T58" fmla="*/ 27 w 274"/>
                <a:gd name="T59" fmla="*/ 221 h 275"/>
                <a:gd name="T60" fmla="*/ 50 w 274"/>
                <a:gd name="T61" fmla="*/ 207 h 275"/>
                <a:gd name="T62" fmla="*/ 67 w 274"/>
                <a:gd name="T63" fmla="*/ 224 h 275"/>
                <a:gd name="T64" fmla="*/ 54 w 274"/>
                <a:gd name="T65" fmla="*/ 248 h 275"/>
                <a:gd name="T66" fmla="*/ 83 w 274"/>
                <a:gd name="T67" fmla="*/ 265 h 275"/>
                <a:gd name="T68" fmla="*/ 97 w 274"/>
                <a:gd name="T69" fmla="*/ 241 h 275"/>
                <a:gd name="T70" fmla="*/ 120 w 274"/>
                <a:gd name="T71" fmla="*/ 247 h 275"/>
                <a:gd name="T72" fmla="*/ 120 w 274"/>
                <a:gd name="T73" fmla="*/ 275 h 275"/>
                <a:gd name="T74" fmla="*/ 154 w 274"/>
                <a:gd name="T75" fmla="*/ 275 h 275"/>
                <a:gd name="T76" fmla="*/ 154 w 274"/>
                <a:gd name="T77" fmla="*/ 247 h 275"/>
                <a:gd name="T78" fmla="*/ 177 w 274"/>
                <a:gd name="T79" fmla="*/ 241 h 275"/>
                <a:gd name="T80" fmla="*/ 191 w 274"/>
                <a:gd name="T81" fmla="*/ 265 h 275"/>
                <a:gd name="T82" fmla="*/ 221 w 274"/>
                <a:gd name="T83" fmla="*/ 248 h 275"/>
                <a:gd name="T84" fmla="*/ 207 w 274"/>
                <a:gd name="T85" fmla="*/ 224 h 275"/>
                <a:gd name="T86" fmla="*/ 224 w 274"/>
                <a:gd name="T87" fmla="*/ 207 h 275"/>
                <a:gd name="T88" fmla="*/ 247 w 274"/>
                <a:gd name="T89" fmla="*/ 221 h 275"/>
                <a:gd name="T90" fmla="*/ 265 w 274"/>
                <a:gd name="T91" fmla="*/ 191 h 275"/>
                <a:gd name="T92" fmla="*/ 241 w 274"/>
                <a:gd name="T93" fmla="*/ 178 h 275"/>
                <a:gd name="T94" fmla="*/ 247 w 274"/>
                <a:gd name="T95" fmla="*/ 155 h 275"/>
                <a:gd name="T96" fmla="*/ 274 w 274"/>
                <a:gd name="T97" fmla="*/ 155 h 275"/>
                <a:gd name="T98" fmla="*/ 137 w 274"/>
                <a:gd name="T99" fmla="*/ 215 h 275"/>
                <a:gd name="T100" fmla="*/ 60 w 274"/>
                <a:gd name="T101" fmla="*/ 137 h 275"/>
                <a:gd name="T102" fmla="*/ 137 w 274"/>
                <a:gd name="T103" fmla="*/ 60 h 275"/>
                <a:gd name="T104" fmla="*/ 214 w 274"/>
                <a:gd name="T105" fmla="*/ 137 h 275"/>
                <a:gd name="T106" fmla="*/ 137 w 274"/>
                <a:gd name="T107" fmla="*/ 21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4" h="275">
                  <a:moveTo>
                    <a:pt x="274" y="155"/>
                  </a:moveTo>
                  <a:cubicBezTo>
                    <a:pt x="274" y="120"/>
                    <a:pt x="274" y="120"/>
                    <a:pt x="274" y="120"/>
                  </a:cubicBezTo>
                  <a:cubicBezTo>
                    <a:pt x="247" y="120"/>
                    <a:pt x="247" y="120"/>
                    <a:pt x="247" y="120"/>
                  </a:cubicBezTo>
                  <a:cubicBezTo>
                    <a:pt x="246" y="112"/>
                    <a:pt x="244" y="105"/>
                    <a:pt x="241" y="97"/>
                  </a:cubicBezTo>
                  <a:cubicBezTo>
                    <a:pt x="265" y="84"/>
                    <a:pt x="265" y="84"/>
                    <a:pt x="265" y="84"/>
                  </a:cubicBezTo>
                  <a:cubicBezTo>
                    <a:pt x="247" y="54"/>
                    <a:pt x="247" y="54"/>
                    <a:pt x="247" y="54"/>
                  </a:cubicBezTo>
                  <a:cubicBezTo>
                    <a:pt x="224" y="67"/>
                    <a:pt x="224" y="67"/>
                    <a:pt x="224" y="67"/>
                  </a:cubicBezTo>
                  <a:cubicBezTo>
                    <a:pt x="219" y="61"/>
                    <a:pt x="213" y="56"/>
                    <a:pt x="207" y="51"/>
                  </a:cubicBezTo>
                  <a:cubicBezTo>
                    <a:pt x="221" y="27"/>
                    <a:pt x="221" y="27"/>
                    <a:pt x="221" y="27"/>
                  </a:cubicBezTo>
                  <a:cubicBezTo>
                    <a:pt x="191" y="10"/>
                    <a:pt x="191" y="10"/>
                    <a:pt x="191" y="10"/>
                  </a:cubicBezTo>
                  <a:cubicBezTo>
                    <a:pt x="177" y="34"/>
                    <a:pt x="177" y="34"/>
                    <a:pt x="177" y="34"/>
                  </a:cubicBezTo>
                  <a:cubicBezTo>
                    <a:pt x="170" y="31"/>
                    <a:pt x="162" y="29"/>
                    <a:pt x="154" y="27"/>
                  </a:cubicBezTo>
                  <a:cubicBezTo>
                    <a:pt x="154" y="0"/>
                    <a:pt x="154" y="0"/>
                    <a:pt x="154" y="0"/>
                  </a:cubicBezTo>
                  <a:cubicBezTo>
                    <a:pt x="120" y="0"/>
                    <a:pt x="120" y="0"/>
                    <a:pt x="120" y="0"/>
                  </a:cubicBezTo>
                  <a:cubicBezTo>
                    <a:pt x="120" y="27"/>
                    <a:pt x="120" y="27"/>
                    <a:pt x="120" y="27"/>
                  </a:cubicBezTo>
                  <a:cubicBezTo>
                    <a:pt x="112" y="29"/>
                    <a:pt x="104" y="31"/>
                    <a:pt x="97" y="34"/>
                  </a:cubicBezTo>
                  <a:cubicBezTo>
                    <a:pt x="83" y="10"/>
                    <a:pt x="83" y="10"/>
                    <a:pt x="83" y="10"/>
                  </a:cubicBezTo>
                  <a:cubicBezTo>
                    <a:pt x="54" y="27"/>
                    <a:pt x="54" y="27"/>
                    <a:pt x="54" y="27"/>
                  </a:cubicBezTo>
                  <a:cubicBezTo>
                    <a:pt x="67" y="51"/>
                    <a:pt x="67" y="51"/>
                    <a:pt x="67" y="51"/>
                  </a:cubicBezTo>
                  <a:cubicBezTo>
                    <a:pt x="61" y="56"/>
                    <a:pt x="55" y="61"/>
                    <a:pt x="50" y="67"/>
                  </a:cubicBezTo>
                  <a:cubicBezTo>
                    <a:pt x="27" y="54"/>
                    <a:pt x="27" y="54"/>
                    <a:pt x="27" y="54"/>
                  </a:cubicBezTo>
                  <a:cubicBezTo>
                    <a:pt x="10" y="84"/>
                    <a:pt x="10" y="84"/>
                    <a:pt x="10" y="84"/>
                  </a:cubicBezTo>
                  <a:cubicBezTo>
                    <a:pt x="33" y="97"/>
                    <a:pt x="33" y="97"/>
                    <a:pt x="33" y="97"/>
                  </a:cubicBezTo>
                  <a:cubicBezTo>
                    <a:pt x="30" y="105"/>
                    <a:pt x="28" y="112"/>
                    <a:pt x="27" y="120"/>
                  </a:cubicBezTo>
                  <a:cubicBezTo>
                    <a:pt x="0" y="120"/>
                    <a:pt x="0" y="120"/>
                    <a:pt x="0" y="120"/>
                  </a:cubicBezTo>
                  <a:cubicBezTo>
                    <a:pt x="0" y="155"/>
                    <a:pt x="0" y="155"/>
                    <a:pt x="0" y="155"/>
                  </a:cubicBezTo>
                  <a:cubicBezTo>
                    <a:pt x="27" y="155"/>
                    <a:pt x="27" y="155"/>
                    <a:pt x="27" y="155"/>
                  </a:cubicBezTo>
                  <a:cubicBezTo>
                    <a:pt x="28" y="163"/>
                    <a:pt x="30" y="170"/>
                    <a:pt x="33" y="178"/>
                  </a:cubicBezTo>
                  <a:cubicBezTo>
                    <a:pt x="10" y="191"/>
                    <a:pt x="10" y="191"/>
                    <a:pt x="10" y="191"/>
                  </a:cubicBezTo>
                  <a:cubicBezTo>
                    <a:pt x="27" y="221"/>
                    <a:pt x="27" y="221"/>
                    <a:pt x="27" y="221"/>
                  </a:cubicBezTo>
                  <a:cubicBezTo>
                    <a:pt x="50" y="207"/>
                    <a:pt x="50" y="207"/>
                    <a:pt x="50" y="207"/>
                  </a:cubicBezTo>
                  <a:cubicBezTo>
                    <a:pt x="55" y="214"/>
                    <a:pt x="61" y="219"/>
                    <a:pt x="67" y="224"/>
                  </a:cubicBezTo>
                  <a:cubicBezTo>
                    <a:pt x="54" y="248"/>
                    <a:pt x="54" y="248"/>
                    <a:pt x="54" y="248"/>
                  </a:cubicBezTo>
                  <a:cubicBezTo>
                    <a:pt x="83" y="265"/>
                    <a:pt x="83" y="265"/>
                    <a:pt x="83" y="265"/>
                  </a:cubicBezTo>
                  <a:cubicBezTo>
                    <a:pt x="97" y="241"/>
                    <a:pt x="97" y="241"/>
                    <a:pt x="97" y="241"/>
                  </a:cubicBezTo>
                  <a:cubicBezTo>
                    <a:pt x="104" y="244"/>
                    <a:pt x="112" y="246"/>
                    <a:pt x="120" y="247"/>
                  </a:cubicBezTo>
                  <a:cubicBezTo>
                    <a:pt x="120" y="275"/>
                    <a:pt x="120" y="275"/>
                    <a:pt x="120" y="275"/>
                  </a:cubicBezTo>
                  <a:cubicBezTo>
                    <a:pt x="154" y="275"/>
                    <a:pt x="154" y="275"/>
                    <a:pt x="154" y="275"/>
                  </a:cubicBezTo>
                  <a:cubicBezTo>
                    <a:pt x="154" y="247"/>
                    <a:pt x="154" y="247"/>
                    <a:pt x="154" y="247"/>
                  </a:cubicBezTo>
                  <a:cubicBezTo>
                    <a:pt x="162" y="246"/>
                    <a:pt x="170" y="244"/>
                    <a:pt x="177" y="241"/>
                  </a:cubicBezTo>
                  <a:cubicBezTo>
                    <a:pt x="191" y="265"/>
                    <a:pt x="191" y="265"/>
                    <a:pt x="191" y="265"/>
                  </a:cubicBezTo>
                  <a:cubicBezTo>
                    <a:pt x="221" y="248"/>
                    <a:pt x="221" y="248"/>
                    <a:pt x="221" y="248"/>
                  </a:cubicBezTo>
                  <a:cubicBezTo>
                    <a:pt x="207" y="224"/>
                    <a:pt x="207" y="224"/>
                    <a:pt x="207" y="224"/>
                  </a:cubicBezTo>
                  <a:cubicBezTo>
                    <a:pt x="213" y="219"/>
                    <a:pt x="219" y="214"/>
                    <a:pt x="224" y="207"/>
                  </a:cubicBezTo>
                  <a:cubicBezTo>
                    <a:pt x="247" y="221"/>
                    <a:pt x="247" y="221"/>
                    <a:pt x="247" y="221"/>
                  </a:cubicBezTo>
                  <a:cubicBezTo>
                    <a:pt x="265" y="191"/>
                    <a:pt x="265" y="191"/>
                    <a:pt x="265" y="191"/>
                  </a:cubicBezTo>
                  <a:cubicBezTo>
                    <a:pt x="241" y="178"/>
                    <a:pt x="241" y="178"/>
                    <a:pt x="241" y="178"/>
                  </a:cubicBezTo>
                  <a:cubicBezTo>
                    <a:pt x="244" y="170"/>
                    <a:pt x="246" y="163"/>
                    <a:pt x="247" y="155"/>
                  </a:cubicBezTo>
                  <a:cubicBezTo>
                    <a:pt x="274" y="155"/>
                    <a:pt x="274" y="155"/>
                    <a:pt x="274" y="155"/>
                  </a:cubicBezTo>
                  <a:close/>
                  <a:moveTo>
                    <a:pt x="137" y="215"/>
                  </a:moveTo>
                  <a:cubicBezTo>
                    <a:pt x="95" y="215"/>
                    <a:pt x="60" y="180"/>
                    <a:pt x="60" y="137"/>
                  </a:cubicBezTo>
                  <a:cubicBezTo>
                    <a:pt x="60" y="95"/>
                    <a:pt x="95" y="60"/>
                    <a:pt x="137" y="60"/>
                  </a:cubicBezTo>
                  <a:cubicBezTo>
                    <a:pt x="180" y="60"/>
                    <a:pt x="214" y="95"/>
                    <a:pt x="214" y="137"/>
                  </a:cubicBezTo>
                  <a:cubicBezTo>
                    <a:pt x="214" y="180"/>
                    <a:pt x="180" y="215"/>
                    <a:pt x="137" y="215"/>
                  </a:cubicBezTo>
                  <a:close/>
                </a:path>
              </a:pathLst>
            </a:custGeom>
            <a:solidFill>
              <a:schemeClr val="accent3">
                <a:lumMod val="90000"/>
                <a:lumOff val="10000"/>
              </a:schemeClr>
            </a:solidFill>
            <a:ln>
              <a:noFill/>
            </a:ln>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cs typeface="Segoe UI" panose="020B0502040204020203" pitchFamily="34" charset="0"/>
              </a:endParaRPr>
            </a:p>
          </p:txBody>
        </p:sp>
        <p:sp>
          <p:nvSpPr>
            <p:cNvPr id="33" name="Freeform 20">
              <a:extLst>
                <a:ext uri="{FF2B5EF4-FFF2-40B4-BE49-F238E27FC236}">
                  <a16:creationId xmlns:a16="http://schemas.microsoft.com/office/drawing/2014/main" id="{7C3B23CB-A63C-478A-9A4E-8AF55C9E36DE}"/>
                </a:ext>
              </a:extLst>
            </p:cNvPr>
            <p:cNvSpPr>
              <a:spLocks/>
            </p:cNvSpPr>
            <p:nvPr/>
          </p:nvSpPr>
          <p:spPr bwMode="auto">
            <a:xfrm>
              <a:off x="3667860" y="2785398"/>
              <a:ext cx="381164" cy="383836"/>
            </a:xfrm>
            <a:custGeom>
              <a:avLst/>
              <a:gdLst>
                <a:gd name="T0" fmla="*/ 66 w 141"/>
                <a:gd name="T1" fmla="*/ 135 h 142"/>
                <a:gd name="T2" fmla="*/ 54 w 141"/>
                <a:gd name="T3" fmla="*/ 140 h 142"/>
                <a:gd name="T4" fmla="*/ 49 w 141"/>
                <a:gd name="T5" fmla="*/ 132 h 142"/>
                <a:gd name="T6" fmla="*/ 42 w 141"/>
                <a:gd name="T7" fmla="*/ 129 h 142"/>
                <a:gd name="T8" fmla="*/ 29 w 141"/>
                <a:gd name="T9" fmla="*/ 128 h 142"/>
                <a:gd name="T10" fmla="*/ 28 w 141"/>
                <a:gd name="T11" fmla="*/ 119 h 142"/>
                <a:gd name="T12" fmla="*/ 22 w 141"/>
                <a:gd name="T13" fmla="*/ 114 h 142"/>
                <a:gd name="T14" fmla="*/ 10 w 141"/>
                <a:gd name="T15" fmla="*/ 108 h 142"/>
                <a:gd name="T16" fmla="*/ 12 w 141"/>
                <a:gd name="T17" fmla="*/ 99 h 142"/>
                <a:gd name="T18" fmla="*/ 10 w 141"/>
                <a:gd name="T19" fmla="*/ 92 h 142"/>
                <a:gd name="T20" fmla="*/ 1 w 141"/>
                <a:gd name="T21" fmla="*/ 82 h 142"/>
                <a:gd name="T22" fmla="*/ 6 w 141"/>
                <a:gd name="T23" fmla="*/ 75 h 142"/>
                <a:gd name="T24" fmla="*/ 6 w 141"/>
                <a:gd name="T25" fmla="*/ 67 h 142"/>
                <a:gd name="T26" fmla="*/ 1 w 141"/>
                <a:gd name="T27" fmla="*/ 60 h 142"/>
                <a:gd name="T28" fmla="*/ 10 w 141"/>
                <a:gd name="T29" fmla="*/ 50 h 142"/>
                <a:gd name="T30" fmla="*/ 12 w 141"/>
                <a:gd name="T31" fmla="*/ 43 h 142"/>
                <a:gd name="T32" fmla="*/ 10 w 141"/>
                <a:gd name="T33" fmla="*/ 34 h 142"/>
                <a:gd name="T34" fmla="*/ 22 w 141"/>
                <a:gd name="T35" fmla="*/ 29 h 142"/>
                <a:gd name="T36" fmla="*/ 28 w 141"/>
                <a:gd name="T37" fmla="*/ 23 h 142"/>
                <a:gd name="T38" fmla="*/ 29 w 141"/>
                <a:gd name="T39" fmla="*/ 14 h 142"/>
                <a:gd name="T40" fmla="*/ 42 w 141"/>
                <a:gd name="T41" fmla="*/ 13 h 142"/>
                <a:gd name="T42" fmla="*/ 49 w 141"/>
                <a:gd name="T43" fmla="*/ 10 h 142"/>
                <a:gd name="T44" fmla="*/ 54 w 141"/>
                <a:gd name="T45" fmla="*/ 2 h 142"/>
                <a:gd name="T46" fmla="*/ 66 w 141"/>
                <a:gd name="T47" fmla="*/ 7 h 142"/>
                <a:gd name="T48" fmla="*/ 73 w 141"/>
                <a:gd name="T49" fmla="*/ 0 h 142"/>
                <a:gd name="T50" fmla="*/ 79 w 141"/>
                <a:gd name="T51" fmla="*/ 7 h 142"/>
                <a:gd name="T52" fmla="*/ 87 w 141"/>
                <a:gd name="T53" fmla="*/ 9 h 142"/>
                <a:gd name="T54" fmla="*/ 100 w 141"/>
                <a:gd name="T55" fmla="*/ 7 h 142"/>
                <a:gd name="T56" fmla="*/ 103 w 141"/>
                <a:gd name="T57" fmla="*/ 16 h 142"/>
                <a:gd name="T58" fmla="*/ 109 w 141"/>
                <a:gd name="T59" fmla="*/ 20 h 142"/>
                <a:gd name="T60" fmla="*/ 122 w 141"/>
                <a:gd name="T61" fmla="*/ 23 h 142"/>
                <a:gd name="T62" fmla="*/ 122 w 141"/>
                <a:gd name="T63" fmla="*/ 32 h 142"/>
                <a:gd name="T64" fmla="*/ 126 w 141"/>
                <a:gd name="T65" fmla="*/ 39 h 142"/>
                <a:gd name="T66" fmla="*/ 137 w 141"/>
                <a:gd name="T67" fmla="*/ 47 h 142"/>
                <a:gd name="T68" fmla="*/ 133 w 141"/>
                <a:gd name="T69" fmla="*/ 55 h 142"/>
                <a:gd name="T70" fmla="*/ 134 w 141"/>
                <a:gd name="T71" fmla="*/ 62 h 142"/>
                <a:gd name="T72" fmla="*/ 141 w 141"/>
                <a:gd name="T73" fmla="*/ 71 h 142"/>
                <a:gd name="T74" fmla="*/ 134 w 141"/>
                <a:gd name="T75" fmla="*/ 80 h 142"/>
                <a:gd name="T76" fmla="*/ 133 w 141"/>
                <a:gd name="T77" fmla="*/ 87 h 142"/>
                <a:gd name="T78" fmla="*/ 137 w 141"/>
                <a:gd name="T79" fmla="*/ 95 h 142"/>
                <a:gd name="T80" fmla="*/ 126 w 141"/>
                <a:gd name="T81" fmla="*/ 103 h 142"/>
                <a:gd name="T82" fmla="*/ 122 w 141"/>
                <a:gd name="T83" fmla="*/ 110 h 142"/>
                <a:gd name="T84" fmla="*/ 122 w 141"/>
                <a:gd name="T85" fmla="*/ 119 h 142"/>
                <a:gd name="T86" fmla="*/ 109 w 141"/>
                <a:gd name="T87" fmla="*/ 122 h 142"/>
                <a:gd name="T88" fmla="*/ 103 w 141"/>
                <a:gd name="T89" fmla="*/ 126 h 142"/>
                <a:gd name="T90" fmla="*/ 100 w 141"/>
                <a:gd name="T91" fmla="*/ 135 h 142"/>
                <a:gd name="T92" fmla="*/ 87 w 141"/>
                <a:gd name="T93" fmla="*/ 133 h 142"/>
                <a:gd name="T94" fmla="*/ 79 w 141"/>
                <a:gd name="T95" fmla="*/ 135 h 142"/>
                <a:gd name="T96" fmla="*/ 73 w 141"/>
                <a:gd name="T97"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 h="142">
                  <a:moveTo>
                    <a:pt x="70" y="142"/>
                  </a:moveTo>
                  <a:cubicBezTo>
                    <a:pt x="69" y="142"/>
                    <a:pt x="68" y="142"/>
                    <a:pt x="67" y="142"/>
                  </a:cubicBezTo>
                  <a:cubicBezTo>
                    <a:pt x="67" y="135"/>
                    <a:pt x="67" y="135"/>
                    <a:pt x="67" y="135"/>
                  </a:cubicBezTo>
                  <a:cubicBezTo>
                    <a:pt x="66" y="135"/>
                    <a:pt x="66" y="135"/>
                    <a:pt x="66" y="135"/>
                  </a:cubicBezTo>
                  <a:cubicBezTo>
                    <a:pt x="65" y="135"/>
                    <a:pt x="63" y="135"/>
                    <a:pt x="62" y="135"/>
                  </a:cubicBezTo>
                  <a:cubicBezTo>
                    <a:pt x="61" y="135"/>
                    <a:pt x="61" y="135"/>
                    <a:pt x="61" y="135"/>
                  </a:cubicBezTo>
                  <a:cubicBezTo>
                    <a:pt x="60" y="141"/>
                    <a:pt x="60" y="141"/>
                    <a:pt x="60" y="141"/>
                  </a:cubicBezTo>
                  <a:cubicBezTo>
                    <a:pt x="58" y="141"/>
                    <a:pt x="56" y="140"/>
                    <a:pt x="54" y="140"/>
                  </a:cubicBezTo>
                  <a:cubicBezTo>
                    <a:pt x="54" y="133"/>
                    <a:pt x="54" y="133"/>
                    <a:pt x="54" y="133"/>
                  </a:cubicBezTo>
                  <a:cubicBezTo>
                    <a:pt x="54" y="133"/>
                    <a:pt x="54" y="133"/>
                    <a:pt x="54" y="133"/>
                  </a:cubicBezTo>
                  <a:cubicBezTo>
                    <a:pt x="52" y="133"/>
                    <a:pt x="51" y="132"/>
                    <a:pt x="50" y="132"/>
                  </a:cubicBezTo>
                  <a:cubicBezTo>
                    <a:pt x="49" y="132"/>
                    <a:pt x="49" y="132"/>
                    <a:pt x="49" y="132"/>
                  </a:cubicBezTo>
                  <a:cubicBezTo>
                    <a:pt x="46" y="137"/>
                    <a:pt x="46" y="137"/>
                    <a:pt x="46" y="137"/>
                  </a:cubicBezTo>
                  <a:cubicBezTo>
                    <a:pt x="44" y="137"/>
                    <a:pt x="42" y="136"/>
                    <a:pt x="41" y="135"/>
                  </a:cubicBezTo>
                  <a:cubicBezTo>
                    <a:pt x="42" y="129"/>
                    <a:pt x="42" y="129"/>
                    <a:pt x="42" y="129"/>
                  </a:cubicBezTo>
                  <a:cubicBezTo>
                    <a:pt x="42" y="129"/>
                    <a:pt x="42" y="129"/>
                    <a:pt x="42" y="129"/>
                  </a:cubicBezTo>
                  <a:cubicBezTo>
                    <a:pt x="41" y="128"/>
                    <a:pt x="39" y="127"/>
                    <a:pt x="38" y="127"/>
                  </a:cubicBezTo>
                  <a:cubicBezTo>
                    <a:pt x="38" y="126"/>
                    <a:pt x="38" y="126"/>
                    <a:pt x="38" y="126"/>
                  </a:cubicBezTo>
                  <a:cubicBezTo>
                    <a:pt x="34" y="131"/>
                    <a:pt x="34" y="131"/>
                    <a:pt x="34" y="131"/>
                  </a:cubicBezTo>
                  <a:cubicBezTo>
                    <a:pt x="32" y="130"/>
                    <a:pt x="30" y="129"/>
                    <a:pt x="29" y="128"/>
                  </a:cubicBezTo>
                  <a:cubicBezTo>
                    <a:pt x="32" y="122"/>
                    <a:pt x="32" y="122"/>
                    <a:pt x="32" y="122"/>
                  </a:cubicBezTo>
                  <a:cubicBezTo>
                    <a:pt x="31" y="122"/>
                    <a:pt x="31" y="122"/>
                    <a:pt x="31" y="122"/>
                  </a:cubicBezTo>
                  <a:cubicBezTo>
                    <a:pt x="30" y="121"/>
                    <a:pt x="29" y="120"/>
                    <a:pt x="28" y="119"/>
                  </a:cubicBezTo>
                  <a:cubicBezTo>
                    <a:pt x="28" y="119"/>
                    <a:pt x="28" y="119"/>
                    <a:pt x="28" y="119"/>
                  </a:cubicBezTo>
                  <a:cubicBezTo>
                    <a:pt x="23" y="123"/>
                    <a:pt x="23" y="123"/>
                    <a:pt x="23" y="123"/>
                  </a:cubicBezTo>
                  <a:cubicBezTo>
                    <a:pt x="21" y="122"/>
                    <a:pt x="20" y="120"/>
                    <a:pt x="18" y="119"/>
                  </a:cubicBezTo>
                  <a:cubicBezTo>
                    <a:pt x="22" y="114"/>
                    <a:pt x="22" y="114"/>
                    <a:pt x="22" y="114"/>
                  </a:cubicBezTo>
                  <a:cubicBezTo>
                    <a:pt x="22" y="114"/>
                    <a:pt x="22" y="114"/>
                    <a:pt x="22" y="114"/>
                  </a:cubicBezTo>
                  <a:cubicBezTo>
                    <a:pt x="21" y="112"/>
                    <a:pt x="20" y="111"/>
                    <a:pt x="19" y="110"/>
                  </a:cubicBezTo>
                  <a:cubicBezTo>
                    <a:pt x="19" y="110"/>
                    <a:pt x="19" y="110"/>
                    <a:pt x="19" y="110"/>
                  </a:cubicBezTo>
                  <a:cubicBezTo>
                    <a:pt x="13" y="113"/>
                    <a:pt x="13" y="113"/>
                    <a:pt x="13" y="113"/>
                  </a:cubicBezTo>
                  <a:cubicBezTo>
                    <a:pt x="12" y="111"/>
                    <a:pt x="11" y="109"/>
                    <a:pt x="10" y="108"/>
                  </a:cubicBezTo>
                  <a:cubicBezTo>
                    <a:pt x="15" y="104"/>
                    <a:pt x="15" y="104"/>
                    <a:pt x="15" y="104"/>
                  </a:cubicBezTo>
                  <a:cubicBezTo>
                    <a:pt x="15" y="103"/>
                    <a:pt x="15" y="103"/>
                    <a:pt x="15" y="103"/>
                  </a:cubicBezTo>
                  <a:cubicBezTo>
                    <a:pt x="14" y="102"/>
                    <a:pt x="13" y="101"/>
                    <a:pt x="13" y="99"/>
                  </a:cubicBezTo>
                  <a:cubicBezTo>
                    <a:pt x="12" y="99"/>
                    <a:pt x="12" y="99"/>
                    <a:pt x="12" y="99"/>
                  </a:cubicBezTo>
                  <a:cubicBezTo>
                    <a:pt x="6" y="101"/>
                    <a:pt x="6" y="101"/>
                    <a:pt x="6" y="101"/>
                  </a:cubicBezTo>
                  <a:cubicBezTo>
                    <a:pt x="5" y="99"/>
                    <a:pt x="5" y="97"/>
                    <a:pt x="4" y="95"/>
                  </a:cubicBezTo>
                  <a:cubicBezTo>
                    <a:pt x="10" y="92"/>
                    <a:pt x="10" y="92"/>
                    <a:pt x="10" y="92"/>
                  </a:cubicBezTo>
                  <a:cubicBezTo>
                    <a:pt x="10" y="92"/>
                    <a:pt x="10" y="92"/>
                    <a:pt x="10" y="92"/>
                  </a:cubicBezTo>
                  <a:cubicBezTo>
                    <a:pt x="9" y="90"/>
                    <a:pt x="9" y="89"/>
                    <a:pt x="8" y="88"/>
                  </a:cubicBezTo>
                  <a:cubicBezTo>
                    <a:pt x="8" y="87"/>
                    <a:pt x="8" y="87"/>
                    <a:pt x="8" y="87"/>
                  </a:cubicBezTo>
                  <a:cubicBezTo>
                    <a:pt x="2" y="88"/>
                    <a:pt x="2" y="88"/>
                    <a:pt x="2" y="88"/>
                  </a:cubicBezTo>
                  <a:cubicBezTo>
                    <a:pt x="1" y="86"/>
                    <a:pt x="1" y="84"/>
                    <a:pt x="1" y="82"/>
                  </a:cubicBezTo>
                  <a:cubicBezTo>
                    <a:pt x="7" y="80"/>
                    <a:pt x="7" y="80"/>
                    <a:pt x="7" y="80"/>
                  </a:cubicBezTo>
                  <a:cubicBezTo>
                    <a:pt x="7" y="80"/>
                    <a:pt x="7" y="80"/>
                    <a:pt x="7" y="80"/>
                  </a:cubicBezTo>
                  <a:cubicBezTo>
                    <a:pt x="6" y="78"/>
                    <a:pt x="6" y="77"/>
                    <a:pt x="6" y="75"/>
                  </a:cubicBezTo>
                  <a:cubicBezTo>
                    <a:pt x="6" y="75"/>
                    <a:pt x="6" y="75"/>
                    <a:pt x="6" y="75"/>
                  </a:cubicBezTo>
                  <a:cubicBezTo>
                    <a:pt x="0" y="74"/>
                    <a:pt x="0" y="74"/>
                    <a:pt x="0" y="74"/>
                  </a:cubicBezTo>
                  <a:cubicBezTo>
                    <a:pt x="0" y="73"/>
                    <a:pt x="0" y="72"/>
                    <a:pt x="0" y="71"/>
                  </a:cubicBezTo>
                  <a:cubicBezTo>
                    <a:pt x="0" y="70"/>
                    <a:pt x="0" y="69"/>
                    <a:pt x="0" y="68"/>
                  </a:cubicBezTo>
                  <a:cubicBezTo>
                    <a:pt x="6" y="67"/>
                    <a:pt x="6" y="67"/>
                    <a:pt x="6" y="67"/>
                  </a:cubicBezTo>
                  <a:cubicBezTo>
                    <a:pt x="6" y="67"/>
                    <a:pt x="6" y="67"/>
                    <a:pt x="6" y="67"/>
                  </a:cubicBezTo>
                  <a:cubicBezTo>
                    <a:pt x="6" y="65"/>
                    <a:pt x="6" y="64"/>
                    <a:pt x="7" y="62"/>
                  </a:cubicBezTo>
                  <a:cubicBezTo>
                    <a:pt x="7" y="62"/>
                    <a:pt x="7" y="62"/>
                    <a:pt x="7" y="62"/>
                  </a:cubicBezTo>
                  <a:cubicBezTo>
                    <a:pt x="1" y="60"/>
                    <a:pt x="1" y="60"/>
                    <a:pt x="1" y="60"/>
                  </a:cubicBezTo>
                  <a:cubicBezTo>
                    <a:pt x="1" y="58"/>
                    <a:pt x="1" y="56"/>
                    <a:pt x="2" y="54"/>
                  </a:cubicBezTo>
                  <a:cubicBezTo>
                    <a:pt x="8" y="55"/>
                    <a:pt x="8" y="55"/>
                    <a:pt x="8" y="55"/>
                  </a:cubicBezTo>
                  <a:cubicBezTo>
                    <a:pt x="8" y="54"/>
                    <a:pt x="8" y="54"/>
                    <a:pt x="8" y="54"/>
                  </a:cubicBezTo>
                  <a:cubicBezTo>
                    <a:pt x="9" y="53"/>
                    <a:pt x="9" y="52"/>
                    <a:pt x="10" y="50"/>
                  </a:cubicBezTo>
                  <a:cubicBezTo>
                    <a:pt x="10" y="50"/>
                    <a:pt x="10" y="50"/>
                    <a:pt x="10" y="50"/>
                  </a:cubicBezTo>
                  <a:cubicBezTo>
                    <a:pt x="4" y="47"/>
                    <a:pt x="4" y="47"/>
                    <a:pt x="4" y="47"/>
                  </a:cubicBezTo>
                  <a:cubicBezTo>
                    <a:pt x="5" y="45"/>
                    <a:pt x="5" y="43"/>
                    <a:pt x="6" y="41"/>
                  </a:cubicBezTo>
                  <a:cubicBezTo>
                    <a:pt x="12" y="43"/>
                    <a:pt x="12" y="43"/>
                    <a:pt x="12" y="43"/>
                  </a:cubicBezTo>
                  <a:cubicBezTo>
                    <a:pt x="13" y="43"/>
                    <a:pt x="13" y="43"/>
                    <a:pt x="13" y="43"/>
                  </a:cubicBezTo>
                  <a:cubicBezTo>
                    <a:pt x="13" y="41"/>
                    <a:pt x="14" y="40"/>
                    <a:pt x="15" y="39"/>
                  </a:cubicBezTo>
                  <a:cubicBezTo>
                    <a:pt x="15" y="38"/>
                    <a:pt x="15" y="38"/>
                    <a:pt x="15" y="38"/>
                  </a:cubicBezTo>
                  <a:cubicBezTo>
                    <a:pt x="10" y="34"/>
                    <a:pt x="10" y="34"/>
                    <a:pt x="10" y="34"/>
                  </a:cubicBezTo>
                  <a:cubicBezTo>
                    <a:pt x="11" y="33"/>
                    <a:pt x="12" y="31"/>
                    <a:pt x="13" y="29"/>
                  </a:cubicBezTo>
                  <a:cubicBezTo>
                    <a:pt x="19" y="32"/>
                    <a:pt x="19" y="32"/>
                    <a:pt x="19" y="32"/>
                  </a:cubicBezTo>
                  <a:cubicBezTo>
                    <a:pt x="19" y="32"/>
                    <a:pt x="19" y="32"/>
                    <a:pt x="19" y="32"/>
                  </a:cubicBezTo>
                  <a:cubicBezTo>
                    <a:pt x="20" y="31"/>
                    <a:pt x="21" y="30"/>
                    <a:pt x="22" y="29"/>
                  </a:cubicBezTo>
                  <a:cubicBezTo>
                    <a:pt x="22" y="28"/>
                    <a:pt x="22" y="28"/>
                    <a:pt x="22" y="28"/>
                  </a:cubicBezTo>
                  <a:cubicBezTo>
                    <a:pt x="18" y="23"/>
                    <a:pt x="18" y="23"/>
                    <a:pt x="18" y="23"/>
                  </a:cubicBezTo>
                  <a:cubicBezTo>
                    <a:pt x="20" y="22"/>
                    <a:pt x="21" y="20"/>
                    <a:pt x="23" y="19"/>
                  </a:cubicBezTo>
                  <a:cubicBezTo>
                    <a:pt x="28" y="23"/>
                    <a:pt x="28" y="23"/>
                    <a:pt x="28" y="23"/>
                  </a:cubicBezTo>
                  <a:cubicBezTo>
                    <a:pt x="28" y="23"/>
                    <a:pt x="28" y="23"/>
                    <a:pt x="28" y="23"/>
                  </a:cubicBezTo>
                  <a:cubicBezTo>
                    <a:pt x="29" y="22"/>
                    <a:pt x="30" y="21"/>
                    <a:pt x="31" y="20"/>
                  </a:cubicBezTo>
                  <a:cubicBezTo>
                    <a:pt x="32" y="20"/>
                    <a:pt x="32" y="20"/>
                    <a:pt x="32" y="20"/>
                  </a:cubicBezTo>
                  <a:cubicBezTo>
                    <a:pt x="29" y="14"/>
                    <a:pt x="29" y="14"/>
                    <a:pt x="29" y="14"/>
                  </a:cubicBezTo>
                  <a:cubicBezTo>
                    <a:pt x="30" y="13"/>
                    <a:pt x="32" y="12"/>
                    <a:pt x="34" y="11"/>
                  </a:cubicBezTo>
                  <a:cubicBezTo>
                    <a:pt x="38" y="16"/>
                    <a:pt x="38" y="16"/>
                    <a:pt x="38" y="16"/>
                  </a:cubicBezTo>
                  <a:cubicBezTo>
                    <a:pt x="38" y="15"/>
                    <a:pt x="38" y="15"/>
                    <a:pt x="38" y="15"/>
                  </a:cubicBezTo>
                  <a:cubicBezTo>
                    <a:pt x="39" y="15"/>
                    <a:pt x="41" y="14"/>
                    <a:pt x="42" y="13"/>
                  </a:cubicBezTo>
                  <a:cubicBezTo>
                    <a:pt x="42" y="13"/>
                    <a:pt x="42" y="13"/>
                    <a:pt x="42" y="13"/>
                  </a:cubicBezTo>
                  <a:cubicBezTo>
                    <a:pt x="41" y="7"/>
                    <a:pt x="41" y="7"/>
                    <a:pt x="41" y="7"/>
                  </a:cubicBezTo>
                  <a:cubicBezTo>
                    <a:pt x="42" y="6"/>
                    <a:pt x="44" y="5"/>
                    <a:pt x="46" y="5"/>
                  </a:cubicBezTo>
                  <a:cubicBezTo>
                    <a:pt x="49" y="10"/>
                    <a:pt x="49" y="10"/>
                    <a:pt x="49" y="10"/>
                  </a:cubicBezTo>
                  <a:cubicBezTo>
                    <a:pt x="50" y="10"/>
                    <a:pt x="50" y="10"/>
                    <a:pt x="50" y="10"/>
                  </a:cubicBezTo>
                  <a:cubicBezTo>
                    <a:pt x="51" y="10"/>
                    <a:pt x="52" y="9"/>
                    <a:pt x="54" y="9"/>
                  </a:cubicBezTo>
                  <a:cubicBezTo>
                    <a:pt x="54" y="9"/>
                    <a:pt x="54" y="9"/>
                    <a:pt x="54" y="9"/>
                  </a:cubicBezTo>
                  <a:cubicBezTo>
                    <a:pt x="54" y="2"/>
                    <a:pt x="54" y="2"/>
                    <a:pt x="54" y="2"/>
                  </a:cubicBezTo>
                  <a:cubicBezTo>
                    <a:pt x="56" y="2"/>
                    <a:pt x="58" y="1"/>
                    <a:pt x="60" y="1"/>
                  </a:cubicBezTo>
                  <a:cubicBezTo>
                    <a:pt x="61" y="7"/>
                    <a:pt x="61" y="7"/>
                    <a:pt x="61" y="7"/>
                  </a:cubicBezTo>
                  <a:cubicBezTo>
                    <a:pt x="62" y="7"/>
                    <a:pt x="62" y="7"/>
                    <a:pt x="62" y="7"/>
                  </a:cubicBezTo>
                  <a:cubicBezTo>
                    <a:pt x="63" y="7"/>
                    <a:pt x="65" y="7"/>
                    <a:pt x="66" y="7"/>
                  </a:cubicBezTo>
                  <a:cubicBezTo>
                    <a:pt x="67" y="7"/>
                    <a:pt x="67" y="7"/>
                    <a:pt x="67" y="7"/>
                  </a:cubicBezTo>
                  <a:cubicBezTo>
                    <a:pt x="67" y="0"/>
                    <a:pt x="67" y="0"/>
                    <a:pt x="67" y="0"/>
                  </a:cubicBezTo>
                  <a:cubicBezTo>
                    <a:pt x="68" y="0"/>
                    <a:pt x="69" y="0"/>
                    <a:pt x="70" y="0"/>
                  </a:cubicBezTo>
                  <a:cubicBezTo>
                    <a:pt x="71" y="0"/>
                    <a:pt x="72" y="0"/>
                    <a:pt x="73" y="0"/>
                  </a:cubicBezTo>
                  <a:cubicBezTo>
                    <a:pt x="74" y="7"/>
                    <a:pt x="74" y="7"/>
                    <a:pt x="74" y="7"/>
                  </a:cubicBezTo>
                  <a:cubicBezTo>
                    <a:pt x="74" y="7"/>
                    <a:pt x="74" y="7"/>
                    <a:pt x="74" y="7"/>
                  </a:cubicBezTo>
                  <a:cubicBezTo>
                    <a:pt x="76" y="7"/>
                    <a:pt x="77" y="7"/>
                    <a:pt x="79" y="7"/>
                  </a:cubicBezTo>
                  <a:cubicBezTo>
                    <a:pt x="79" y="7"/>
                    <a:pt x="79" y="7"/>
                    <a:pt x="79" y="7"/>
                  </a:cubicBezTo>
                  <a:cubicBezTo>
                    <a:pt x="81" y="1"/>
                    <a:pt x="81" y="1"/>
                    <a:pt x="81" y="1"/>
                  </a:cubicBezTo>
                  <a:cubicBezTo>
                    <a:pt x="83" y="1"/>
                    <a:pt x="85" y="2"/>
                    <a:pt x="87" y="2"/>
                  </a:cubicBezTo>
                  <a:cubicBezTo>
                    <a:pt x="87" y="9"/>
                    <a:pt x="87" y="9"/>
                    <a:pt x="87" y="9"/>
                  </a:cubicBezTo>
                  <a:cubicBezTo>
                    <a:pt x="87" y="9"/>
                    <a:pt x="87" y="9"/>
                    <a:pt x="87" y="9"/>
                  </a:cubicBezTo>
                  <a:cubicBezTo>
                    <a:pt x="88" y="9"/>
                    <a:pt x="90" y="10"/>
                    <a:pt x="91" y="10"/>
                  </a:cubicBezTo>
                  <a:cubicBezTo>
                    <a:pt x="92" y="10"/>
                    <a:pt x="92" y="10"/>
                    <a:pt x="92" y="10"/>
                  </a:cubicBezTo>
                  <a:cubicBezTo>
                    <a:pt x="95" y="5"/>
                    <a:pt x="95" y="5"/>
                    <a:pt x="95" y="5"/>
                  </a:cubicBezTo>
                  <a:cubicBezTo>
                    <a:pt x="96" y="5"/>
                    <a:pt x="98" y="6"/>
                    <a:pt x="100" y="7"/>
                  </a:cubicBezTo>
                  <a:cubicBezTo>
                    <a:pt x="98" y="13"/>
                    <a:pt x="98" y="13"/>
                    <a:pt x="98" y="13"/>
                  </a:cubicBezTo>
                  <a:cubicBezTo>
                    <a:pt x="99" y="13"/>
                    <a:pt x="99" y="13"/>
                    <a:pt x="99" y="13"/>
                  </a:cubicBezTo>
                  <a:cubicBezTo>
                    <a:pt x="100" y="14"/>
                    <a:pt x="101" y="15"/>
                    <a:pt x="103" y="15"/>
                  </a:cubicBezTo>
                  <a:cubicBezTo>
                    <a:pt x="103" y="16"/>
                    <a:pt x="103" y="16"/>
                    <a:pt x="103" y="16"/>
                  </a:cubicBezTo>
                  <a:cubicBezTo>
                    <a:pt x="107" y="11"/>
                    <a:pt x="107" y="11"/>
                    <a:pt x="107" y="11"/>
                  </a:cubicBezTo>
                  <a:cubicBezTo>
                    <a:pt x="109" y="12"/>
                    <a:pt x="111" y="13"/>
                    <a:pt x="112" y="14"/>
                  </a:cubicBezTo>
                  <a:cubicBezTo>
                    <a:pt x="109" y="20"/>
                    <a:pt x="109" y="20"/>
                    <a:pt x="109" y="20"/>
                  </a:cubicBezTo>
                  <a:cubicBezTo>
                    <a:pt x="109" y="20"/>
                    <a:pt x="109" y="20"/>
                    <a:pt x="109" y="20"/>
                  </a:cubicBezTo>
                  <a:cubicBezTo>
                    <a:pt x="111" y="21"/>
                    <a:pt x="112" y="22"/>
                    <a:pt x="113" y="23"/>
                  </a:cubicBezTo>
                  <a:cubicBezTo>
                    <a:pt x="113" y="23"/>
                    <a:pt x="113" y="23"/>
                    <a:pt x="113" y="23"/>
                  </a:cubicBezTo>
                  <a:cubicBezTo>
                    <a:pt x="118" y="19"/>
                    <a:pt x="118" y="19"/>
                    <a:pt x="118" y="19"/>
                  </a:cubicBezTo>
                  <a:cubicBezTo>
                    <a:pt x="120" y="20"/>
                    <a:pt x="121" y="22"/>
                    <a:pt x="122" y="23"/>
                  </a:cubicBezTo>
                  <a:cubicBezTo>
                    <a:pt x="118" y="28"/>
                    <a:pt x="118" y="28"/>
                    <a:pt x="118" y="28"/>
                  </a:cubicBezTo>
                  <a:cubicBezTo>
                    <a:pt x="119" y="29"/>
                    <a:pt x="119" y="29"/>
                    <a:pt x="119" y="29"/>
                  </a:cubicBezTo>
                  <a:cubicBezTo>
                    <a:pt x="120" y="30"/>
                    <a:pt x="121" y="31"/>
                    <a:pt x="121" y="32"/>
                  </a:cubicBezTo>
                  <a:cubicBezTo>
                    <a:pt x="122" y="32"/>
                    <a:pt x="122" y="32"/>
                    <a:pt x="122" y="32"/>
                  </a:cubicBezTo>
                  <a:cubicBezTo>
                    <a:pt x="127" y="29"/>
                    <a:pt x="127" y="29"/>
                    <a:pt x="127" y="29"/>
                  </a:cubicBezTo>
                  <a:cubicBezTo>
                    <a:pt x="129" y="31"/>
                    <a:pt x="130" y="33"/>
                    <a:pt x="131" y="34"/>
                  </a:cubicBezTo>
                  <a:cubicBezTo>
                    <a:pt x="126" y="38"/>
                    <a:pt x="126" y="38"/>
                    <a:pt x="126" y="38"/>
                  </a:cubicBezTo>
                  <a:cubicBezTo>
                    <a:pt x="126" y="39"/>
                    <a:pt x="126" y="39"/>
                    <a:pt x="126" y="39"/>
                  </a:cubicBezTo>
                  <a:cubicBezTo>
                    <a:pt x="127" y="40"/>
                    <a:pt x="128" y="41"/>
                    <a:pt x="128" y="43"/>
                  </a:cubicBezTo>
                  <a:cubicBezTo>
                    <a:pt x="128" y="43"/>
                    <a:pt x="128" y="43"/>
                    <a:pt x="128" y="43"/>
                  </a:cubicBezTo>
                  <a:cubicBezTo>
                    <a:pt x="134" y="41"/>
                    <a:pt x="134" y="41"/>
                    <a:pt x="134" y="41"/>
                  </a:cubicBezTo>
                  <a:cubicBezTo>
                    <a:pt x="135" y="43"/>
                    <a:pt x="136" y="45"/>
                    <a:pt x="137" y="47"/>
                  </a:cubicBezTo>
                  <a:cubicBezTo>
                    <a:pt x="131" y="50"/>
                    <a:pt x="131" y="50"/>
                    <a:pt x="131" y="50"/>
                  </a:cubicBezTo>
                  <a:cubicBezTo>
                    <a:pt x="131" y="50"/>
                    <a:pt x="131" y="50"/>
                    <a:pt x="131" y="50"/>
                  </a:cubicBezTo>
                  <a:cubicBezTo>
                    <a:pt x="132" y="52"/>
                    <a:pt x="132" y="53"/>
                    <a:pt x="133" y="54"/>
                  </a:cubicBezTo>
                  <a:cubicBezTo>
                    <a:pt x="133" y="55"/>
                    <a:pt x="133" y="55"/>
                    <a:pt x="133" y="55"/>
                  </a:cubicBezTo>
                  <a:cubicBezTo>
                    <a:pt x="139" y="54"/>
                    <a:pt x="139" y="54"/>
                    <a:pt x="139" y="54"/>
                  </a:cubicBezTo>
                  <a:cubicBezTo>
                    <a:pt x="140" y="56"/>
                    <a:pt x="140" y="58"/>
                    <a:pt x="140" y="60"/>
                  </a:cubicBezTo>
                  <a:cubicBezTo>
                    <a:pt x="134" y="62"/>
                    <a:pt x="134" y="62"/>
                    <a:pt x="134" y="62"/>
                  </a:cubicBezTo>
                  <a:cubicBezTo>
                    <a:pt x="134" y="62"/>
                    <a:pt x="134" y="62"/>
                    <a:pt x="134" y="62"/>
                  </a:cubicBezTo>
                  <a:cubicBezTo>
                    <a:pt x="134" y="64"/>
                    <a:pt x="134" y="65"/>
                    <a:pt x="135" y="67"/>
                  </a:cubicBezTo>
                  <a:cubicBezTo>
                    <a:pt x="135" y="67"/>
                    <a:pt x="135" y="67"/>
                    <a:pt x="135" y="67"/>
                  </a:cubicBezTo>
                  <a:cubicBezTo>
                    <a:pt x="141" y="68"/>
                    <a:pt x="141" y="68"/>
                    <a:pt x="141" y="68"/>
                  </a:cubicBezTo>
                  <a:cubicBezTo>
                    <a:pt x="141" y="69"/>
                    <a:pt x="141" y="70"/>
                    <a:pt x="141" y="71"/>
                  </a:cubicBezTo>
                  <a:cubicBezTo>
                    <a:pt x="141" y="72"/>
                    <a:pt x="141" y="73"/>
                    <a:pt x="141" y="74"/>
                  </a:cubicBezTo>
                  <a:cubicBezTo>
                    <a:pt x="135" y="75"/>
                    <a:pt x="135" y="75"/>
                    <a:pt x="135" y="75"/>
                  </a:cubicBezTo>
                  <a:cubicBezTo>
                    <a:pt x="135" y="75"/>
                    <a:pt x="135" y="75"/>
                    <a:pt x="135" y="75"/>
                  </a:cubicBezTo>
                  <a:cubicBezTo>
                    <a:pt x="134" y="77"/>
                    <a:pt x="134" y="78"/>
                    <a:pt x="134" y="80"/>
                  </a:cubicBezTo>
                  <a:cubicBezTo>
                    <a:pt x="134" y="80"/>
                    <a:pt x="134" y="80"/>
                    <a:pt x="134" y="80"/>
                  </a:cubicBezTo>
                  <a:cubicBezTo>
                    <a:pt x="140" y="82"/>
                    <a:pt x="140" y="82"/>
                    <a:pt x="140" y="82"/>
                  </a:cubicBezTo>
                  <a:cubicBezTo>
                    <a:pt x="140" y="84"/>
                    <a:pt x="140" y="86"/>
                    <a:pt x="139" y="88"/>
                  </a:cubicBezTo>
                  <a:cubicBezTo>
                    <a:pt x="133" y="87"/>
                    <a:pt x="133" y="87"/>
                    <a:pt x="133" y="87"/>
                  </a:cubicBezTo>
                  <a:cubicBezTo>
                    <a:pt x="133" y="88"/>
                    <a:pt x="133" y="88"/>
                    <a:pt x="133" y="88"/>
                  </a:cubicBezTo>
                  <a:cubicBezTo>
                    <a:pt x="132" y="89"/>
                    <a:pt x="132" y="90"/>
                    <a:pt x="131" y="92"/>
                  </a:cubicBezTo>
                  <a:cubicBezTo>
                    <a:pt x="131" y="92"/>
                    <a:pt x="131" y="92"/>
                    <a:pt x="131" y="92"/>
                  </a:cubicBezTo>
                  <a:cubicBezTo>
                    <a:pt x="137" y="95"/>
                    <a:pt x="137" y="95"/>
                    <a:pt x="137" y="95"/>
                  </a:cubicBezTo>
                  <a:cubicBezTo>
                    <a:pt x="136" y="97"/>
                    <a:pt x="135" y="99"/>
                    <a:pt x="134" y="101"/>
                  </a:cubicBezTo>
                  <a:cubicBezTo>
                    <a:pt x="128" y="99"/>
                    <a:pt x="128" y="99"/>
                    <a:pt x="128" y="99"/>
                  </a:cubicBezTo>
                  <a:cubicBezTo>
                    <a:pt x="128" y="99"/>
                    <a:pt x="128" y="99"/>
                    <a:pt x="128" y="99"/>
                  </a:cubicBezTo>
                  <a:cubicBezTo>
                    <a:pt x="128" y="101"/>
                    <a:pt x="127" y="102"/>
                    <a:pt x="126" y="103"/>
                  </a:cubicBezTo>
                  <a:cubicBezTo>
                    <a:pt x="126" y="104"/>
                    <a:pt x="126" y="104"/>
                    <a:pt x="126" y="104"/>
                  </a:cubicBezTo>
                  <a:cubicBezTo>
                    <a:pt x="131" y="108"/>
                    <a:pt x="131" y="108"/>
                    <a:pt x="131" y="108"/>
                  </a:cubicBezTo>
                  <a:cubicBezTo>
                    <a:pt x="130" y="109"/>
                    <a:pt x="129" y="111"/>
                    <a:pt x="127" y="113"/>
                  </a:cubicBezTo>
                  <a:cubicBezTo>
                    <a:pt x="122" y="110"/>
                    <a:pt x="122" y="110"/>
                    <a:pt x="122" y="110"/>
                  </a:cubicBezTo>
                  <a:cubicBezTo>
                    <a:pt x="121" y="110"/>
                    <a:pt x="121" y="110"/>
                    <a:pt x="121" y="110"/>
                  </a:cubicBezTo>
                  <a:cubicBezTo>
                    <a:pt x="121" y="111"/>
                    <a:pt x="120" y="112"/>
                    <a:pt x="119" y="114"/>
                  </a:cubicBezTo>
                  <a:cubicBezTo>
                    <a:pt x="118" y="114"/>
                    <a:pt x="118" y="114"/>
                    <a:pt x="118" y="114"/>
                  </a:cubicBezTo>
                  <a:cubicBezTo>
                    <a:pt x="122" y="119"/>
                    <a:pt x="122" y="119"/>
                    <a:pt x="122" y="119"/>
                  </a:cubicBezTo>
                  <a:cubicBezTo>
                    <a:pt x="121" y="120"/>
                    <a:pt x="120" y="122"/>
                    <a:pt x="118" y="123"/>
                  </a:cubicBezTo>
                  <a:cubicBezTo>
                    <a:pt x="113" y="119"/>
                    <a:pt x="113" y="119"/>
                    <a:pt x="113" y="119"/>
                  </a:cubicBezTo>
                  <a:cubicBezTo>
                    <a:pt x="113" y="119"/>
                    <a:pt x="113" y="119"/>
                    <a:pt x="113" y="119"/>
                  </a:cubicBezTo>
                  <a:cubicBezTo>
                    <a:pt x="112" y="120"/>
                    <a:pt x="111" y="121"/>
                    <a:pt x="109" y="122"/>
                  </a:cubicBezTo>
                  <a:cubicBezTo>
                    <a:pt x="109" y="122"/>
                    <a:pt x="109" y="122"/>
                    <a:pt x="109" y="122"/>
                  </a:cubicBezTo>
                  <a:cubicBezTo>
                    <a:pt x="112" y="128"/>
                    <a:pt x="112" y="128"/>
                    <a:pt x="112" y="128"/>
                  </a:cubicBezTo>
                  <a:cubicBezTo>
                    <a:pt x="111" y="129"/>
                    <a:pt x="109" y="130"/>
                    <a:pt x="107" y="131"/>
                  </a:cubicBezTo>
                  <a:cubicBezTo>
                    <a:pt x="103" y="126"/>
                    <a:pt x="103" y="126"/>
                    <a:pt x="103" y="126"/>
                  </a:cubicBezTo>
                  <a:cubicBezTo>
                    <a:pt x="103" y="127"/>
                    <a:pt x="103" y="127"/>
                    <a:pt x="103" y="127"/>
                  </a:cubicBezTo>
                  <a:cubicBezTo>
                    <a:pt x="101" y="127"/>
                    <a:pt x="100" y="128"/>
                    <a:pt x="99" y="129"/>
                  </a:cubicBezTo>
                  <a:cubicBezTo>
                    <a:pt x="98" y="129"/>
                    <a:pt x="98" y="129"/>
                    <a:pt x="98" y="129"/>
                  </a:cubicBezTo>
                  <a:cubicBezTo>
                    <a:pt x="100" y="135"/>
                    <a:pt x="100" y="135"/>
                    <a:pt x="100" y="135"/>
                  </a:cubicBezTo>
                  <a:cubicBezTo>
                    <a:pt x="98" y="136"/>
                    <a:pt x="96" y="137"/>
                    <a:pt x="95" y="137"/>
                  </a:cubicBezTo>
                  <a:cubicBezTo>
                    <a:pt x="92" y="132"/>
                    <a:pt x="92" y="132"/>
                    <a:pt x="92" y="132"/>
                  </a:cubicBezTo>
                  <a:cubicBezTo>
                    <a:pt x="91" y="132"/>
                    <a:pt x="91" y="132"/>
                    <a:pt x="91" y="132"/>
                  </a:cubicBezTo>
                  <a:cubicBezTo>
                    <a:pt x="90" y="132"/>
                    <a:pt x="88" y="133"/>
                    <a:pt x="87" y="133"/>
                  </a:cubicBezTo>
                  <a:cubicBezTo>
                    <a:pt x="87" y="133"/>
                    <a:pt x="87" y="133"/>
                    <a:pt x="87" y="133"/>
                  </a:cubicBezTo>
                  <a:cubicBezTo>
                    <a:pt x="87" y="140"/>
                    <a:pt x="87" y="140"/>
                    <a:pt x="87" y="140"/>
                  </a:cubicBezTo>
                  <a:cubicBezTo>
                    <a:pt x="85" y="140"/>
                    <a:pt x="83" y="141"/>
                    <a:pt x="81" y="141"/>
                  </a:cubicBezTo>
                  <a:cubicBezTo>
                    <a:pt x="79" y="135"/>
                    <a:pt x="79" y="135"/>
                    <a:pt x="79" y="135"/>
                  </a:cubicBezTo>
                  <a:cubicBezTo>
                    <a:pt x="79" y="135"/>
                    <a:pt x="79" y="135"/>
                    <a:pt x="79" y="135"/>
                  </a:cubicBezTo>
                  <a:cubicBezTo>
                    <a:pt x="77" y="135"/>
                    <a:pt x="76" y="135"/>
                    <a:pt x="74" y="135"/>
                  </a:cubicBezTo>
                  <a:cubicBezTo>
                    <a:pt x="74" y="135"/>
                    <a:pt x="74" y="135"/>
                    <a:pt x="74" y="135"/>
                  </a:cubicBezTo>
                  <a:cubicBezTo>
                    <a:pt x="73" y="142"/>
                    <a:pt x="73" y="142"/>
                    <a:pt x="73" y="142"/>
                  </a:cubicBezTo>
                  <a:cubicBezTo>
                    <a:pt x="72" y="142"/>
                    <a:pt x="71" y="142"/>
                    <a:pt x="70" y="142"/>
                  </a:cubicBezTo>
                  <a:close/>
                </a:path>
              </a:pathLst>
            </a:custGeom>
            <a:solidFill>
              <a:schemeClr val="accent3">
                <a:lumMod val="90000"/>
                <a:lumOff val="10000"/>
              </a:schemeClr>
            </a:solidFill>
            <a:ln>
              <a:noFill/>
            </a:ln>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cs typeface="Segoe UI" panose="020B0502040204020203" pitchFamily="34" charset="0"/>
              </a:endParaRPr>
            </a:p>
          </p:txBody>
        </p:sp>
        <p:sp>
          <p:nvSpPr>
            <p:cNvPr id="34" name="Freeform 6">
              <a:extLst>
                <a:ext uri="{FF2B5EF4-FFF2-40B4-BE49-F238E27FC236}">
                  <a16:creationId xmlns:a16="http://schemas.microsoft.com/office/drawing/2014/main" id="{3E6166E2-1CF0-4095-BC72-E73C4BEAB22C}"/>
                </a:ext>
              </a:extLst>
            </p:cNvPr>
            <p:cNvSpPr>
              <a:spLocks/>
            </p:cNvSpPr>
            <p:nvPr/>
          </p:nvSpPr>
          <p:spPr bwMode="auto">
            <a:xfrm>
              <a:off x="2732644" y="4883448"/>
              <a:ext cx="1289034" cy="182998"/>
            </a:xfrm>
            <a:custGeom>
              <a:avLst/>
              <a:gdLst>
                <a:gd name="T0" fmla="*/ 52 w 56"/>
                <a:gd name="T1" fmla="*/ 0 h 8"/>
                <a:gd name="T2" fmla="*/ 4 w 56"/>
                <a:gd name="T3" fmla="*/ 0 h 8"/>
                <a:gd name="T4" fmla="*/ 0 w 56"/>
                <a:gd name="T5" fmla="*/ 4 h 8"/>
                <a:gd name="T6" fmla="*/ 4 w 56"/>
                <a:gd name="T7" fmla="*/ 8 h 8"/>
                <a:gd name="T8" fmla="*/ 52 w 56"/>
                <a:gd name="T9" fmla="*/ 8 h 8"/>
                <a:gd name="T10" fmla="*/ 56 w 56"/>
                <a:gd name="T11" fmla="*/ 4 h 8"/>
                <a:gd name="T12" fmla="*/ 52 w 5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56" h="8">
                  <a:moveTo>
                    <a:pt x="52" y="0"/>
                  </a:moveTo>
                  <a:cubicBezTo>
                    <a:pt x="4" y="0"/>
                    <a:pt x="4" y="0"/>
                    <a:pt x="4" y="0"/>
                  </a:cubicBezTo>
                  <a:cubicBezTo>
                    <a:pt x="2" y="0"/>
                    <a:pt x="0" y="2"/>
                    <a:pt x="0" y="4"/>
                  </a:cubicBezTo>
                  <a:cubicBezTo>
                    <a:pt x="0" y="6"/>
                    <a:pt x="2" y="8"/>
                    <a:pt x="4" y="8"/>
                  </a:cubicBezTo>
                  <a:cubicBezTo>
                    <a:pt x="52" y="8"/>
                    <a:pt x="52" y="8"/>
                    <a:pt x="52" y="8"/>
                  </a:cubicBezTo>
                  <a:cubicBezTo>
                    <a:pt x="54" y="8"/>
                    <a:pt x="56" y="6"/>
                    <a:pt x="56" y="4"/>
                  </a:cubicBezTo>
                  <a:cubicBezTo>
                    <a:pt x="56" y="2"/>
                    <a:pt x="54" y="0"/>
                    <a:pt x="52" y="0"/>
                  </a:cubicBezTo>
                  <a:close/>
                </a:path>
              </a:pathLst>
            </a:custGeom>
            <a:solidFill>
              <a:schemeClr val="accent3">
                <a:lumMod val="90000"/>
                <a:lumOff val="10000"/>
              </a:schemeClr>
            </a:solidFill>
            <a:ln>
              <a:noFill/>
            </a:ln>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cs typeface="Segoe UI" panose="020B0502040204020203" pitchFamily="34" charset="0"/>
              </a:endParaRPr>
            </a:p>
          </p:txBody>
        </p:sp>
        <p:sp>
          <p:nvSpPr>
            <p:cNvPr id="35" name="Freeform 7">
              <a:extLst>
                <a:ext uri="{FF2B5EF4-FFF2-40B4-BE49-F238E27FC236}">
                  <a16:creationId xmlns:a16="http://schemas.microsoft.com/office/drawing/2014/main" id="{256CEE09-30FD-4FA6-9187-9FA2F63D6D2F}"/>
                </a:ext>
              </a:extLst>
            </p:cNvPr>
            <p:cNvSpPr>
              <a:spLocks/>
            </p:cNvSpPr>
            <p:nvPr/>
          </p:nvSpPr>
          <p:spPr bwMode="auto">
            <a:xfrm>
              <a:off x="2732644" y="5249445"/>
              <a:ext cx="1289034" cy="182998"/>
            </a:xfrm>
            <a:custGeom>
              <a:avLst/>
              <a:gdLst>
                <a:gd name="T0" fmla="*/ 52 w 56"/>
                <a:gd name="T1" fmla="*/ 0 h 8"/>
                <a:gd name="T2" fmla="*/ 4 w 56"/>
                <a:gd name="T3" fmla="*/ 0 h 8"/>
                <a:gd name="T4" fmla="*/ 0 w 56"/>
                <a:gd name="T5" fmla="*/ 4 h 8"/>
                <a:gd name="T6" fmla="*/ 4 w 56"/>
                <a:gd name="T7" fmla="*/ 8 h 8"/>
                <a:gd name="T8" fmla="*/ 52 w 56"/>
                <a:gd name="T9" fmla="*/ 8 h 8"/>
                <a:gd name="T10" fmla="*/ 56 w 56"/>
                <a:gd name="T11" fmla="*/ 4 h 8"/>
                <a:gd name="T12" fmla="*/ 52 w 5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56" h="8">
                  <a:moveTo>
                    <a:pt x="52" y="0"/>
                  </a:moveTo>
                  <a:cubicBezTo>
                    <a:pt x="4" y="0"/>
                    <a:pt x="4" y="0"/>
                    <a:pt x="4" y="0"/>
                  </a:cubicBezTo>
                  <a:cubicBezTo>
                    <a:pt x="2" y="0"/>
                    <a:pt x="0" y="2"/>
                    <a:pt x="0" y="4"/>
                  </a:cubicBezTo>
                  <a:cubicBezTo>
                    <a:pt x="0" y="6"/>
                    <a:pt x="2" y="8"/>
                    <a:pt x="4" y="8"/>
                  </a:cubicBezTo>
                  <a:cubicBezTo>
                    <a:pt x="52" y="8"/>
                    <a:pt x="52" y="8"/>
                    <a:pt x="52" y="8"/>
                  </a:cubicBezTo>
                  <a:cubicBezTo>
                    <a:pt x="54" y="8"/>
                    <a:pt x="56" y="6"/>
                    <a:pt x="56" y="4"/>
                  </a:cubicBezTo>
                  <a:cubicBezTo>
                    <a:pt x="56" y="2"/>
                    <a:pt x="54" y="0"/>
                    <a:pt x="52" y="0"/>
                  </a:cubicBezTo>
                  <a:close/>
                </a:path>
              </a:pathLst>
            </a:custGeom>
            <a:solidFill>
              <a:schemeClr val="accent3">
                <a:lumMod val="90000"/>
                <a:lumOff val="10000"/>
              </a:schemeClr>
            </a:solidFill>
            <a:ln>
              <a:noFill/>
            </a:ln>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cs typeface="Segoe UI" panose="020B0502040204020203" pitchFamily="34" charset="0"/>
              </a:endParaRPr>
            </a:p>
          </p:txBody>
        </p:sp>
        <p:sp>
          <p:nvSpPr>
            <p:cNvPr id="36" name="Freeform 8">
              <a:extLst>
                <a:ext uri="{FF2B5EF4-FFF2-40B4-BE49-F238E27FC236}">
                  <a16:creationId xmlns:a16="http://schemas.microsoft.com/office/drawing/2014/main" id="{304CA04A-BBEA-4CCE-B624-1F3C4B074BD0}"/>
                </a:ext>
              </a:extLst>
            </p:cNvPr>
            <p:cNvSpPr>
              <a:spLocks/>
            </p:cNvSpPr>
            <p:nvPr/>
          </p:nvSpPr>
          <p:spPr bwMode="auto">
            <a:xfrm>
              <a:off x="2732644" y="5617454"/>
              <a:ext cx="1289034" cy="548994"/>
            </a:xfrm>
            <a:custGeom>
              <a:avLst/>
              <a:gdLst>
                <a:gd name="T0" fmla="*/ 52 w 56"/>
                <a:gd name="T1" fmla="*/ 0 h 24"/>
                <a:gd name="T2" fmla="*/ 4 w 56"/>
                <a:gd name="T3" fmla="*/ 0 h 24"/>
                <a:gd name="T4" fmla="*/ 0 w 56"/>
                <a:gd name="T5" fmla="*/ 4 h 24"/>
                <a:gd name="T6" fmla="*/ 4 w 56"/>
                <a:gd name="T7" fmla="*/ 8 h 24"/>
                <a:gd name="T8" fmla="*/ 24 w 56"/>
                <a:gd name="T9" fmla="*/ 8 h 24"/>
                <a:gd name="T10" fmla="*/ 24 w 56"/>
                <a:gd name="T11" fmla="*/ 20 h 24"/>
                <a:gd name="T12" fmla="*/ 28 w 56"/>
                <a:gd name="T13" fmla="*/ 24 h 24"/>
                <a:gd name="T14" fmla="*/ 32 w 56"/>
                <a:gd name="T15" fmla="*/ 20 h 24"/>
                <a:gd name="T16" fmla="*/ 32 w 56"/>
                <a:gd name="T17" fmla="*/ 8 h 24"/>
                <a:gd name="T18" fmla="*/ 52 w 56"/>
                <a:gd name="T19" fmla="*/ 8 h 24"/>
                <a:gd name="T20" fmla="*/ 56 w 56"/>
                <a:gd name="T21" fmla="*/ 4 h 24"/>
                <a:gd name="T22" fmla="*/ 52 w 56"/>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 h="24">
                  <a:moveTo>
                    <a:pt x="52" y="0"/>
                  </a:moveTo>
                  <a:cubicBezTo>
                    <a:pt x="4" y="0"/>
                    <a:pt x="4" y="0"/>
                    <a:pt x="4" y="0"/>
                  </a:cubicBezTo>
                  <a:cubicBezTo>
                    <a:pt x="2" y="0"/>
                    <a:pt x="0" y="2"/>
                    <a:pt x="0" y="4"/>
                  </a:cubicBezTo>
                  <a:cubicBezTo>
                    <a:pt x="0" y="6"/>
                    <a:pt x="2" y="8"/>
                    <a:pt x="4" y="8"/>
                  </a:cubicBezTo>
                  <a:cubicBezTo>
                    <a:pt x="24" y="8"/>
                    <a:pt x="24" y="8"/>
                    <a:pt x="24" y="8"/>
                  </a:cubicBezTo>
                  <a:cubicBezTo>
                    <a:pt x="24" y="20"/>
                    <a:pt x="24" y="20"/>
                    <a:pt x="24" y="20"/>
                  </a:cubicBezTo>
                  <a:cubicBezTo>
                    <a:pt x="24" y="22"/>
                    <a:pt x="26" y="24"/>
                    <a:pt x="28" y="24"/>
                  </a:cubicBezTo>
                  <a:cubicBezTo>
                    <a:pt x="30" y="24"/>
                    <a:pt x="32" y="22"/>
                    <a:pt x="32" y="20"/>
                  </a:cubicBezTo>
                  <a:cubicBezTo>
                    <a:pt x="32" y="8"/>
                    <a:pt x="32" y="8"/>
                    <a:pt x="32" y="8"/>
                  </a:cubicBezTo>
                  <a:cubicBezTo>
                    <a:pt x="52" y="8"/>
                    <a:pt x="52" y="8"/>
                    <a:pt x="52" y="8"/>
                  </a:cubicBezTo>
                  <a:cubicBezTo>
                    <a:pt x="54" y="8"/>
                    <a:pt x="56" y="6"/>
                    <a:pt x="56" y="4"/>
                  </a:cubicBezTo>
                  <a:cubicBezTo>
                    <a:pt x="56" y="2"/>
                    <a:pt x="54" y="0"/>
                    <a:pt x="52" y="0"/>
                  </a:cubicBezTo>
                  <a:close/>
                </a:path>
              </a:pathLst>
            </a:custGeom>
            <a:solidFill>
              <a:schemeClr val="accent3">
                <a:lumMod val="90000"/>
                <a:lumOff val="10000"/>
              </a:schemeClr>
            </a:solidFill>
            <a:ln>
              <a:noFill/>
            </a:ln>
            <a:effec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prstClr val="black"/>
                </a:solidFill>
                <a:cs typeface="Segoe UI" panose="020B0502040204020203" pitchFamily="34" charset="0"/>
              </a:endParaRPr>
            </a:p>
          </p:txBody>
        </p:sp>
        <p:sp>
          <p:nvSpPr>
            <p:cNvPr id="37" name="Rectangle 36">
              <a:extLst>
                <a:ext uri="{FF2B5EF4-FFF2-40B4-BE49-F238E27FC236}">
                  <a16:creationId xmlns:a16="http://schemas.microsoft.com/office/drawing/2014/main" id="{D2044C60-FB47-43E4-AD18-E0F64650AE8E}"/>
                </a:ext>
              </a:extLst>
            </p:cNvPr>
            <p:cNvSpPr/>
            <p:nvPr/>
          </p:nvSpPr>
          <p:spPr>
            <a:xfrm>
              <a:off x="2723760" y="1404509"/>
              <a:ext cx="1264995" cy="506460"/>
            </a:xfrm>
            <a:prstGeom prst="rect">
              <a:avLst/>
            </a:prstGeom>
            <a:effectLst/>
          </p:spPr>
          <p:txBody>
            <a:bodyPr wrap="squar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200" b="1" dirty="0">
                  <a:solidFill>
                    <a:prstClr val="white"/>
                  </a:solidFill>
                  <a:cs typeface="Segoe UI" panose="020B0502040204020203" pitchFamily="34" charset="0"/>
                </a:rPr>
                <a:t>PRODUCTS AND SERVICES</a:t>
              </a:r>
            </a:p>
          </p:txBody>
        </p:sp>
        <p:sp>
          <p:nvSpPr>
            <p:cNvPr id="43" name="TextBox 47">
              <a:extLst>
                <a:ext uri="{FF2B5EF4-FFF2-40B4-BE49-F238E27FC236}">
                  <a16:creationId xmlns:a16="http://schemas.microsoft.com/office/drawing/2014/main" id="{CEB7A3B0-EDDF-4823-995F-5FEA64D5932D}"/>
                </a:ext>
              </a:extLst>
            </p:cNvPr>
            <p:cNvSpPr txBox="1"/>
            <p:nvPr/>
          </p:nvSpPr>
          <p:spPr>
            <a:xfrm>
              <a:off x="8169" y="2285822"/>
              <a:ext cx="1540199" cy="70904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342900">
                <a:defRPr/>
              </a:pPr>
              <a:r>
                <a:rPr lang="en-US" sz="1200" dirty="0">
                  <a:solidFill>
                    <a:schemeClr val="accent3"/>
                  </a:solidFill>
                  <a:cs typeface="Segoe UI" panose="020B0502040204020203" pitchFamily="34" charset="0"/>
                </a:rPr>
                <a:t>Debt, equity and quasi-equity tailor-made products</a:t>
              </a:r>
            </a:p>
          </p:txBody>
        </p:sp>
        <p:sp>
          <p:nvSpPr>
            <p:cNvPr id="44" name="TextBox 48">
              <a:extLst>
                <a:ext uri="{FF2B5EF4-FFF2-40B4-BE49-F238E27FC236}">
                  <a16:creationId xmlns:a16="http://schemas.microsoft.com/office/drawing/2014/main" id="{4516A2E2-08A8-4B04-8C3F-5E2D9AA4F978}"/>
                </a:ext>
              </a:extLst>
            </p:cNvPr>
            <p:cNvSpPr txBox="1"/>
            <p:nvPr/>
          </p:nvSpPr>
          <p:spPr>
            <a:xfrm>
              <a:off x="5160786" y="2285822"/>
              <a:ext cx="1676430" cy="91162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defTabSz="342900">
                <a:buFont typeface="Arial" panose="020B0604020202020204" pitchFamily="34" charset="0"/>
                <a:buChar char="•"/>
                <a:defRPr/>
              </a:pPr>
              <a:r>
                <a:rPr lang="en-US" sz="1200" dirty="0">
                  <a:solidFill>
                    <a:schemeClr val="accent3"/>
                  </a:solidFill>
                  <a:cs typeface="Segoe UI" panose="020B0502040204020203" pitchFamily="34" charset="0"/>
                </a:rPr>
                <a:t>Mortgage default insurance (MDI)</a:t>
              </a:r>
            </a:p>
            <a:p>
              <a:pPr marL="171450" indent="-171450" defTabSz="342900">
                <a:buFont typeface="Arial" panose="020B0604020202020204" pitchFamily="34" charset="0"/>
                <a:buChar char="•"/>
                <a:defRPr/>
              </a:pPr>
              <a:r>
                <a:rPr lang="en-US" sz="1200" dirty="0">
                  <a:solidFill>
                    <a:schemeClr val="accent3"/>
                  </a:solidFill>
                  <a:cs typeface="Segoe UI" panose="020B0502040204020203" pitchFamily="34" charset="0"/>
                </a:rPr>
                <a:t>Guarantees</a:t>
              </a:r>
            </a:p>
            <a:p>
              <a:pPr marL="171450" indent="-171450" defTabSz="342900">
                <a:buFont typeface="Arial" panose="020B0604020202020204" pitchFamily="34" charset="0"/>
                <a:buChar char="•"/>
                <a:defRPr/>
              </a:pPr>
              <a:r>
                <a:rPr lang="en-US" sz="1200" dirty="0">
                  <a:solidFill>
                    <a:schemeClr val="accent3"/>
                  </a:solidFill>
                  <a:cs typeface="Segoe UI" panose="020B0502040204020203" pitchFamily="34" charset="0"/>
                </a:rPr>
                <a:t>Other </a:t>
              </a:r>
            </a:p>
          </p:txBody>
        </p:sp>
        <p:sp>
          <p:nvSpPr>
            <p:cNvPr id="45" name="TextBox 49">
              <a:extLst>
                <a:ext uri="{FF2B5EF4-FFF2-40B4-BE49-F238E27FC236}">
                  <a16:creationId xmlns:a16="http://schemas.microsoft.com/office/drawing/2014/main" id="{6FCF81EE-0814-4A37-9AB2-A4691A8AB99F}"/>
                </a:ext>
              </a:extLst>
            </p:cNvPr>
            <p:cNvSpPr txBox="1"/>
            <p:nvPr/>
          </p:nvSpPr>
          <p:spPr>
            <a:xfrm>
              <a:off x="5160786" y="3636082"/>
              <a:ext cx="1794911" cy="131679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indent="-171450" defTabSz="342900">
                <a:buFont typeface="Arial" panose="020B0604020202020204" pitchFamily="34" charset="0"/>
                <a:buChar char="•"/>
                <a:defRPr/>
              </a:pPr>
              <a:r>
                <a:rPr lang="en-US" sz="1200" dirty="0">
                  <a:solidFill>
                    <a:schemeClr val="accent3"/>
                  </a:solidFill>
                  <a:cs typeface="Segoe UI" panose="020B0502040204020203" pitchFamily="34" charset="0"/>
                </a:rPr>
                <a:t>Coordination</a:t>
              </a:r>
            </a:p>
            <a:p>
              <a:pPr marL="171450" indent="-171450" defTabSz="342900">
                <a:buFont typeface="Arial" panose="020B0604020202020204" pitchFamily="34" charset="0"/>
                <a:buChar char="•"/>
                <a:defRPr/>
              </a:pPr>
              <a:r>
                <a:rPr lang="en-US" sz="1200" dirty="0">
                  <a:solidFill>
                    <a:schemeClr val="accent3"/>
                  </a:solidFill>
                  <a:cs typeface="Segoe UI" panose="020B0502040204020203" pitchFamily="34" charset="0"/>
                </a:rPr>
                <a:t>Promotion</a:t>
              </a:r>
            </a:p>
            <a:p>
              <a:pPr marL="171450" indent="-171450" defTabSz="342900">
                <a:buFont typeface="Arial" panose="020B0604020202020204" pitchFamily="34" charset="0"/>
                <a:buChar char="•"/>
                <a:defRPr/>
              </a:pPr>
              <a:r>
                <a:rPr lang="en-US" sz="1200" dirty="0">
                  <a:solidFill>
                    <a:schemeClr val="accent3"/>
                  </a:solidFill>
                  <a:cs typeface="Segoe UI" panose="020B0502040204020203" pitchFamily="34" charset="0"/>
                </a:rPr>
                <a:t>Advocacy</a:t>
              </a:r>
            </a:p>
            <a:p>
              <a:pPr marL="171450" indent="-171450" defTabSz="342900">
                <a:buFont typeface="Arial" panose="020B0604020202020204" pitchFamily="34" charset="0"/>
                <a:buChar char="•"/>
                <a:defRPr/>
              </a:pPr>
              <a:r>
                <a:rPr lang="en-US" sz="1200" dirty="0">
                  <a:ln w="0"/>
                  <a:effectLst>
                    <a:outerShdw blurRad="38100" dist="19050" dir="2700000" algn="tl" rotWithShape="0">
                      <a:schemeClr val="dk1">
                        <a:alpha val="40000"/>
                      </a:schemeClr>
                    </a:outerShdw>
                  </a:effectLst>
                  <a:cs typeface="Segoe UI" panose="020B0502040204020203" pitchFamily="34" charset="0"/>
                </a:rPr>
                <a:t>FLISP Administration</a:t>
              </a:r>
            </a:p>
            <a:p>
              <a:pPr marL="171450" indent="-171450" defTabSz="342900">
                <a:buFont typeface="Arial" panose="020B0604020202020204" pitchFamily="34" charset="0"/>
                <a:buChar char="•"/>
                <a:defRPr/>
              </a:pPr>
              <a:r>
                <a:rPr lang="en-US" sz="1200" dirty="0">
                  <a:ln w="0"/>
                  <a:effectLst>
                    <a:outerShdw blurRad="38100" dist="19050" dir="2700000" algn="tl" rotWithShape="0">
                      <a:schemeClr val="dk1">
                        <a:alpha val="40000"/>
                      </a:schemeClr>
                    </a:outerShdw>
                  </a:effectLst>
                  <a:cs typeface="Segoe UI" panose="020B0502040204020203" pitchFamily="34" charset="0"/>
                </a:rPr>
                <a:t>Programme managemen</a:t>
              </a:r>
              <a:r>
                <a:rPr lang="en-US" sz="1200" dirty="0">
                  <a:solidFill>
                    <a:schemeClr val="accent3"/>
                  </a:solidFill>
                  <a:cs typeface="Segoe UI" panose="020B0502040204020203" pitchFamily="34" charset="0"/>
                </a:rPr>
                <a:t>t</a:t>
              </a:r>
            </a:p>
          </p:txBody>
        </p:sp>
        <p:sp>
          <p:nvSpPr>
            <p:cNvPr id="46" name="TextBox 50">
              <a:extLst>
                <a:ext uri="{FF2B5EF4-FFF2-40B4-BE49-F238E27FC236}">
                  <a16:creationId xmlns:a16="http://schemas.microsoft.com/office/drawing/2014/main" id="{E3E85714-09B1-467B-AE0C-096CCC027E75}"/>
                </a:ext>
              </a:extLst>
            </p:cNvPr>
            <p:cNvSpPr txBox="1"/>
            <p:nvPr/>
          </p:nvSpPr>
          <p:spPr>
            <a:xfrm>
              <a:off x="-222185" y="1951337"/>
              <a:ext cx="1794911" cy="40516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342900">
                <a:defRPr/>
              </a:pPr>
              <a:r>
                <a:rPr lang="en-US" dirty="0">
                  <a:solidFill>
                    <a:schemeClr val="accent5"/>
                  </a:solidFill>
                  <a:cs typeface="Segoe UI" panose="020B0502040204020203" pitchFamily="34" charset="0"/>
                </a:rPr>
                <a:t>Finance</a:t>
              </a:r>
            </a:p>
          </p:txBody>
        </p:sp>
        <p:sp>
          <p:nvSpPr>
            <p:cNvPr id="47" name="TextBox 51">
              <a:extLst>
                <a:ext uri="{FF2B5EF4-FFF2-40B4-BE49-F238E27FC236}">
                  <a16:creationId xmlns:a16="http://schemas.microsoft.com/office/drawing/2014/main" id="{67C7D389-2BA0-4982-BB74-63AD872871D6}"/>
                </a:ext>
              </a:extLst>
            </p:cNvPr>
            <p:cNvSpPr txBox="1"/>
            <p:nvPr/>
          </p:nvSpPr>
          <p:spPr>
            <a:xfrm>
              <a:off x="-222185" y="3290417"/>
              <a:ext cx="1794911" cy="70904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342900">
                <a:defRPr/>
              </a:pPr>
              <a:r>
                <a:rPr lang="en-US" dirty="0">
                  <a:solidFill>
                    <a:schemeClr val="accent2"/>
                  </a:solidFill>
                  <a:cs typeface="Segoe UI" panose="020B0502040204020203" pitchFamily="34" charset="0"/>
                </a:rPr>
                <a:t>Fund Management</a:t>
              </a:r>
            </a:p>
          </p:txBody>
        </p:sp>
        <p:sp>
          <p:nvSpPr>
            <p:cNvPr id="48" name="TextBox 52">
              <a:extLst>
                <a:ext uri="{FF2B5EF4-FFF2-40B4-BE49-F238E27FC236}">
                  <a16:creationId xmlns:a16="http://schemas.microsoft.com/office/drawing/2014/main" id="{5CCCFE7C-1CE7-49E3-937D-DFC9FBAD7869}"/>
                </a:ext>
              </a:extLst>
            </p:cNvPr>
            <p:cNvSpPr txBox="1"/>
            <p:nvPr/>
          </p:nvSpPr>
          <p:spPr>
            <a:xfrm>
              <a:off x="5160786" y="1951337"/>
              <a:ext cx="1794911" cy="40516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342900">
                <a:defRPr/>
              </a:pPr>
              <a:r>
                <a:rPr lang="en-US" dirty="0">
                  <a:solidFill>
                    <a:schemeClr val="accent1"/>
                  </a:solidFill>
                  <a:cs typeface="Segoe UI" panose="020B0502040204020203" pitchFamily="34" charset="0"/>
                </a:rPr>
                <a:t>Guarantees</a:t>
              </a:r>
            </a:p>
          </p:txBody>
        </p:sp>
        <p:sp>
          <p:nvSpPr>
            <p:cNvPr id="49" name="TextBox 53">
              <a:extLst>
                <a:ext uri="{FF2B5EF4-FFF2-40B4-BE49-F238E27FC236}">
                  <a16:creationId xmlns:a16="http://schemas.microsoft.com/office/drawing/2014/main" id="{4F85D19D-C88F-4CEE-88BA-20EF28BAF07A}"/>
                </a:ext>
              </a:extLst>
            </p:cNvPr>
            <p:cNvSpPr txBox="1"/>
            <p:nvPr/>
          </p:nvSpPr>
          <p:spPr>
            <a:xfrm>
              <a:off x="5160786" y="3398277"/>
              <a:ext cx="1794911" cy="40516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342900">
                <a:defRPr/>
              </a:pPr>
              <a:r>
                <a:rPr lang="en-US" dirty="0">
                  <a:solidFill>
                    <a:schemeClr val="accent4"/>
                  </a:solidFill>
                  <a:cs typeface="Segoe UI" panose="020B0502040204020203" pitchFamily="34" charset="0"/>
                </a:rPr>
                <a:t>Other Services</a:t>
              </a:r>
            </a:p>
          </p:txBody>
        </p:sp>
        <p:sp>
          <p:nvSpPr>
            <p:cNvPr id="74" name="TextBox 47">
              <a:extLst>
                <a:ext uri="{FF2B5EF4-FFF2-40B4-BE49-F238E27FC236}">
                  <a16:creationId xmlns:a16="http://schemas.microsoft.com/office/drawing/2014/main" id="{98EB683B-C667-4DDA-AA2F-6143833367C1}"/>
                </a:ext>
              </a:extLst>
            </p:cNvPr>
            <p:cNvSpPr txBox="1"/>
            <p:nvPr/>
          </p:nvSpPr>
          <p:spPr>
            <a:xfrm>
              <a:off x="30143" y="3880865"/>
              <a:ext cx="1642432" cy="70904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342900">
                <a:defRPr/>
              </a:pPr>
              <a:r>
                <a:rPr lang="en-US" sz="1200" dirty="0">
                  <a:solidFill>
                    <a:schemeClr val="accent3"/>
                  </a:solidFill>
                  <a:cs typeface="Segoe UI" panose="020B0502040204020203" pitchFamily="34" charset="0"/>
                </a:rPr>
                <a:t>Independent management of mutual funds</a:t>
              </a:r>
            </a:p>
          </p:txBody>
        </p:sp>
        <p:sp>
          <p:nvSpPr>
            <p:cNvPr id="4" name="Speech Bubble: Rectangle with Corners Rounded 3">
              <a:extLst>
                <a:ext uri="{FF2B5EF4-FFF2-40B4-BE49-F238E27FC236}">
                  <a16:creationId xmlns:a16="http://schemas.microsoft.com/office/drawing/2014/main" id="{828EC81C-8B5D-4EC8-B34D-602A56CDE435}"/>
                </a:ext>
              </a:extLst>
            </p:cNvPr>
            <p:cNvSpPr/>
            <p:nvPr/>
          </p:nvSpPr>
          <p:spPr>
            <a:xfrm>
              <a:off x="4955458" y="5200099"/>
              <a:ext cx="1386348" cy="533720"/>
            </a:xfrm>
            <a:prstGeom prst="wedgeRoundRectCallout">
              <a:avLst>
                <a:gd name="adj1" fmla="val -16578"/>
                <a:gd name="adj2" fmla="val -101611"/>
                <a:gd name="adj3" fmla="val 16667"/>
              </a:avLst>
            </a:prstGeom>
            <a:solidFill>
              <a:schemeClr val="accent3">
                <a:lumMod val="20000"/>
                <a:lumOff val="80000"/>
              </a:schemeClr>
            </a:solidFill>
            <a:ln>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dirty="0">
                  <a:solidFill>
                    <a:schemeClr val="tx1"/>
                  </a:solidFill>
                  <a:cs typeface="Segoe UI" panose="020B0502040204020203" pitchFamily="34" charset="0"/>
                </a:rPr>
                <a:t>Others to be added as HSDB evolves </a:t>
              </a:r>
            </a:p>
          </p:txBody>
        </p:sp>
      </p:grpSp>
      <p:sp>
        <p:nvSpPr>
          <p:cNvPr id="53" name="Rectangle 52">
            <a:extLst>
              <a:ext uri="{FF2B5EF4-FFF2-40B4-BE49-F238E27FC236}">
                <a16:creationId xmlns:a16="http://schemas.microsoft.com/office/drawing/2014/main" id="{83740171-BC25-4038-83DB-6646E2A24650}"/>
              </a:ext>
            </a:extLst>
          </p:cNvPr>
          <p:cNvSpPr/>
          <p:nvPr/>
        </p:nvSpPr>
        <p:spPr>
          <a:xfrm>
            <a:off x="7973960" y="984969"/>
            <a:ext cx="3491394" cy="32358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1400" dirty="0">
                <a:cs typeface="Segoe UI" panose="020B0502040204020203" pitchFamily="34" charset="0"/>
              </a:rPr>
              <a:t>Commentary</a:t>
            </a:r>
          </a:p>
        </p:txBody>
      </p:sp>
      <p:sp>
        <p:nvSpPr>
          <p:cNvPr id="54" name="Rectangle 53">
            <a:extLst>
              <a:ext uri="{FF2B5EF4-FFF2-40B4-BE49-F238E27FC236}">
                <a16:creationId xmlns:a16="http://schemas.microsoft.com/office/drawing/2014/main" id="{4C7665E5-5058-4606-BDE2-91330615B294}"/>
              </a:ext>
            </a:extLst>
          </p:cNvPr>
          <p:cNvSpPr/>
          <p:nvPr/>
        </p:nvSpPr>
        <p:spPr>
          <a:xfrm>
            <a:off x="7973960" y="1396921"/>
            <a:ext cx="3491394" cy="48261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nSpc>
                <a:spcPct val="150000"/>
              </a:lnSpc>
              <a:buFont typeface="Arial" panose="020B0604020202020204" pitchFamily="34" charset="0"/>
              <a:buChar char="•"/>
            </a:pPr>
            <a:r>
              <a:rPr lang="en-US" sz="1200" dirty="0">
                <a:solidFill>
                  <a:sysClr val="windowText" lastClr="000000"/>
                </a:solidFill>
              </a:rPr>
              <a:t>NHFC will offer 4 main categories:</a:t>
            </a:r>
          </a:p>
          <a:p>
            <a:pPr marL="742950" lvl="1" indent="-285750">
              <a:lnSpc>
                <a:spcPct val="150000"/>
              </a:lnSpc>
              <a:buFont typeface="Arial" panose="020B0604020202020204" pitchFamily="34" charset="0"/>
              <a:buChar char="•"/>
            </a:pPr>
            <a:r>
              <a:rPr lang="en-US" sz="1200" dirty="0">
                <a:solidFill>
                  <a:sysClr val="windowText" lastClr="000000"/>
                </a:solidFill>
              </a:rPr>
              <a:t>Finance</a:t>
            </a:r>
          </a:p>
          <a:p>
            <a:pPr marL="742950" lvl="1" indent="-285750">
              <a:lnSpc>
                <a:spcPct val="150000"/>
              </a:lnSpc>
              <a:buFont typeface="Arial" panose="020B0604020202020204" pitchFamily="34" charset="0"/>
              <a:buChar char="•"/>
            </a:pPr>
            <a:r>
              <a:rPr lang="en-US" sz="1200" dirty="0">
                <a:solidFill>
                  <a:sysClr val="windowText" lastClr="000000"/>
                </a:solidFill>
              </a:rPr>
              <a:t>Fund management</a:t>
            </a:r>
          </a:p>
          <a:p>
            <a:pPr marL="742950" lvl="1" indent="-285750">
              <a:lnSpc>
                <a:spcPct val="150000"/>
              </a:lnSpc>
              <a:buFont typeface="Arial" panose="020B0604020202020204" pitchFamily="34" charset="0"/>
              <a:buChar char="•"/>
            </a:pPr>
            <a:r>
              <a:rPr lang="en-US" sz="1200" dirty="0">
                <a:solidFill>
                  <a:sysClr val="windowText" lastClr="000000"/>
                </a:solidFill>
              </a:rPr>
              <a:t>Guarantees </a:t>
            </a:r>
          </a:p>
          <a:p>
            <a:pPr marL="742950" lvl="1" indent="-285750">
              <a:lnSpc>
                <a:spcPct val="150000"/>
              </a:lnSpc>
              <a:buFont typeface="Arial" panose="020B0604020202020204" pitchFamily="34" charset="0"/>
              <a:buChar char="•"/>
            </a:pPr>
            <a:r>
              <a:rPr lang="en-US" sz="1200" dirty="0">
                <a:solidFill>
                  <a:sysClr val="windowText" lastClr="000000"/>
                </a:solidFill>
              </a:rPr>
              <a:t>Other services</a:t>
            </a:r>
          </a:p>
          <a:p>
            <a:pPr marL="285750" indent="-285750">
              <a:lnSpc>
                <a:spcPct val="150000"/>
              </a:lnSpc>
              <a:buFont typeface="Arial" panose="020B0604020202020204" pitchFamily="34" charset="0"/>
              <a:buChar char="•"/>
            </a:pPr>
            <a:r>
              <a:rPr lang="en-US" sz="1200" dirty="0">
                <a:solidFill>
                  <a:sysClr val="windowText" lastClr="000000"/>
                </a:solidFill>
              </a:rPr>
              <a:t>Advisory and advocacy will be overarching service offerings that will be provided along with the instruments (debt, equity and both)</a:t>
            </a:r>
          </a:p>
          <a:p>
            <a:pPr marL="285750" indent="-285750">
              <a:lnSpc>
                <a:spcPct val="150000"/>
              </a:lnSpc>
              <a:buFont typeface="Arial" panose="020B0604020202020204" pitchFamily="34" charset="0"/>
              <a:buChar char="•"/>
            </a:pPr>
            <a:r>
              <a:rPr lang="en-US" sz="1200" dirty="0">
                <a:solidFill>
                  <a:sysClr val="windowText" lastClr="000000"/>
                </a:solidFill>
              </a:rPr>
              <a:t>The offering will continually be determined by assessing the demand in the market from each primary customer and the ability for the NHFC  to meet that demand and remain sustainable</a:t>
            </a:r>
          </a:p>
          <a:p>
            <a:pPr marL="285750" indent="-285750">
              <a:lnSpc>
                <a:spcPct val="150000"/>
              </a:lnSpc>
              <a:buFont typeface="Arial" panose="020B0604020202020204" pitchFamily="34" charset="0"/>
              <a:buChar char="•"/>
            </a:pPr>
            <a:r>
              <a:rPr lang="en-US" sz="1200" dirty="0">
                <a:solidFill>
                  <a:sysClr val="windowText" lastClr="000000"/>
                </a:solidFill>
              </a:rPr>
              <a:t>Guarantees require input from financial institutions, however a feasibility assessment would need to be conducted to assess viability</a:t>
            </a:r>
          </a:p>
        </p:txBody>
      </p:sp>
    </p:spTree>
    <p:extLst>
      <p:ext uri="{BB962C8B-B14F-4D97-AF65-F5344CB8AC3E}">
        <p14:creationId xmlns:p14="http://schemas.microsoft.com/office/powerpoint/2010/main" val="4472569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txBox="1">
            <a:spLocks/>
          </p:cNvSpPr>
          <p:nvPr/>
        </p:nvSpPr>
        <p:spPr>
          <a:xfrm>
            <a:off x="0" y="5646"/>
            <a:ext cx="12192001" cy="688621"/>
          </a:xfrm>
          <a:prstGeom prst="rect">
            <a:avLst/>
          </a:prstGeom>
          <a:solidFill>
            <a:srgbClr val="002663"/>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rtlCol="0" anchor="ctr">
            <a:noAutofit/>
            <a:scene3d>
              <a:camera prst="orthographicFront"/>
              <a:lightRig rig="soft" dir="t"/>
            </a:scene3d>
            <a:sp3d prstMaterial="softEdge">
              <a:bevelT w="25400" h="25400"/>
            </a:sp3d>
          </a:bodyPr>
          <a:lstStyle>
            <a:lvl1pPr algn="r" rtl="0" eaLnBrk="1" latinLnBrk="0" hangingPunct="1">
              <a:spcBef>
                <a:spcPct val="0"/>
              </a:spcBef>
              <a:buNone/>
              <a:defRPr kumimoji="0" sz="3200" b="1" kern="1200">
                <a:solidFill>
                  <a:srgbClr val="9A9B9C"/>
                </a:solidFill>
                <a:effectLst>
                  <a:outerShdw blurRad="31750" dist="25400" dir="5400000" algn="tl" rotWithShape="0">
                    <a:srgbClr val="000000">
                      <a:alpha val="25000"/>
                    </a:srgbClr>
                  </a:outerShdw>
                </a:effectLst>
                <a:latin typeface="+mn-lt"/>
                <a:ea typeface="+mj-ea"/>
                <a:cs typeface="+mj-cs"/>
              </a:defRPr>
            </a:lvl1pPr>
            <a:lvl2pPr>
              <a:defRPr/>
            </a:lvl2pPr>
            <a:lvl3pPr>
              <a:defRPr/>
            </a:lvl3pPr>
            <a:lvl4pPr>
              <a:defRPr/>
            </a:lvl4pPr>
            <a:lvl5pPr>
              <a:defRPr/>
            </a:lvl5pPr>
            <a:lvl6pPr>
              <a:defRPr/>
            </a:lvl6pPr>
            <a:lvl7pPr>
              <a:defRPr/>
            </a:lvl7pPr>
            <a:lvl8pPr>
              <a:defRPr/>
            </a:lvl8pPr>
            <a:lvl9pPr>
              <a:defRPr/>
            </a:lvl9pPr>
            <a:extLst/>
          </a:lstStyle>
          <a:p>
            <a:pPr marL="354013" algn="l"/>
            <a:r>
              <a:rPr lang="en-US" sz="2000" kern="0" dirty="0">
                <a:solidFill>
                  <a:prstClr val="white"/>
                </a:solidFill>
                <a:effectLst/>
              </a:rPr>
              <a:t>NHFC IMPACT STATEMENT: </a:t>
            </a:r>
          </a:p>
          <a:p>
            <a:pPr marL="354013" algn="l"/>
            <a:r>
              <a:rPr lang="en-US" sz="2000" kern="0" dirty="0">
                <a:solidFill>
                  <a:prstClr val="white"/>
                </a:solidFill>
                <a:effectLst/>
              </a:rPr>
              <a:t>SUSTAINABLE HUMAN SETTLEMENTS AND IMPROVED QUALITY OF HOUSEHOLD LIFE  </a:t>
            </a:r>
          </a:p>
        </p:txBody>
      </p:sp>
      <p:sp>
        <p:nvSpPr>
          <p:cNvPr id="8" name="Parallelogram 7"/>
          <p:cNvSpPr/>
          <p:nvPr/>
        </p:nvSpPr>
        <p:spPr>
          <a:xfrm>
            <a:off x="-2" y="6519067"/>
            <a:ext cx="9871077" cy="335757"/>
          </a:xfrm>
          <a:custGeom>
            <a:avLst/>
            <a:gdLst>
              <a:gd name="connsiteX0" fmla="*/ 0 w 10188575"/>
              <a:gd name="connsiteY0" fmla="*/ 166915 h 166915"/>
              <a:gd name="connsiteX1" fmla="*/ 41729 w 10188575"/>
              <a:gd name="connsiteY1" fmla="*/ 0 h 166915"/>
              <a:gd name="connsiteX2" fmla="*/ 10188575 w 10188575"/>
              <a:gd name="connsiteY2" fmla="*/ 0 h 166915"/>
              <a:gd name="connsiteX3" fmla="*/ 10146846 w 10188575"/>
              <a:gd name="connsiteY3" fmla="*/ 166915 h 166915"/>
              <a:gd name="connsiteX4" fmla="*/ 0 w 10188575"/>
              <a:gd name="connsiteY4" fmla="*/ 166915 h 166915"/>
              <a:gd name="connsiteX0" fmla="*/ 17802 w 10146846"/>
              <a:gd name="connsiteY0" fmla="*/ 166915 h 166915"/>
              <a:gd name="connsiteX1" fmla="*/ 0 w 10146846"/>
              <a:gd name="connsiteY1" fmla="*/ 0 h 166915"/>
              <a:gd name="connsiteX2" fmla="*/ 10146846 w 10146846"/>
              <a:gd name="connsiteY2" fmla="*/ 0 h 166915"/>
              <a:gd name="connsiteX3" fmla="*/ 10105117 w 10146846"/>
              <a:gd name="connsiteY3" fmla="*/ 166915 h 166915"/>
              <a:gd name="connsiteX4" fmla="*/ 17802 w 10146846"/>
              <a:gd name="connsiteY4" fmla="*/ 166915 h 166915"/>
              <a:gd name="connsiteX0" fmla="*/ 3514 w 10132558"/>
              <a:gd name="connsiteY0" fmla="*/ 166915 h 166915"/>
              <a:gd name="connsiteX1" fmla="*/ 0 w 10132558"/>
              <a:gd name="connsiteY1" fmla="*/ 2381 h 166915"/>
              <a:gd name="connsiteX2" fmla="*/ 10132558 w 10132558"/>
              <a:gd name="connsiteY2" fmla="*/ 0 h 166915"/>
              <a:gd name="connsiteX3" fmla="*/ 10090829 w 10132558"/>
              <a:gd name="connsiteY3" fmla="*/ 166915 h 166915"/>
              <a:gd name="connsiteX4" fmla="*/ 3514 w 10132558"/>
              <a:gd name="connsiteY4" fmla="*/ 166915 h 166915"/>
              <a:gd name="connsiteX0" fmla="*/ 154 w 10129198"/>
              <a:gd name="connsiteY0" fmla="*/ 166915 h 166915"/>
              <a:gd name="connsiteX1" fmla="*/ 3784 w 10129198"/>
              <a:gd name="connsiteY1" fmla="*/ 0 h 166915"/>
              <a:gd name="connsiteX2" fmla="*/ 10129198 w 10129198"/>
              <a:gd name="connsiteY2" fmla="*/ 0 h 166915"/>
              <a:gd name="connsiteX3" fmla="*/ 10087469 w 10129198"/>
              <a:gd name="connsiteY3" fmla="*/ 166915 h 166915"/>
              <a:gd name="connsiteX4" fmla="*/ 154 w 10129198"/>
              <a:gd name="connsiteY4" fmla="*/ 166915 h 166915"/>
              <a:gd name="connsiteX0" fmla="*/ 239 w 10126902"/>
              <a:gd name="connsiteY0" fmla="*/ 169296 h 169296"/>
              <a:gd name="connsiteX1" fmla="*/ 1488 w 10126902"/>
              <a:gd name="connsiteY1" fmla="*/ 0 h 169296"/>
              <a:gd name="connsiteX2" fmla="*/ 10126902 w 10126902"/>
              <a:gd name="connsiteY2" fmla="*/ 0 h 169296"/>
              <a:gd name="connsiteX3" fmla="*/ 10085173 w 10126902"/>
              <a:gd name="connsiteY3" fmla="*/ 166915 h 169296"/>
              <a:gd name="connsiteX4" fmla="*/ 239 w 10126902"/>
              <a:gd name="connsiteY4" fmla="*/ 169296 h 169296"/>
              <a:gd name="connsiteX0" fmla="*/ 239 w 10425352"/>
              <a:gd name="connsiteY0" fmla="*/ 175887 h 175887"/>
              <a:gd name="connsiteX1" fmla="*/ 1488 w 10425352"/>
              <a:gd name="connsiteY1" fmla="*/ 6591 h 175887"/>
              <a:gd name="connsiteX2" fmla="*/ 10425352 w 10425352"/>
              <a:gd name="connsiteY2" fmla="*/ 0 h 175887"/>
              <a:gd name="connsiteX3" fmla="*/ 10085173 w 10425352"/>
              <a:gd name="connsiteY3" fmla="*/ 173506 h 175887"/>
              <a:gd name="connsiteX4" fmla="*/ 239 w 10425352"/>
              <a:gd name="connsiteY4" fmla="*/ 175887 h 175887"/>
              <a:gd name="connsiteX0" fmla="*/ 239 w 10635515"/>
              <a:gd name="connsiteY0" fmla="*/ 179182 h 179182"/>
              <a:gd name="connsiteX1" fmla="*/ 1488 w 10635515"/>
              <a:gd name="connsiteY1" fmla="*/ 9886 h 179182"/>
              <a:gd name="connsiteX2" fmla="*/ 10635515 w 10635515"/>
              <a:gd name="connsiteY2" fmla="*/ 0 h 179182"/>
              <a:gd name="connsiteX3" fmla="*/ 10085173 w 10635515"/>
              <a:gd name="connsiteY3" fmla="*/ 176801 h 179182"/>
              <a:gd name="connsiteX4" fmla="*/ 239 w 10635515"/>
              <a:gd name="connsiteY4" fmla="*/ 179182 h 179182"/>
              <a:gd name="connsiteX0" fmla="*/ 239 w 10635515"/>
              <a:gd name="connsiteY0" fmla="*/ 179182 h 179182"/>
              <a:gd name="connsiteX1" fmla="*/ 1488 w 10635515"/>
              <a:gd name="connsiteY1" fmla="*/ 9886 h 179182"/>
              <a:gd name="connsiteX2" fmla="*/ 10635515 w 10635515"/>
              <a:gd name="connsiteY2" fmla="*/ 0 h 179182"/>
              <a:gd name="connsiteX3" fmla="*/ 10224620 w 10635515"/>
              <a:gd name="connsiteY3" fmla="*/ 178449 h 179182"/>
              <a:gd name="connsiteX4" fmla="*/ 239 w 10635515"/>
              <a:gd name="connsiteY4" fmla="*/ 179182 h 179182"/>
              <a:gd name="connsiteX0" fmla="*/ 239 w 10635515"/>
              <a:gd name="connsiteY0" fmla="*/ 174239 h 174239"/>
              <a:gd name="connsiteX1" fmla="*/ 1488 w 10635515"/>
              <a:gd name="connsiteY1" fmla="*/ 4943 h 174239"/>
              <a:gd name="connsiteX2" fmla="*/ 10635515 w 10635515"/>
              <a:gd name="connsiteY2" fmla="*/ 0 h 174239"/>
              <a:gd name="connsiteX3" fmla="*/ 10224620 w 10635515"/>
              <a:gd name="connsiteY3" fmla="*/ 173506 h 174239"/>
              <a:gd name="connsiteX4" fmla="*/ 239 w 10635515"/>
              <a:gd name="connsiteY4" fmla="*/ 174239 h 174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35515" h="174239">
                <a:moveTo>
                  <a:pt x="239" y="174239"/>
                </a:moveTo>
                <a:cubicBezTo>
                  <a:pt x="-932" y="119394"/>
                  <a:pt x="2659" y="59788"/>
                  <a:pt x="1488" y="4943"/>
                </a:cubicBezTo>
                <a:lnTo>
                  <a:pt x="10635515" y="0"/>
                </a:lnTo>
                <a:lnTo>
                  <a:pt x="10224620" y="173506"/>
                </a:lnTo>
                <a:lnTo>
                  <a:pt x="239" y="174239"/>
                </a:lnTo>
                <a:close/>
              </a:path>
            </a:pathLst>
          </a:custGeom>
          <a:pattFill prst="pct70">
            <a:fgClr>
              <a:schemeClr val="bg1">
                <a:lumMod val="75000"/>
              </a:schemeClr>
            </a:fgClr>
            <a:bgClr>
              <a:schemeClr val="bg1"/>
            </a:bgClr>
          </a:pattFill>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dirty="0"/>
          </a:p>
        </p:txBody>
      </p:sp>
      <p:sp>
        <p:nvSpPr>
          <p:cNvPr id="11" name="Parallelogram 10"/>
          <p:cNvSpPr/>
          <p:nvPr/>
        </p:nvSpPr>
        <p:spPr>
          <a:xfrm>
            <a:off x="10360480" y="6519067"/>
            <a:ext cx="1831520" cy="330199"/>
          </a:xfrm>
          <a:custGeom>
            <a:avLst/>
            <a:gdLst>
              <a:gd name="connsiteX0" fmla="*/ 0 w 1983938"/>
              <a:gd name="connsiteY0" fmla="*/ 166914 h 166914"/>
              <a:gd name="connsiteX1" fmla="*/ 41729 w 1983938"/>
              <a:gd name="connsiteY1" fmla="*/ 0 h 166914"/>
              <a:gd name="connsiteX2" fmla="*/ 1983938 w 1983938"/>
              <a:gd name="connsiteY2" fmla="*/ 0 h 166914"/>
              <a:gd name="connsiteX3" fmla="*/ 1942210 w 1983938"/>
              <a:gd name="connsiteY3" fmla="*/ 166914 h 166914"/>
              <a:gd name="connsiteX4" fmla="*/ 0 w 1983938"/>
              <a:gd name="connsiteY4" fmla="*/ 166914 h 166914"/>
              <a:gd name="connsiteX0" fmla="*/ 0 w 1942210"/>
              <a:gd name="connsiteY0" fmla="*/ 166914 h 166914"/>
              <a:gd name="connsiteX1" fmla="*/ 41729 w 1942210"/>
              <a:gd name="connsiteY1" fmla="*/ 0 h 166914"/>
              <a:gd name="connsiteX2" fmla="*/ 1910120 w 1942210"/>
              <a:gd name="connsiteY2" fmla="*/ 0 h 166914"/>
              <a:gd name="connsiteX3" fmla="*/ 1942210 w 1942210"/>
              <a:gd name="connsiteY3" fmla="*/ 166914 h 166914"/>
              <a:gd name="connsiteX4" fmla="*/ 0 w 1942210"/>
              <a:gd name="connsiteY4" fmla="*/ 166914 h 166914"/>
              <a:gd name="connsiteX0" fmla="*/ 0 w 1913635"/>
              <a:gd name="connsiteY0" fmla="*/ 166914 h 166914"/>
              <a:gd name="connsiteX1" fmla="*/ 41729 w 1913635"/>
              <a:gd name="connsiteY1" fmla="*/ 0 h 166914"/>
              <a:gd name="connsiteX2" fmla="*/ 1910120 w 1913635"/>
              <a:gd name="connsiteY2" fmla="*/ 0 h 166914"/>
              <a:gd name="connsiteX3" fmla="*/ 1913635 w 1913635"/>
              <a:gd name="connsiteY3" fmla="*/ 166914 h 166914"/>
              <a:gd name="connsiteX4" fmla="*/ 0 w 1913635"/>
              <a:gd name="connsiteY4" fmla="*/ 166914 h 166914"/>
              <a:gd name="connsiteX0" fmla="*/ 0 w 1913635"/>
              <a:gd name="connsiteY0" fmla="*/ 170187 h 170187"/>
              <a:gd name="connsiteX1" fmla="*/ 352879 w 1913635"/>
              <a:gd name="connsiteY1" fmla="*/ 0 h 170187"/>
              <a:gd name="connsiteX2" fmla="*/ 1910120 w 1913635"/>
              <a:gd name="connsiteY2" fmla="*/ 3273 h 170187"/>
              <a:gd name="connsiteX3" fmla="*/ 1913635 w 1913635"/>
              <a:gd name="connsiteY3" fmla="*/ 170187 h 170187"/>
              <a:gd name="connsiteX4" fmla="*/ 0 w 1913635"/>
              <a:gd name="connsiteY4" fmla="*/ 170187 h 17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3635" h="170187">
                <a:moveTo>
                  <a:pt x="0" y="170187"/>
                </a:moveTo>
                <a:lnTo>
                  <a:pt x="352879" y="0"/>
                </a:lnTo>
                <a:lnTo>
                  <a:pt x="1910120" y="3273"/>
                </a:lnTo>
                <a:cubicBezTo>
                  <a:pt x="1911292" y="58911"/>
                  <a:pt x="1912463" y="114549"/>
                  <a:pt x="1913635" y="170187"/>
                </a:cubicBezTo>
                <a:lnTo>
                  <a:pt x="0" y="170187"/>
                </a:lnTo>
                <a:close/>
              </a:path>
            </a:pathLst>
          </a:custGeom>
          <a:pattFill prst="pct70">
            <a:fgClr>
              <a:schemeClr val="accent4"/>
            </a:fgClr>
            <a:bgClr>
              <a:schemeClr val="bg1"/>
            </a:bgClr>
          </a:patt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p>
        </p:txBody>
      </p:sp>
      <p:sp>
        <p:nvSpPr>
          <p:cNvPr id="13" name="Parallelogram 12"/>
          <p:cNvSpPr/>
          <p:nvPr/>
        </p:nvSpPr>
        <p:spPr>
          <a:xfrm>
            <a:off x="9680574" y="6524623"/>
            <a:ext cx="841376" cy="330201"/>
          </a:xfrm>
          <a:custGeom>
            <a:avLst/>
            <a:gdLst>
              <a:gd name="connsiteX0" fmla="*/ 0 w 812801"/>
              <a:gd name="connsiteY0" fmla="*/ 333376 h 333376"/>
              <a:gd name="connsiteX1" fmla="*/ 83344 w 812801"/>
              <a:gd name="connsiteY1" fmla="*/ 0 h 333376"/>
              <a:gd name="connsiteX2" fmla="*/ 812801 w 812801"/>
              <a:gd name="connsiteY2" fmla="*/ 0 h 333376"/>
              <a:gd name="connsiteX3" fmla="*/ 729457 w 812801"/>
              <a:gd name="connsiteY3" fmla="*/ 333376 h 333376"/>
              <a:gd name="connsiteX4" fmla="*/ 0 w 812801"/>
              <a:gd name="connsiteY4" fmla="*/ 333376 h 333376"/>
              <a:gd name="connsiteX0" fmla="*/ 0 w 1111251"/>
              <a:gd name="connsiteY0" fmla="*/ 330201 h 333376"/>
              <a:gd name="connsiteX1" fmla="*/ 381794 w 1111251"/>
              <a:gd name="connsiteY1" fmla="*/ 0 h 333376"/>
              <a:gd name="connsiteX2" fmla="*/ 1111251 w 1111251"/>
              <a:gd name="connsiteY2" fmla="*/ 0 h 333376"/>
              <a:gd name="connsiteX3" fmla="*/ 1027907 w 1111251"/>
              <a:gd name="connsiteY3" fmla="*/ 333376 h 333376"/>
              <a:gd name="connsiteX4" fmla="*/ 0 w 1111251"/>
              <a:gd name="connsiteY4" fmla="*/ 330201 h 333376"/>
              <a:gd name="connsiteX0" fmla="*/ 0 w 1111251"/>
              <a:gd name="connsiteY0" fmla="*/ 330201 h 330201"/>
              <a:gd name="connsiteX1" fmla="*/ 381794 w 1111251"/>
              <a:gd name="connsiteY1" fmla="*/ 0 h 330201"/>
              <a:gd name="connsiteX2" fmla="*/ 1111251 w 1111251"/>
              <a:gd name="connsiteY2" fmla="*/ 0 h 330201"/>
              <a:gd name="connsiteX3" fmla="*/ 805657 w 1111251"/>
              <a:gd name="connsiteY3" fmla="*/ 320676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1111251"/>
              <a:gd name="connsiteY0" fmla="*/ 330201 h 330201"/>
              <a:gd name="connsiteX1" fmla="*/ 381794 w 1111251"/>
              <a:gd name="connsiteY1" fmla="*/ 0 h 330201"/>
              <a:gd name="connsiteX2" fmla="*/ 1111251 w 1111251"/>
              <a:gd name="connsiteY2" fmla="*/ 0 h 330201"/>
              <a:gd name="connsiteX3" fmla="*/ 450057 w 1111251"/>
              <a:gd name="connsiteY3" fmla="*/ 330201 h 330201"/>
              <a:gd name="connsiteX4" fmla="*/ 0 w 1111251"/>
              <a:gd name="connsiteY4" fmla="*/ 330201 h 330201"/>
              <a:gd name="connsiteX0" fmla="*/ 0 w 815976"/>
              <a:gd name="connsiteY0" fmla="*/ 330201 h 330201"/>
              <a:gd name="connsiteX1" fmla="*/ 381794 w 815976"/>
              <a:gd name="connsiteY1" fmla="*/ 0 h 330201"/>
              <a:gd name="connsiteX2" fmla="*/ 815976 w 815976"/>
              <a:gd name="connsiteY2" fmla="*/ 0 h 330201"/>
              <a:gd name="connsiteX3" fmla="*/ 450057 w 815976"/>
              <a:gd name="connsiteY3" fmla="*/ 330201 h 330201"/>
              <a:gd name="connsiteX4" fmla="*/ 0 w 815976"/>
              <a:gd name="connsiteY4" fmla="*/ 330201 h 330201"/>
              <a:gd name="connsiteX0" fmla="*/ 0 w 841376"/>
              <a:gd name="connsiteY0" fmla="*/ 330201 h 330201"/>
              <a:gd name="connsiteX1" fmla="*/ 381794 w 841376"/>
              <a:gd name="connsiteY1" fmla="*/ 0 h 330201"/>
              <a:gd name="connsiteX2" fmla="*/ 841376 w 841376"/>
              <a:gd name="connsiteY2" fmla="*/ 0 h 330201"/>
              <a:gd name="connsiteX3" fmla="*/ 450057 w 841376"/>
              <a:gd name="connsiteY3" fmla="*/ 330201 h 330201"/>
              <a:gd name="connsiteX4" fmla="*/ 0 w 841376"/>
              <a:gd name="connsiteY4" fmla="*/ 330201 h 330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1376" h="330201">
                <a:moveTo>
                  <a:pt x="0" y="330201"/>
                </a:moveTo>
                <a:lnTo>
                  <a:pt x="381794" y="0"/>
                </a:lnTo>
                <a:lnTo>
                  <a:pt x="841376" y="0"/>
                </a:lnTo>
                <a:lnTo>
                  <a:pt x="450057" y="330201"/>
                </a:lnTo>
                <a:lnTo>
                  <a:pt x="0" y="330201"/>
                </a:lnTo>
                <a:close/>
              </a:path>
            </a:pathLst>
          </a:custGeom>
          <a:pattFill prst="pct70">
            <a:fgClr>
              <a:schemeClr val="accent5">
                <a:lumMod val="50000"/>
              </a:schemeClr>
            </a:fgClr>
            <a:bgClr>
              <a:schemeClr val="bg1"/>
            </a:bgClr>
          </a:pattFill>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p>
        </p:txBody>
      </p:sp>
      <p:sp>
        <p:nvSpPr>
          <p:cNvPr id="5" name="Slide Number Placeholder 4">
            <a:extLst>
              <a:ext uri="{FF2B5EF4-FFF2-40B4-BE49-F238E27FC236}">
                <a16:creationId xmlns:a16="http://schemas.microsoft.com/office/drawing/2014/main" id="{A987B35D-F68B-4006-AC19-5A526609671C}"/>
              </a:ext>
            </a:extLst>
          </p:cNvPr>
          <p:cNvSpPr>
            <a:spLocks noGrp="1"/>
          </p:cNvSpPr>
          <p:nvPr>
            <p:ph type="sldNum" sz="quarter" idx="12"/>
          </p:nvPr>
        </p:nvSpPr>
        <p:spPr>
          <a:xfrm>
            <a:off x="9448800" y="6484141"/>
            <a:ext cx="2743200" cy="365125"/>
          </a:xfrm>
        </p:spPr>
        <p:txBody>
          <a:bodyPr anchor="ctr"/>
          <a:lstStyle/>
          <a:p>
            <a:fld id="{87102F09-8F7D-4EC1-9AE5-82CA77F49212}" type="slidenum">
              <a:rPr lang="en-ZA" b="1" smtClean="0">
                <a:solidFill>
                  <a:schemeClr val="tx1"/>
                </a:solidFill>
              </a:rPr>
              <a:t>9</a:t>
            </a:fld>
            <a:endParaRPr lang="en-ZA" b="1" dirty="0">
              <a:solidFill>
                <a:schemeClr val="tx1"/>
              </a:solidFill>
            </a:endParaRPr>
          </a:p>
        </p:txBody>
      </p:sp>
      <p:graphicFrame>
        <p:nvGraphicFramePr>
          <p:cNvPr id="45" name="Table 44"/>
          <p:cNvGraphicFramePr>
            <a:graphicFrameLocks noGrp="1"/>
          </p:cNvGraphicFramePr>
          <p:nvPr>
            <p:extLst>
              <p:ext uri="{D42A27DB-BD31-4B8C-83A1-F6EECF244321}">
                <p14:modId xmlns:p14="http://schemas.microsoft.com/office/powerpoint/2010/main" val="31495738"/>
              </p:ext>
            </p:extLst>
          </p:nvPr>
        </p:nvGraphicFramePr>
        <p:xfrm>
          <a:off x="-2" y="719667"/>
          <a:ext cx="12192003" cy="6064148"/>
        </p:xfrm>
        <a:graphic>
          <a:graphicData uri="http://schemas.openxmlformats.org/drawingml/2006/table">
            <a:tbl>
              <a:tblPr firstRow="1" firstCol="1" bandRow="1">
                <a:tableStyleId>{5C22544A-7EE6-4342-B048-85BDC9FD1C3A}</a:tableStyleId>
              </a:tblPr>
              <a:tblGrid>
                <a:gridCol w="3028365">
                  <a:extLst>
                    <a:ext uri="{9D8B030D-6E8A-4147-A177-3AD203B41FA5}">
                      <a16:colId xmlns:a16="http://schemas.microsoft.com/office/drawing/2014/main" val="20000"/>
                    </a:ext>
                  </a:extLst>
                </a:gridCol>
                <a:gridCol w="4703098">
                  <a:extLst>
                    <a:ext uri="{9D8B030D-6E8A-4147-A177-3AD203B41FA5}">
                      <a16:colId xmlns:a16="http://schemas.microsoft.com/office/drawing/2014/main" val="20001"/>
                    </a:ext>
                  </a:extLst>
                </a:gridCol>
                <a:gridCol w="2230270">
                  <a:extLst>
                    <a:ext uri="{9D8B030D-6E8A-4147-A177-3AD203B41FA5}">
                      <a16:colId xmlns:a16="http://schemas.microsoft.com/office/drawing/2014/main" val="20002"/>
                    </a:ext>
                  </a:extLst>
                </a:gridCol>
                <a:gridCol w="2230270">
                  <a:extLst>
                    <a:ext uri="{9D8B030D-6E8A-4147-A177-3AD203B41FA5}">
                      <a16:colId xmlns:a16="http://schemas.microsoft.com/office/drawing/2014/main" val="20003"/>
                    </a:ext>
                  </a:extLst>
                </a:gridCol>
              </a:tblGrid>
              <a:tr h="340905">
                <a:tc>
                  <a:txBody>
                    <a:bodyPr/>
                    <a:lstStyle/>
                    <a:p>
                      <a:pPr algn="just" fontAlgn="auto">
                        <a:lnSpc>
                          <a:spcPct val="115000"/>
                        </a:lnSpc>
                        <a:spcAft>
                          <a:spcPts val="0"/>
                        </a:spcAft>
                      </a:pPr>
                      <a:r>
                        <a:rPr lang="en-GB" sz="1400" spc="-25" dirty="0">
                          <a:effectLst/>
                        </a:rPr>
                        <a:t>Outcome</a:t>
                      </a:r>
                      <a:endParaRPr lang="en-ZA" sz="1400" dirty="0">
                        <a:effectLst/>
                        <a:latin typeface="Calibri" panose="020F0502020204030204" pitchFamily="34" charset="0"/>
                        <a:ea typeface="MS Mincho"/>
                        <a:cs typeface="Times New Roman" panose="02020603050405020304" pitchFamily="18" charset="0"/>
                      </a:endParaRPr>
                    </a:p>
                  </a:txBody>
                  <a:tcPr marL="43257" marR="43257" marT="0" marB="0"/>
                </a:tc>
                <a:tc>
                  <a:txBody>
                    <a:bodyPr/>
                    <a:lstStyle/>
                    <a:p>
                      <a:pPr algn="l" fontAlgn="auto">
                        <a:lnSpc>
                          <a:spcPct val="115000"/>
                        </a:lnSpc>
                        <a:spcAft>
                          <a:spcPts val="0"/>
                        </a:spcAft>
                      </a:pPr>
                      <a:r>
                        <a:rPr lang="en-GB" sz="1400" spc="-25" dirty="0">
                          <a:effectLst/>
                        </a:rPr>
                        <a:t>Outcome Indicator</a:t>
                      </a:r>
                      <a:endParaRPr lang="en-ZA" sz="1400" dirty="0">
                        <a:effectLst/>
                        <a:latin typeface="Calibri" panose="020F0502020204030204" pitchFamily="34" charset="0"/>
                        <a:ea typeface="MS Mincho"/>
                        <a:cs typeface="Times New Roman" panose="02020603050405020304" pitchFamily="18" charset="0"/>
                      </a:endParaRPr>
                    </a:p>
                  </a:txBody>
                  <a:tcPr marL="43257" marR="43257" marT="0" marB="0"/>
                </a:tc>
                <a:tc>
                  <a:txBody>
                    <a:bodyPr/>
                    <a:lstStyle/>
                    <a:p>
                      <a:pPr marL="0" algn="ctr" defTabSz="914400" rtl="0" eaLnBrk="1" fontAlgn="auto" latinLnBrk="0" hangingPunct="1">
                        <a:lnSpc>
                          <a:spcPct val="115000"/>
                        </a:lnSpc>
                        <a:spcAft>
                          <a:spcPts val="0"/>
                        </a:spcAft>
                      </a:pPr>
                      <a:r>
                        <a:rPr lang="en-GB" sz="1400" b="1" kern="1200" spc="-25" dirty="0">
                          <a:solidFill>
                            <a:schemeClr val="lt1"/>
                          </a:solidFill>
                          <a:effectLst/>
                          <a:latin typeface="+mn-lt"/>
                          <a:ea typeface="+mn-ea"/>
                          <a:cs typeface="+mn-cs"/>
                        </a:rPr>
                        <a:t>Baseline ( 1 Year)</a:t>
                      </a:r>
                      <a:endParaRPr lang="en-ZA" sz="1400" b="1" kern="1200" spc="-25" dirty="0">
                        <a:solidFill>
                          <a:schemeClr val="lt1"/>
                        </a:solidFill>
                        <a:effectLst/>
                        <a:latin typeface="+mn-lt"/>
                        <a:ea typeface="+mn-ea"/>
                        <a:cs typeface="+mn-cs"/>
                      </a:endParaRPr>
                    </a:p>
                  </a:txBody>
                  <a:tcPr marL="43257" marR="43257" marT="0" marB="0"/>
                </a:tc>
                <a:tc>
                  <a:txBody>
                    <a:bodyPr/>
                    <a:lstStyle/>
                    <a:p>
                      <a:pPr marL="0" algn="ctr" defTabSz="914400" rtl="0" eaLnBrk="1" fontAlgn="auto" latinLnBrk="0" hangingPunct="1">
                        <a:lnSpc>
                          <a:spcPct val="115000"/>
                        </a:lnSpc>
                        <a:spcAft>
                          <a:spcPts val="0"/>
                        </a:spcAft>
                      </a:pPr>
                      <a:r>
                        <a:rPr lang="en-GB" sz="1400" b="1" kern="1200" spc="-25" dirty="0">
                          <a:solidFill>
                            <a:schemeClr val="lt1"/>
                          </a:solidFill>
                          <a:effectLst/>
                          <a:latin typeface="+mn-lt"/>
                          <a:ea typeface="+mn-ea"/>
                          <a:cs typeface="+mn-cs"/>
                        </a:rPr>
                        <a:t>5 Year Target</a:t>
                      </a:r>
                      <a:endParaRPr lang="en-ZA" sz="1400" b="1" kern="1200" spc="-25" dirty="0">
                        <a:solidFill>
                          <a:schemeClr val="lt1"/>
                        </a:solidFill>
                        <a:effectLst/>
                        <a:latin typeface="+mn-lt"/>
                        <a:ea typeface="+mn-ea"/>
                        <a:cs typeface="+mn-cs"/>
                      </a:endParaRPr>
                    </a:p>
                  </a:txBody>
                  <a:tcPr marL="43257" marR="43257" marT="0" marB="0"/>
                </a:tc>
                <a:extLst>
                  <a:ext uri="{0D108BD9-81ED-4DB2-BD59-A6C34878D82A}">
                    <a16:rowId xmlns:a16="http://schemas.microsoft.com/office/drawing/2014/main" val="10000"/>
                  </a:ext>
                </a:extLst>
              </a:tr>
              <a:tr h="863704">
                <a:tc>
                  <a:txBody>
                    <a:bodyPr/>
                    <a:lstStyle/>
                    <a:p>
                      <a:pPr marL="342900" lvl="0" indent="-342900" algn="just" fontAlgn="auto">
                        <a:spcAft>
                          <a:spcPts val="0"/>
                        </a:spcAft>
                        <a:buFont typeface="+mj-lt"/>
                        <a:buAutoNum type="arabicPeriod"/>
                      </a:pPr>
                      <a:r>
                        <a:rPr lang="en-GB" sz="1400" dirty="0">
                          <a:effectLst/>
                        </a:rPr>
                        <a:t>Functional, Efficient and    </a:t>
                      </a:r>
                      <a:endParaRPr lang="en-ZA" sz="1400" dirty="0">
                        <a:effectLst/>
                      </a:endParaRPr>
                    </a:p>
                    <a:p>
                      <a:pPr marL="36195" algn="just" fontAlgn="auto">
                        <a:spcAft>
                          <a:spcPts val="0"/>
                        </a:spcAft>
                      </a:pPr>
                      <a:r>
                        <a:rPr lang="en-GB" sz="1400" dirty="0">
                          <a:effectLst/>
                        </a:rPr>
                        <a:t>       Integrated Governance</a:t>
                      </a:r>
                      <a:endParaRPr lang="en-ZA" sz="1400" dirty="0">
                        <a:effectLst/>
                        <a:latin typeface="Calibri" panose="020F0502020204030204" pitchFamily="34" charset="0"/>
                        <a:ea typeface="MS Mincho"/>
                        <a:cs typeface="Arial" panose="020B0604020202020204" pitchFamily="34" charset="0"/>
                      </a:endParaRPr>
                    </a:p>
                  </a:txBody>
                  <a:tcPr marL="43257" marR="43257" marT="0" marB="0"/>
                </a:tc>
                <a:tc>
                  <a:txBody>
                    <a:bodyPr/>
                    <a:lstStyle/>
                    <a:p>
                      <a:pPr algn="l" fontAlgn="auto">
                        <a:lnSpc>
                          <a:spcPct val="115000"/>
                        </a:lnSpc>
                        <a:spcAft>
                          <a:spcPts val="0"/>
                        </a:spcAft>
                      </a:pPr>
                      <a:r>
                        <a:rPr lang="en-GB" sz="1200" dirty="0">
                          <a:effectLst/>
                        </a:rPr>
                        <a:t>Unqualified audit opinion with no matters of emphasis (including audit of the performance report)</a:t>
                      </a:r>
                      <a:endParaRPr lang="en-ZA" sz="1200" dirty="0">
                        <a:effectLst/>
                      </a:endParaRPr>
                    </a:p>
                    <a:p>
                      <a:pPr algn="l" fontAlgn="auto">
                        <a:lnSpc>
                          <a:spcPct val="115000"/>
                        </a:lnSpc>
                        <a:spcAft>
                          <a:spcPts val="0"/>
                        </a:spcAft>
                      </a:pPr>
                      <a:r>
                        <a:rPr lang="en-GB" sz="1200" dirty="0">
                          <a:effectLst/>
                        </a:rPr>
                        <a:t> </a:t>
                      </a:r>
                      <a:endParaRPr lang="en-ZA" sz="1200" dirty="0">
                        <a:effectLst/>
                      </a:endParaRPr>
                    </a:p>
                    <a:p>
                      <a:pPr algn="l" fontAlgn="auto">
                        <a:lnSpc>
                          <a:spcPct val="115000"/>
                        </a:lnSpc>
                        <a:spcAft>
                          <a:spcPts val="0"/>
                        </a:spcAft>
                      </a:pPr>
                      <a:r>
                        <a:rPr lang="en-GB" sz="1200" dirty="0">
                          <a:effectLst/>
                        </a:rPr>
                        <a:t> </a:t>
                      </a:r>
                      <a:endParaRPr lang="en-ZA" sz="1200" dirty="0">
                        <a:effectLst/>
                        <a:latin typeface="Calibri" panose="020F0502020204030204" pitchFamily="34" charset="0"/>
                        <a:ea typeface="MS Mincho"/>
                        <a:cs typeface="Times New Roman" panose="02020603050405020304" pitchFamily="18" charset="0"/>
                      </a:endParaRPr>
                    </a:p>
                  </a:txBody>
                  <a:tcPr marL="43257" marR="43257" marT="0" marB="0"/>
                </a:tc>
                <a:tc>
                  <a:txBody>
                    <a:bodyPr/>
                    <a:lstStyle/>
                    <a:p>
                      <a:pPr algn="ctr" fontAlgn="auto">
                        <a:lnSpc>
                          <a:spcPct val="107000"/>
                        </a:lnSpc>
                        <a:spcAft>
                          <a:spcPts val="800"/>
                        </a:spcAft>
                      </a:pPr>
                      <a:r>
                        <a:rPr lang="en-GB" sz="1400" dirty="0">
                          <a:effectLst/>
                        </a:rPr>
                        <a:t>Unqualified audit opinion with matters of emphasis on predetermined objectives</a:t>
                      </a:r>
                      <a:endParaRPr lang="en-ZA" sz="1400" dirty="0">
                        <a:effectLst/>
                        <a:latin typeface="Calibri" panose="020F0502020204030204" pitchFamily="34" charset="0"/>
                        <a:ea typeface="MS Mincho"/>
                        <a:cs typeface="Times New Roman" panose="02020603050405020304" pitchFamily="18" charset="0"/>
                      </a:endParaRPr>
                    </a:p>
                  </a:txBody>
                  <a:tcPr marL="43257" marR="43257" marT="0" marB="0"/>
                </a:tc>
                <a:tc>
                  <a:txBody>
                    <a:bodyPr/>
                    <a:lstStyle/>
                    <a:p>
                      <a:pPr algn="ctr" fontAlgn="auto">
                        <a:lnSpc>
                          <a:spcPct val="107000"/>
                        </a:lnSpc>
                        <a:spcAft>
                          <a:spcPts val="800"/>
                        </a:spcAft>
                      </a:pPr>
                      <a:r>
                        <a:rPr lang="en-GB" sz="1400" dirty="0">
                          <a:effectLst/>
                        </a:rPr>
                        <a:t>Unqualified audit opinion with no matters of emphasis</a:t>
                      </a:r>
                      <a:endParaRPr lang="en-ZA" sz="1400" dirty="0">
                        <a:effectLst/>
                      </a:endParaRPr>
                    </a:p>
                    <a:p>
                      <a:pPr algn="ctr" fontAlgn="auto">
                        <a:lnSpc>
                          <a:spcPct val="107000"/>
                        </a:lnSpc>
                        <a:spcAft>
                          <a:spcPts val="800"/>
                        </a:spcAft>
                      </a:pPr>
                      <a:r>
                        <a:rPr lang="en-GB" sz="1200" dirty="0">
                          <a:effectLst/>
                        </a:rPr>
                        <a:t> </a:t>
                      </a:r>
                      <a:endParaRPr lang="en-ZA" sz="1400" dirty="0">
                        <a:effectLst/>
                        <a:latin typeface="Calibri" panose="020F0502020204030204" pitchFamily="34" charset="0"/>
                        <a:ea typeface="MS Mincho"/>
                        <a:cs typeface="Times New Roman" panose="02020603050405020304" pitchFamily="18" charset="0"/>
                      </a:endParaRPr>
                    </a:p>
                  </a:txBody>
                  <a:tcPr marL="43257" marR="43257" marT="0" marB="0"/>
                </a:tc>
                <a:extLst>
                  <a:ext uri="{0D108BD9-81ED-4DB2-BD59-A6C34878D82A}">
                    <a16:rowId xmlns:a16="http://schemas.microsoft.com/office/drawing/2014/main" val="10001"/>
                  </a:ext>
                </a:extLst>
              </a:tr>
              <a:tr h="194585">
                <a:tc rowSpan="9">
                  <a:txBody>
                    <a:bodyPr/>
                    <a:lstStyle/>
                    <a:p>
                      <a:pPr marL="0" lvl="0" indent="0" algn="l" defTabSz="914400" rtl="0" eaLnBrk="1" fontAlgn="auto" latinLnBrk="0" hangingPunct="1">
                        <a:spcAft>
                          <a:spcPts val="0"/>
                        </a:spcAft>
                        <a:buFont typeface="+mj-lt"/>
                        <a:buNone/>
                      </a:pPr>
                      <a:r>
                        <a:rPr lang="en-US" sz="1400" b="1" kern="1200" dirty="0">
                          <a:solidFill>
                            <a:schemeClr val="lt1"/>
                          </a:solidFill>
                          <a:effectLst/>
                          <a:latin typeface="+mn-lt"/>
                          <a:ea typeface="+mn-ea"/>
                          <a:cs typeface="+mn-cs"/>
                        </a:rPr>
                        <a:t>2. Improved delivery of affordable        housing</a:t>
                      </a:r>
                      <a:endParaRPr lang="en-ZA" sz="1400" b="1" kern="1200" dirty="0">
                        <a:solidFill>
                          <a:schemeClr val="lt1"/>
                        </a:solidFill>
                        <a:effectLst/>
                        <a:latin typeface="+mn-lt"/>
                        <a:ea typeface="+mn-ea"/>
                        <a:cs typeface="+mn-cs"/>
                      </a:endParaRPr>
                    </a:p>
                  </a:txBody>
                  <a:tcPr marL="43257" marR="43257" marT="0" marB="0"/>
                </a:tc>
                <a:tc gridSpan="3">
                  <a:txBody>
                    <a:bodyPr/>
                    <a:lstStyle/>
                    <a:p>
                      <a:pPr algn="l" fontAlgn="auto">
                        <a:lnSpc>
                          <a:spcPct val="115000"/>
                        </a:lnSpc>
                        <a:spcAft>
                          <a:spcPts val="0"/>
                        </a:spcAft>
                      </a:pPr>
                      <a:r>
                        <a:rPr lang="en-GB" sz="1200" b="1" dirty="0">
                          <a:effectLst/>
                        </a:rPr>
                        <a:t>Number of Housing Opportunities facilitated through the disbursements (No.): </a:t>
                      </a:r>
                      <a:endParaRPr lang="en-ZA" sz="1200" b="1" dirty="0">
                        <a:effectLst/>
                        <a:latin typeface="Calibri" panose="020F0502020204030204" pitchFamily="34" charset="0"/>
                        <a:ea typeface="MS Mincho"/>
                        <a:cs typeface="Times New Roman" panose="02020603050405020304" pitchFamily="18" charset="0"/>
                      </a:endParaRPr>
                    </a:p>
                  </a:txBody>
                  <a:tcPr marL="43257" marR="43257" marT="0" marB="0"/>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2"/>
                  </a:ext>
                </a:extLst>
              </a:tr>
              <a:tr h="214024">
                <a:tc vMerge="1">
                  <a:txBody>
                    <a:bodyPr/>
                    <a:lstStyle/>
                    <a:p>
                      <a:endParaRPr lang="en-ZA"/>
                    </a:p>
                  </a:txBody>
                  <a:tcPr/>
                </a:tc>
                <a:tc>
                  <a:txBody>
                    <a:bodyPr/>
                    <a:lstStyle/>
                    <a:p>
                      <a:pPr algn="l" fontAlgn="auto">
                        <a:lnSpc>
                          <a:spcPct val="115000"/>
                        </a:lnSpc>
                        <a:spcAft>
                          <a:spcPts val="0"/>
                        </a:spcAft>
                      </a:pPr>
                      <a:r>
                        <a:rPr lang="en-GB" sz="1200" spc="-25">
                          <a:effectLst/>
                        </a:rPr>
                        <a:t>Social Housing Units (No.)</a:t>
                      </a:r>
                      <a:endParaRPr lang="en-ZA" sz="1200">
                        <a:effectLst/>
                        <a:latin typeface="Calibri" panose="020F0502020204030204" pitchFamily="34" charset="0"/>
                        <a:ea typeface="MS Mincho"/>
                        <a:cs typeface="Times New Roman" panose="02020603050405020304" pitchFamily="18" charset="0"/>
                      </a:endParaRPr>
                    </a:p>
                  </a:txBody>
                  <a:tcPr marL="43257" marR="43257" marT="0" marB="0" anchor="ctr"/>
                </a:tc>
                <a:tc>
                  <a:txBody>
                    <a:bodyPr/>
                    <a:lstStyle/>
                    <a:p>
                      <a:pPr algn="r" fontAlgn="auto">
                        <a:lnSpc>
                          <a:spcPct val="115000"/>
                        </a:lnSpc>
                        <a:spcAft>
                          <a:spcPts val="1000"/>
                        </a:spcAft>
                      </a:pPr>
                      <a:r>
                        <a:rPr lang="en-GB" sz="1100" dirty="0">
                          <a:effectLst/>
                        </a:rPr>
                        <a:t>775</a:t>
                      </a:r>
                      <a:endParaRPr lang="en-ZA" sz="1100" dirty="0">
                        <a:effectLst/>
                        <a:latin typeface="Calibri" panose="020F0502020204030204" pitchFamily="34" charset="0"/>
                        <a:ea typeface="MS Mincho" panose="02020609040205080304" pitchFamily="49" charset="-128"/>
                        <a:cs typeface="Times New Roman" panose="02020603050405020304" pitchFamily="18" charset="0"/>
                      </a:endParaRPr>
                    </a:p>
                  </a:txBody>
                  <a:tcPr marL="35938" marR="35938" marT="0" marB="0" anchor="ctr"/>
                </a:tc>
                <a:tc>
                  <a:txBody>
                    <a:bodyPr/>
                    <a:lstStyle/>
                    <a:p>
                      <a:pPr algn="r" fontAlgn="auto">
                        <a:lnSpc>
                          <a:spcPct val="115000"/>
                        </a:lnSpc>
                        <a:spcAft>
                          <a:spcPts val="1000"/>
                        </a:spcAft>
                      </a:pPr>
                      <a:r>
                        <a:rPr lang="en-GB" sz="1100" spc="-25" dirty="0">
                          <a:effectLst/>
                        </a:rPr>
                        <a:t>4 529</a:t>
                      </a:r>
                      <a:endParaRPr lang="en-ZA" sz="1100" dirty="0">
                        <a:effectLst/>
                        <a:latin typeface="Calibri" panose="020F0502020204030204" pitchFamily="34" charset="0"/>
                        <a:ea typeface="MS Mincho" panose="02020609040205080304" pitchFamily="49" charset="-128"/>
                        <a:cs typeface="Times New Roman" panose="02020603050405020304" pitchFamily="18" charset="0"/>
                      </a:endParaRPr>
                    </a:p>
                  </a:txBody>
                  <a:tcPr marL="35938" marR="35938" marT="0" marB="0" anchor="ctr"/>
                </a:tc>
                <a:extLst>
                  <a:ext uri="{0D108BD9-81ED-4DB2-BD59-A6C34878D82A}">
                    <a16:rowId xmlns:a16="http://schemas.microsoft.com/office/drawing/2014/main" val="10003"/>
                  </a:ext>
                </a:extLst>
              </a:tr>
              <a:tr h="214024">
                <a:tc vMerge="1">
                  <a:txBody>
                    <a:bodyPr/>
                    <a:lstStyle/>
                    <a:p>
                      <a:endParaRPr lang="en-ZA"/>
                    </a:p>
                  </a:txBody>
                  <a:tcPr/>
                </a:tc>
                <a:tc>
                  <a:txBody>
                    <a:bodyPr/>
                    <a:lstStyle/>
                    <a:p>
                      <a:pPr algn="l" fontAlgn="auto">
                        <a:lnSpc>
                          <a:spcPct val="115000"/>
                        </a:lnSpc>
                        <a:spcAft>
                          <a:spcPts val="0"/>
                        </a:spcAft>
                      </a:pPr>
                      <a:endParaRPr lang="en-ZA" sz="1200">
                        <a:effectLst/>
                        <a:latin typeface="Calibri" panose="020F0502020204030204" pitchFamily="34" charset="0"/>
                        <a:ea typeface="MS Mincho"/>
                        <a:cs typeface="Times New Roman" panose="02020603050405020304" pitchFamily="18" charset="0"/>
                      </a:endParaRPr>
                    </a:p>
                  </a:txBody>
                  <a:tcPr marL="43257" marR="43257" marT="0" marB="0" anchor="ctr"/>
                </a:tc>
                <a:tc>
                  <a:txBody>
                    <a:bodyPr/>
                    <a:lstStyle/>
                    <a:p>
                      <a:pPr algn="r" fontAlgn="auto">
                        <a:lnSpc>
                          <a:spcPct val="115000"/>
                        </a:lnSpc>
                        <a:spcAft>
                          <a:spcPts val="1000"/>
                        </a:spcAft>
                      </a:pPr>
                      <a:r>
                        <a:rPr lang="en-GB" sz="1100">
                          <a:effectLst/>
                        </a:rPr>
                        <a:t>352</a:t>
                      </a:r>
                      <a:endParaRPr lang="en-ZA" sz="1100">
                        <a:effectLst/>
                        <a:latin typeface="Calibri" panose="020F0502020204030204" pitchFamily="34" charset="0"/>
                        <a:ea typeface="MS Mincho" panose="02020609040205080304" pitchFamily="49" charset="-128"/>
                        <a:cs typeface="Times New Roman" panose="02020603050405020304" pitchFamily="18" charset="0"/>
                      </a:endParaRPr>
                    </a:p>
                  </a:txBody>
                  <a:tcPr marL="35938" marR="35938" marT="0" marB="0" anchor="ctr"/>
                </a:tc>
                <a:tc>
                  <a:txBody>
                    <a:bodyPr/>
                    <a:lstStyle/>
                    <a:p>
                      <a:pPr algn="r" fontAlgn="auto">
                        <a:lnSpc>
                          <a:spcPct val="115000"/>
                        </a:lnSpc>
                        <a:spcAft>
                          <a:spcPts val="1000"/>
                        </a:spcAft>
                      </a:pPr>
                      <a:r>
                        <a:rPr lang="en-GB" sz="1100" spc="-25" dirty="0">
                          <a:effectLst/>
                        </a:rPr>
                        <a:t>2 536</a:t>
                      </a:r>
                      <a:endParaRPr lang="en-ZA" sz="1100" dirty="0">
                        <a:effectLst/>
                        <a:latin typeface="Calibri" panose="020F0502020204030204" pitchFamily="34" charset="0"/>
                        <a:ea typeface="MS Mincho" panose="02020609040205080304" pitchFamily="49" charset="-128"/>
                        <a:cs typeface="Times New Roman" panose="02020603050405020304" pitchFamily="18" charset="0"/>
                      </a:endParaRPr>
                    </a:p>
                  </a:txBody>
                  <a:tcPr marL="35938" marR="35938" marT="0" marB="0" anchor="ctr"/>
                </a:tc>
                <a:extLst>
                  <a:ext uri="{0D108BD9-81ED-4DB2-BD59-A6C34878D82A}">
                    <a16:rowId xmlns:a16="http://schemas.microsoft.com/office/drawing/2014/main" val="1824424756"/>
                  </a:ext>
                </a:extLst>
              </a:tr>
              <a:tr h="202866">
                <a:tc vMerge="1">
                  <a:txBody>
                    <a:bodyPr/>
                    <a:lstStyle/>
                    <a:p>
                      <a:endParaRPr lang="en-ZA"/>
                    </a:p>
                  </a:txBody>
                  <a:tcPr/>
                </a:tc>
                <a:tc>
                  <a:txBody>
                    <a:bodyPr/>
                    <a:lstStyle/>
                    <a:p>
                      <a:pPr algn="l" fontAlgn="auto">
                        <a:lnSpc>
                          <a:spcPct val="115000"/>
                        </a:lnSpc>
                        <a:spcAft>
                          <a:spcPts val="0"/>
                        </a:spcAft>
                      </a:pPr>
                      <a:r>
                        <a:rPr lang="en-GB" sz="1200" spc="-25" dirty="0">
                          <a:effectLst/>
                        </a:rPr>
                        <a:t>Private Rental Units (No.)</a:t>
                      </a:r>
                      <a:endParaRPr lang="en-ZA" sz="1200" dirty="0">
                        <a:effectLst/>
                        <a:latin typeface="Calibri" panose="020F0502020204030204" pitchFamily="34" charset="0"/>
                        <a:ea typeface="MS Mincho"/>
                        <a:cs typeface="Times New Roman" panose="02020603050405020304" pitchFamily="18" charset="0"/>
                      </a:endParaRPr>
                    </a:p>
                  </a:txBody>
                  <a:tcPr marL="43257" marR="43257" marT="0" marB="0" anchor="ctr"/>
                </a:tc>
                <a:tc>
                  <a:txBody>
                    <a:bodyPr/>
                    <a:lstStyle/>
                    <a:p>
                      <a:pPr algn="r" fontAlgn="auto">
                        <a:lnSpc>
                          <a:spcPct val="115000"/>
                        </a:lnSpc>
                        <a:spcAft>
                          <a:spcPts val="1000"/>
                        </a:spcAft>
                      </a:pPr>
                      <a:r>
                        <a:rPr lang="en-GB" sz="1100">
                          <a:effectLst/>
                        </a:rPr>
                        <a:t>202</a:t>
                      </a:r>
                      <a:endParaRPr lang="en-ZA" sz="1100">
                        <a:effectLst/>
                        <a:latin typeface="Calibri" panose="020F0502020204030204" pitchFamily="34" charset="0"/>
                        <a:ea typeface="MS Mincho" panose="02020609040205080304" pitchFamily="49" charset="-128"/>
                        <a:cs typeface="Times New Roman" panose="02020603050405020304" pitchFamily="18" charset="0"/>
                      </a:endParaRPr>
                    </a:p>
                  </a:txBody>
                  <a:tcPr marL="35938" marR="35938" marT="0" marB="0" anchor="ctr"/>
                </a:tc>
                <a:tc>
                  <a:txBody>
                    <a:bodyPr/>
                    <a:lstStyle/>
                    <a:p>
                      <a:pPr algn="r" fontAlgn="auto">
                        <a:lnSpc>
                          <a:spcPct val="115000"/>
                        </a:lnSpc>
                        <a:spcAft>
                          <a:spcPts val="1000"/>
                        </a:spcAft>
                      </a:pPr>
                      <a:r>
                        <a:rPr lang="en-GB" sz="1100" spc="-25" dirty="0">
                          <a:effectLst/>
                        </a:rPr>
                        <a:t>6 235</a:t>
                      </a:r>
                      <a:endParaRPr lang="en-ZA" sz="1100" dirty="0">
                        <a:effectLst/>
                        <a:latin typeface="Calibri" panose="020F0502020204030204" pitchFamily="34" charset="0"/>
                        <a:ea typeface="MS Mincho" panose="02020609040205080304" pitchFamily="49" charset="-128"/>
                        <a:cs typeface="Times New Roman" panose="02020603050405020304" pitchFamily="18" charset="0"/>
                      </a:endParaRPr>
                    </a:p>
                  </a:txBody>
                  <a:tcPr marL="35938" marR="35938" marT="0" marB="0" anchor="ctr"/>
                </a:tc>
                <a:extLst>
                  <a:ext uri="{0D108BD9-81ED-4DB2-BD59-A6C34878D82A}">
                    <a16:rowId xmlns:a16="http://schemas.microsoft.com/office/drawing/2014/main" val="10004"/>
                  </a:ext>
                </a:extLst>
              </a:tr>
              <a:tr h="233297">
                <a:tc vMerge="1">
                  <a:txBody>
                    <a:bodyPr/>
                    <a:lstStyle/>
                    <a:p>
                      <a:endParaRPr lang="en-ZA"/>
                    </a:p>
                  </a:txBody>
                  <a:tcPr/>
                </a:tc>
                <a:tc>
                  <a:txBody>
                    <a:bodyPr/>
                    <a:lstStyle/>
                    <a:p>
                      <a:pPr algn="l" fontAlgn="auto">
                        <a:lnSpc>
                          <a:spcPct val="115000"/>
                        </a:lnSpc>
                        <a:spcAft>
                          <a:spcPts val="0"/>
                        </a:spcAft>
                      </a:pPr>
                      <a:r>
                        <a:rPr lang="en-GB" sz="1200" spc="-25">
                          <a:effectLst/>
                        </a:rPr>
                        <a:t>Bridging Affordable – Units (No.)</a:t>
                      </a:r>
                      <a:endParaRPr lang="en-ZA" sz="1200">
                        <a:effectLst/>
                        <a:latin typeface="Calibri" panose="020F0502020204030204" pitchFamily="34" charset="0"/>
                        <a:ea typeface="MS Mincho"/>
                        <a:cs typeface="Times New Roman" panose="02020603050405020304" pitchFamily="18" charset="0"/>
                      </a:endParaRPr>
                    </a:p>
                  </a:txBody>
                  <a:tcPr marL="43257" marR="43257" marT="0" marB="0" anchor="ctr"/>
                </a:tc>
                <a:tc>
                  <a:txBody>
                    <a:bodyPr/>
                    <a:lstStyle/>
                    <a:p>
                      <a:pPr algn="r" fontAlgn="auto">
                        <a:lnSpc>
                          <a:spcPct val="115000"/>
                        </a:lnSpc>
                        <a:spcAft>
                          <a:spcPts val="1000"/>
                        </a:spcAft>
                      </a:pPr>
                      <a:r>
                        <a:rPr lang="en-GB" sz="1100">
                          <a:effectLst/>
                        </a:rPr>
                        <a:t>432</a:t>
                      </a:r>
                      <a:endParaRPr lang="en-ZA" sz="1100">
                        <a:effectLst/>
                        <a:latin typeface="Calibri" panose="020F0502020204030204" pitchFamily="34" charset="0"/>
                        <a:ea typeface="MS Mincho" panose="02020609040205080304" pitchFamily="49" charset="-128"/>
                        <a:cs typeface="Times New Roman" panose="02020603050405020304" pitchFamily="18" charset="0"/>
                      </a:endParaRPr>
                    </a:p>
                  </a:txBody>
                  <a:tcPr marL="35938" marR="35938" marT="0" marB="0" anchor="ctr"/>
                </a:tc>
                <a:tc>
                  <a:txBody>
                    <a:bodyPr/>
                    <a:lstStyle/>
                    <a:p>
                      <a:pPr algn="r" fontAlgn="auto">
                        <a:lnSpc>
                          <a:spcPct val="115000"/>
                        </a:lnSpc>
                        <a:spcAft>
                          <a:spcPts val="1000"/>
                        </a:spcAft>
                      </a:pPr>
                      <a:r>
                        <a:rPr lang="en-GB" sz="1100" spc="-25" dirty="0">
                          <a:effectLst/>
                        </a:rPr>
                        <a:t>3 300</a:t>
                      </a:r>
                      <a:endParaRPr lang="en-ZA" sz="1100" dirty="0">
                        <a:effectLst/>
                        <a:latin typeface="Calibri" panose="020F0502020204030204" pitchFamily="34" charset="0"/>
                        <a:ea typeface="MS Mincho" panose="02020609040205080304" pitchFamily="49" charset="-128"/>
                        <a:cs typeface="Times New Roman" panose="02020603050405020304" pitchFamily="18" charset="0"/>
                      </a:endParaRPr>
                    </a:p>
                  </a:txBody>
                  <a:tcPr marL="35938" marR="35938" marT="0" marB="0" anchor="ctr"/>
                </a:tc>
                <a:extLst>
                  <a:ext uri="{0D108BD9-81ED-4DB2-BD59-A6C34878D82A}">
                    <a16:rowId xmlns:a16="http://schemas.microsoft.com/office/drawing/2014/main" val="10005"/>
                  </a:ext>
                </a:extLst>
              </a:tr>
              <a:tr h="279956">
                <a:tc vMerge="1">
                  <a:txBody>
                    <a:bodyPr/>
                    <a:lstStyle/>
                    <a:p>
                      <a:endParaRPr lang="en-ZA"/>
                    </a:p>
                  </a:txBody>
                  <a:tcPr/>
                </a:tc>
                <a:tc>
                  <a:txBody>
                    <a:bodyPr/>
                    <a:lstStyle/>
                    <a:p>
                      <a:pPr algn="l" fontAlgn="auto">
                        <a:lnSpc>
                          <a:spcPct val="115000"/>
                        </a:lnSpc>
                        <a:spcAft>
                          <a:spcPts val="0"/>
                        </a:spcAft>
                      </a:pPr>
                      <a:r>
                        <a:rPr lang="en-GB" sz="1200" spc="-25">
                          <a:effectLst/>
                        </a:rPr>
                        <a:t>Bridging Affordable – Serviced Stands (No.)</a:t>
                      </a:r>
                      <a:endParaRPr lang="en-ZA" sz="1200">
                        <a:effectLst/>
                        <a:latin typeface="Calibri" panose="020F0502020204030204" pitchFamily="34" charset="0"/>
                        <a:ea typeface="MS Mincho"/>
                        <a:cs typeface="Times New Roman" panose="02020603050405020304" pitchFamily="18" charset="0"/>
                      </a:endParaRPr>
                    </a:p>
                  </a:txBody>
                  <a:tcPr marL="43257" marR="43257" marT="0" marB="0" anchor="ctr"/>
                </a:tc>
                <a:tc>
                  <a:txBody>
                    <a:bodyPr/>
                    <a:lstStyle/>
                    <a:p>
                      <a:pPr algn="r" fontAlgn="auto">
                        <a:lnSpc>
                          <a:spcPct val="115000"/>
                        </a:lnSpc>
                        <a:spcAft>
                          <a:spcPts val="1000"/>
                        </a:spcAft>
                      </a:pPr>
                      <a:r>
                        <a:rPr lang="en-GB" sz="1100" dirty="0">
                          <a:effectLst/>
                        </a:rPr>
                        <a:t> New indicator</a:t>
                      </a:r>
                      <a:endParaRPr lang="en-ZA" sz="1100" dirty="0">
                        <a:effectLst/>
                        <a:latin typeface="Calibri" panose="020F0502020204030204" pitchFamily="34" charset="0"/>
                        <a:ea typeface="MS Mincho" panose="02020609040205080304" pitchFamily="49" charset="-128"/>
                        <a:cs typeface="Times New Roman" panose="02020603050405020304" pitchFamily="18" charset="0"/>
                      </a:endParaRPr>
                    </a:p>
                  </a:txBody>
                  <a:tcPr marL="35938" marR="35938" marT="0" marB="0" anchor="ctr"/>
                </a:tc>
                <a:tc>
                  <a:txBody>
                    <a:bodyPr/>
                    <a:lstStyle/>
                    <a:p>
                      <a:pPr algn="r" fontAlgn="auto">
                        <a:lnSpc>
                          <a:spcPct val="115000"/>
                        </a:lnSpc>
                        <a:spcAft>
                          <a:spcPts val="1000"/>
                        </a:spcAft>
                      </a:pPr>
                      <a:r>
                        <a:rPr lang="en-GB" sz="1100" spc="-25" dirty="0">
                          <a:effectLst/>
                        </a:rPr>
                        <a:t>3 275</a:t>
                      </a:r>
                      <a:endParaRPr lang="en-ZA" sz="1100" dirty="0">
                        <a:effectLst/>
                        <a:latin typeface="Calibri" panose="020F0502020204030204" pitchFamily="34" charset="0"/>
                        <a:ea typeface="MS Mincho" panose="02020609040205080304" pitchFamily="49" charset="-128"/>
                        <a:cs typeface="Times New Roman" panose="02020603050405020304" pitchFamily="18" charset="0"/>
                      </a:endParaRPr>
                    </a:p>
                  </a:txBody>
                  <a:tcPr marL="35938" marR="35938" marT="0" marB="0" anchor="ctr"/>
                </a:tc>
                <a:extLst>
                  <a:ext uri="{0D108BD9-81ED-4DB2-BD59-A6C34878D82A}">
                    <a16:rowId xmlns:a16="http://schemas.microsoft.com/office/drawing/2014/main" val="10006"/>
                  </a:ext>
                </a:extLst>
              </a:tr>
              <a:tr h="215040">
                <a:tc vMerge="1">
                  <a:txBody>
                    <a:bodyPr/>
                    <a:lstStyle/>
                    <a:p>
                      <a:endParaRPr lang="en-ZA"/>
                    </a:p>
                  </a:txBody>
                  <a:tcPr/>
                </a:tc>
                <a:tc>
                  <a:txBody>
                    <a:bodyPr/>
                    <a:lstStyle/>
                    <a:p>
                      <a:pPr algn="l" fontAlgn="auto">
                        <a:lnSpc>
                          <a:spcPct val="115000"/>
                        </a:lnSpc>
                        <a:spcAft>
                          <a:spcPts val="0"/>
                        </a:spcAft>
                      </a:pPr>
                      <a:r>
                        <a:rPr lang="en-GB" sz="1200" spc="-25">
                          <a:effectLst/>
                        </a:rPr>
                        <a:t>Bridging Subsidy – Units (No.)</a:t>
                      </a:r>
                      <a:endParaRPr lang="en-ZA" sz="1200">
                        <a:effectLst/>
                        <a:latin typeface="Calibri" panose="020F0502020204030204" pitchFamily="34" charset="0"/>
                        <a:ea typeface="MS Mincho"/>
                        <a:cs typeface="Times New Roman" panose="02020603050405020304" pitchFamily="18" charset="0"/>
                      </a:endParaRPr>
                    </a:p>
                  </a:txBody>
                  <a:tcPr marL="43257" marR="43257" marT="0" marB="0" anchor="ctr"/>
                </a:tc>
                <a:tc>
                  <a:txBody>
                    <a:bodyPr/>
                    <a:lstStyle/>
                    <a:p>
                      <a:pPr algn="r" fontAlgn="auto">
                        <a:lnSpc>
                          <a:spcPct val="115000"/>
                        </a:lnSpc>
                        <a:spcAft>
                          <a:spcPts val="1000"/>
                        </a:spcAft>
                      </a:pPr>
                      <a:r>
                        <a:rPr lang="en-GB" sz="1100" dirty="0">
                          <a:effectLst/>
                        </a:rPr>
                        <a:t>1 368</a:t>
                      </a:r>
                      <a:endParaRPr lang="en-ZA" sz="1100" dirty="0">
                        <a:effectLst/>
                        <a:latin typeface="Calibri" panose="020F0502020204030204" pitchFamily="34" charset="0"/>
                        <a:ea typeface="MS Mincho" panose="02020609040205080304" pitchFamily="49" charset="-128"/>
                        <a:cs typeface="Times New Roman" panose="02020603050405020304" pitchFamily="18" charset="0"/>
                      </a:endParaRPr>
                    </a:p>
                  </a:txBody>
                  <a:tcPr marL="35938" marR="35938" marT="0" marB="0" anchor="ctr"/>
                </a:tc>
                <a:tc>
                  <a:txBody>
                    <a:bodyPr/>
                    <a:lstStyle/>
                    <a:p>
                      <a:pPr algn="r" fontAlgn="auto">
                        <a:lnSpc>
                          <a:spcPct val="115000"/>
                        </a:lnSpc>
                        <a:spcAft>
                          <a:spcPts val="1000"/>
                        </a:spcAft>
                      </a:pPr>
                      <a:r>
                        <a:rPr lang="en-GB" sz="1100" spc="-25" dirty="0">
                          <a:effectLst/>
                        </a:rPr>
                        <a:t>21 066</a:t>
                      </a:r>
                      <a:endParaRPr lang="en-ZA" sz="1100" dirty="0">
                        <a:effectLst/>
                        <a:latin typeface="Calibri" panose="020F0502020204030204" pitchFamily="34" charset="0"/>
                        <a:ea typeface="MS Mincho" panose="02020609040205080304" pitchFamily="49" charset="-128"/>
                        <a:cs typeface="Times New Roman" panose="02020603050405020304" pitchFamily="18" charset="0"/>
                      </a:endParaRPr>
                    </a:p>
                  </a:txBody>
                  <a:tcPr marL="35938" marR="35938" marT="0" marB="0" anchor="ctr"/>
                </a:tc>
                <a:extLst>
                  <a:ext uri="{0D108BD9-81ED-4DB2-BD59-A6C34878D82A}">
                    <a16:rowId xmlns:a16="http://schemas.microsoft.com/office/drawing/2014/main" val="10007"/>
                  </a:ext>
                </a:extLst>
              </a:tr>
              <a:tr h="204388">
                <a:tc vMerge="1">
                  <a:txBody>
                    <a:bodyPr/>
                    <a:lstStyle/>
                    <a:p>
                      <a:endParaRPr lang="en-ZA"/>
                    </a:p>
                  </a:txBody>
                  <a:tcPr/>
                </a:tc>
                <a:tc>
                  <a:txBody>
                    <a:bodyPr/>
                    <a:lstStyle/>
                    <a:p>
                      <a:pPr algn="l" fontAlgn="auto">
                        <a:lnSpc>
                          <a:spcPct val="115000"/>
                        </a:lnSpc>
                        <a:spcAft>
                          <a:spcPts val="0"/>
                        </a:spcAft>
                      </a:pPr>
                      <a:r>
                        <a:rPr lang="en-GB" sz="1200" spc="-25">
                          <a:effectLst/>
                        </a:rPr>
                        <a:t>Incremental Loans (No.)</a:t>
                      </a:r>
                      <a:endParaRPr lang="en-ZA" sz="1200">
                        <a:effectLst/>
                        <a:latin typeface="Calibri" panose="020F0502020204030204" pitchFamily="34" charset="0"/>
                        <a:ea typeface="MS Mincho"/>
                        <a:cs typeface="Times New Roman" panose="02020603050405020304" pitchFamily="18" charset="0"/>
                      </a:endParaRPr>
                    </a:p>
                  </a:txBody>
                  <a:tcPr marL="43257" marR="43257" marT="0" marB="0" anchor="ctr"/>
                </a:tc>
                <a:tc>
                  <a:txBody>
                    <a:bodyPr/>
                    <a:lstStyle/>
                    <a:p>
                      <a:pPr algn="r" fontAlgn="auto">
                        <a:lnSpc>
                          <a:spcPct val="115000"/>
                        </a:lnSpc>
                        <a:spcAft>
                          <a:spcPts val="1000"/>
                        </a:spcAft>
                      </a:pPr>
                      <a:r>
                        <a:rPr lang="en-GB" sz="1100" dirty="0">
                          <a:effectLst/>
                        </a:rPr>
                        <a:t>37 183</a:t>
                      </a:r>
                      <a:endParaRPr lang="en-ZA" sz="1100" dirty="0">
                        <a:effectLst/>
                        <a:latin typeface="Calibri" panose="020F0502020204030204" pitchFamily="34" charset="0"/>
                        <a:ea typeface="MS Mincho" panose="02020609040205080304" pitchFamily="49" charset="-128"/>
                        <a:cs typeface="Times New Roman" panose="02020603050405020304" pitchFamily="18" charset="0"/>
                      </a:endParaRPr>
                    </a:p>
                  </a:txBody>
                  <a:tcPr marL="35938" marR="35938" marT="0" marB="0" anchor="ctr"/>
                </a:tc>
                <a:tc>
                  <a:txBody>
                    <a:bodyPr/>
                    <a:lstStyle/>
                    <a:p>
                      <a:pPr algn="r" fontAlgn="auto">
                        <a:lnSpc>
                          <a:spcPct val="115000"/>
                        </a:lnSpc>
                        <a:spcAft>
                          <a:spcPts val="1000"/>
                        </a:spcAft>
                      </a:pPr>
                      <a:r>
                        <a:rPr lang="en-GB" sz="1100" spc="-25" dirty="0">
                          <a:effectLst/>
                        </a:rPr>
                        <a:t>144 325</a:t>
                      </a:r>
                      <a:endParaRPr lang="en-ZA" sz="1100" dirty="0">
                        <a:effectLst/>
                        <a:latin typeface="Calibri" panose="020F0502020204030204" pitchFamily="34" charset="0"/>
                        <a:ea typeface="MS Mincho" panose="02020609040205080304" pitchFamily="49" charset="-128"/>
                        <a:cs typeface="Times New Roman" panose="02020603050405020304" pitchFamily="18" charset="0"/>
                      </a:endParaRPr>
                    </a:p>
                  </a:txBody>
                  <a:tcPr marL="35938" marR="35938" marT="0" marB="0" anchor="ctr"/>
                </a:tc>
                <a:extLst>
                  <a:ext uri="{0D108BD9-81ED-4DB2-BD59-A6C34878D82A}">
                    <a16:rowId xmlns:a16="http://schemas.microsoft.com/office/drawing/2014/main" val="10008"/>
                  </a:ext>
                </a:extLst>
              </a:tr>
              <a:tr h="419934">
                <a:tc vMerge="1">
                  <a:txBody>
                    <a:bodyPr/>
                    <a:lstStyle/>
                    <a:p>
                      <a:endParaRPr lang="en-ZA"/>
                    </a:p>
                  </a:txBody>
                  <a:tcPr/>
                </a:tc>
                <a:tc>
                  <a:txBody>
                    <a:bodyPr/>
                    <a:lstStyle/>
                    <a:p>
                      <a:pPr algn="l" fontAlgn="auto">
                        <a:lnSpc>
                          <a:spcPct val="115000"/>
                        </a:lnSpc>
                        <a:spcAft>
                          <a:spcPts val="0"/>
                        </a:spcAft>
                      </a:pPr>
                      <a:r>
                        <a:rPr lang="en-GB" sz="1200" spc="-25">
                          <a:effectLst/>
                        </a:rPr>
                        <a:t>Number of housing units facilitated through FLISP Grant Disbursements</a:t>
                      </a:r>
                      <a:endParaRPr lang="en-ZA" sz="1200">
                        <a:effectLst/>
                      </a:endParaRPr>
                    </a:p>
                    <a:p>
                      <a:pPr algn="l" fontAlgn="auto">
                        <a:lnSpc>
                          <a:spcPct val="115000"/>
                        </a:lnSpc>
                        <a:spcAft>
                          <a:spcPts val="0"/>
                        </a:spcAft>
                      </a:pPr>
                      <a:r>
                        <a:rPr lang="en-GB" sz="1200" spc="-25">
                          <a:effectLst/>
                        </a:rPr>
                        <a:t> </a:t>
                      </a:r>
                      <a:endParaRPr lang="en-ZA" sz="1200">
                        <a:effectLst/>
                        <a:latin typeface="Calibri" panose="020F0502020204030204" pitchFamily="34" charset="0"/>
                        <a:ea typeface="MS Mincho"/>
                        <a:cs typeface="Times New Roman" panose="02020603050405020304" pitchFamily="18" charset="0"/>
                      </a:endParaRPr>
                    </a:p>
                  </a:txBody>
                  <a:tcPr marL="43257" marR="43257" marT="0" marB="0" anchor="ctr"/>
                </a:tc>
                <a:tc>
                  <a:txBody>
                    <a:bodyPr/>
                    <a:lstStyle/>
                    <a:p>
                      <a:pPr algn="r" fontAlgn="auto">
                        <a:lnSpc>
                          <a:spcPct val="115000"/>
                        </a:lnSpc>
                        <a:spcAft>
                          <a:spcPts val="1000"/>
                        </a:spcAft>
                      </a:pPr>
                      <a:r>
                        <a:rPr lang="en-GB" sz="1100" dirty="0">
                          <a:effectLst/>
                        </a:rPr>
                        <a:t>1 900</a:t>
                      </a:r>
                      <a:endParaRPr lang="en-ZA" sz="1100" dirty="0">
                        <a:effectLst/>
                        <a:latin typeface="Calibri" panose="020F0502020204030204" pitchFamily="34" charset="0"/>
                        <a:ea typeface="MS Mincho" panose="02020609040205080304" pitchFamily="49" charset="-128"/>
                        <a:cs typeface="Times New Roman" panose="02020603050405020304" pitchFamily="18" charset="0"/>
                      </a:endParaRPr>
                    </a:p>
                  </a:txBody>
                  <a:tcPr marL="35938" marR="35938" marT="0" marB="0" anchor="ctr"/>
                </a:tc>
                <a:tc>
                  <a:txBody>
                    <a:bodyPr/>
                    <a:lstStyle/>
                    <a:p>
                      <a:pPr algn="r" fontAlgn="auto">
                        <a:lnSpc>
                          <a:spcPct val="115000"/>
                        </a:lnSpc>
                        <a:spcAft>
                          <a:spcPts val="1000"/>
                        </a:spcAft>
                      </a:pPr>
                      <a:r>
                        <a:rPr lang="en-GB" sz="1100" spc="-25" dirty="0">
                          <a:effectLst/>
                        </a:rPr>
                        <a:t>30 523</a:t>
                      </a:r>
                      <a:endParaRPr lang="en-ZA" sz="1100" dirty="0">
                        <a:effectLst/>
                        <a:latin typeface="Calibri" panose="020F0502020204030204" pitchFamily="34" charset="0"/>
                        <a:ea typeface="MS Mincho" panose="02020609040205080304" pitchFamily="49" charset="-128"/>
                        <a:cs typeface="Times New Roman" panose="02020603050405020304" pitchFamily="18" charset="0"/>
                      </a:endParaRPr>
                    </a:p>
                  </a:txBody>
                  <a:tcPr marL="35938" marR="35938" marT="0" marB="0" anchor="ctr"/>
                </a:tc>
                <a:extLst>
                  <a:ext uri="{0D108BD9-81ED-4DB2-BD59-A6C34878D82A}">
                    <a16:rowId xmlns:a16="http://schemas.microsoft.com/office/drawing/2014/main" val="10009"/>
                  </a:ext>
                </a:extLst>
              </a:tr>
              <a:tr h="345888">
                <a:tc rowSpan="5">
                  <a:txBody>
                    <a:bodyPr/>
                    <a:lstStyle/>
                    <a:p>
                      <a:pPr marL="0" lvl="0" indent="0" algn="l" defTabSz="914400" rtl="0" eaLnBrk="1" fontAlgn="auto" latinLnBrk="0" hangingPunct="1">
                        <a:spcAft>
                          <a:spcPts val="0"/>
                        </a:spcAft>
                        <a:buFont typeface="+mj-lt"/>
                        <a:buNone/>
                      </a:pPr>
                      <a:r>
                        <a:rPr lang="en-US" sz="1400" b="1" kern="1200" dirty="0">
                          <a:solidFill>
                            <a:schemeClr val="lt1"/>
                          </a:solidFill>
                          <a:effectLst/>
                          <a:latin typeface="+mn-lt"/>
                          <a:ea typeface="+mn-ea"/>
                          <a:cs typeface="+mn-cs"/>
                        </a:rPr>
                        <a:t>3. Increased access to affordable   finance to enable end-users to have appropriate, spatially just and adequate housing</a:t>
                      </a:r>
                      <a:endParaRPr lang="en-ZA" sz="1400" b="1" kern="1200" dirty="0">
                        <a:solidFill>
                          <a:schemeClr val="lt1"/>
                        </a:solidFill>
                        <a:effectLst/>
                        <a:latin typeface="+mn-lt"/>
                        <a:ea typeface="+mn-ea"/>
                        <a:cs typeface="+mn-cs"/>
                      </a:endParaRPr>
                    </a:p>
                  </a:txBody>
                  <a:tcPr marL="43257" marR="43257" marT="0" marB="0"/>
                </a:tc>
                <a:tc>
                  <a:txBody>
                    <a:bodyPr/>
                    <a:lstStyle/>
                    <a:p>
                      <a:pPr algn="l" fontAlgn="auto">
                        <a:lnSpc>
                          <a:spcPct val="115000"/>
                        </a:lnSpc>
                        <a:spcAft>
                          <a:spcPts val="0"/>
                        </a:spcAft>
                      </a:pPr>
                      <a:r>
                        <a:rPr lang="en-GB" sz="1200">
                          <a:effectLst/>
                        </a:rPr>
                        <a:t>Value of leveraged funds in strategic partnerships (R’m)</a:t>
                      </a:r>
                      <a:endParaRPr lang="en-ZA" sz="1200">
                        <a:effectLst/>
                        <a:latin typeface="Calibri" panose="020F0502020204030204" pitchFamily="34" charset="0"/>
                        <a:ea typeface="MS Mincho"/>
                        <a:cs typeface="Times New Roman" panose="02020603050405020304" pitchFamily="18" charset="0"/>
                      </a:endParaRPr>
                    </a:p>
                  </a:txBody>
                  <a:tcPr marL="43257" marR="43257" marT="0" marB="0" anchor="ctr"/>
                </a:tc>
                <a:tc>
                  <a:txBody>
                    <a:bodyPr/>
                    <a:lstStyle/>
                    <a:p>
                      <a:pPr algn="ctr" fontAlgn="auto">
                        <a:lnSpc>
                          <a:spcPct val="115000"/>
                        </a:lnSpc>
                        <a:spcAft>
                          <a:spcPts val="1000"/>
                        </a:spcAft>
                      </a:pPr>
                      <a:r>
                        <a:rPr lang="en-GB" sz="1100" dirty="0">
                          <a:effectLst/>
                        </a:rPr>
                        <a:t>New indicator</a:t>
                      </a:r>
                      <a:endParaRPr lang="en-ZA" sz="1100" dirty="0">
                        <a:effectLst/>
                        <a:latin typeface="Calibri" panose="020F0502020204030204" pitchFamily="34" charset="0"/>
                        <a:ea typeface="MS Mincho" panose="02020609040205080304" pitchFamily="49" charset="-128"/>
                        <a:cs typeface="Times New Roman" panose="02020603050405020304" pitchFamily="18" charset="0"/>
                      </a:endParaRPr>
                    </a:p>
                  </a:txBody>
                  <a:tcPr marL="35938" marR="35938" marT="0" marB="0" anchor="ctr"/>
                </a:tc>
                <a:tc>
                  <a:txBody>
                    <a:bodyPr/>
                    <a:lstStyle/>
                    <a:p>
                      <a:pPr algn="r" fontAlgn="auto">
                        <a:lnSpc>
                          <a:spcPct val="115000"/>
                        </a:lnSpc>
                        <a:spcAft>
                          <a:spcPts val="1000"/>
                        </a:spcAft>
                      </a:pPr>
                      <a:r>
                        <a:rPr lang="en-GB" sz="1100" dirty="0">
                          <a:effectLst/>
                        </a:rPr>
                        <a:t>3 500</a:t>
                      </a:r>
                      <a:endParaRPr lang="en-ZA" sz="1100" dirty="0">
                        <a:effectLst/>
                        <a:latin typeface="Calibri" panose="020F0502020204030204" pitchFamily="34" charset="0"/>
                        <a:ea typeface="MS Mincho" panose="02020609040205080304" pitchFamily="49" charset="-128"/>
                        <a:cs typeface="Times New Roman" panose="02020603050405020304" pitchFamily="18" charset="0"/>
                      </a:endParaRPr>
                    </a:p>
                  </a:txBody>
                  <a:tcPr marL="35938" marR="35938" marT="0" marB="0" anchor="ctr"/>
                </a:tc>
                <a:extLst>
                  <a:ext uri="{0D108BD9-81ED-4DB2-BD59-A6C34878D82A}">
                    <a16:rowId xmlns:a16="http://schemas.microsoft.com/office/drawing/2014/main" val="10010"/>
                  </a:ext>
                </a:extLst>
              </a:tr>
              <a:tr h="419934">
                <a:tc vMerge="1">
                  <a:txBody>
                    <a:bodyPr/>
                    <a:lstStyle/>
                    <a:p>
                      <a:endParaRPr lang="en-ZA"/>
                    </a:p>
                  </a:txBody>
                  <a:tcPr/>
                </a:tc>
                <a:tc>
                  <a:txBody>
                    <a:bodyPr/>
                    <a:lstStyle/>
                    <a:p>
                      <a:pPr algn="l" fontAlgn="auto">
                        <a:lnSpc>
                          <a:spcPct val="115000"/>
                        </a:lnSpc>
                        <a:spcAft>
                          <a:spcPts val="0"/>
                        </a:spcAft>
                      </a:pPr>
                      <a:r>
                        <a:rPr lang="en-GB" sz="1200">
                          <a:effectLst/>
                        </a:rPr>
                        <a:t>Value of leveraged funds from the Private sector - Excluding FLISP (R'm)</a:t>
                      </a:r>
                      <a:endParaRPr lang="en-ZA" sz="1200">
                        <a:effectLst/>
                        <a:latin typeface="Calibri" panose="020F0502020204030204" pitchFamily="34" charset="0"/>
                        <a:ea typeface="MS Mincho"/>
                        <a:cs typeface="Times New Roman" panose="02020603050405020304" pitchFamily="18" charset="0"/>
                      </a:endParaRPr>
                    </a:p>
                  </a:txBody>
                  <a:tcPr marL="43257" marR="43257" marT="0" marB="0" anchor="ctr"/>
                </a:tc>
                <a:tc>
                  <a:txBody>
                    <a:bodyPr/>
                    <a:lstStyle/>
                    <a:p>
                      <a:pPr algn="r" fontAlgn="auto">
                        <a:lnSpc>
                          <a:spcPct val="115000"/>
                        </a:lnSpc>
                        <a:spcAft>
                          <a:spcPts val="1000"/>
                        </a:spcAft>
                      </a:pPr>
                      <a:r>
                        <a:rPr lang="en-GB" sz="1100" dirty="0">
                          <a:effectLst/>
                        </a:rPr>
                        <a:t>705</a:t>
                      </a:r>
                      <a:endParaRPr lang="en-ZA" sz="1100" dirty="0">
                        <a:effectLst/>
                        <a:latin typeface="Calibri" panose="020F0502020204030204" pitchFamily="34" charset="0"/>
                        <a:ea typeface="MS Mincho" panose="02020609040205080304" pitchFamily="49" charset="-128"/>
                        <a:cs typeface="Times New Roman" panose="02020603050405020304" pitchFamily="18" charset="0"/>
                      </a:endParaRPr>
                    </a:p>
                  </a:txBody>
                  <a:tcPr marL="35938" marR="35938" marT="0" marB="0" anchor="ctr"/>
                </a:tc>
                <a:tc>
                  <a:txBody>
                    <a:bodyPr/>
                    <a:lstStyle/>
                    <a:p>
                      <a:pPr algn="r" fontAlgn="auto">
                        <a:lnSpc>
                          <a:spcPct val="115000"/>
                        </a:lnSpc>
                        <a:spcAft>
                          <a:spcPts val="1000"/>
                        </a:spcAft>
                      </a:pPr>
                      <a:r>
                        <a:rPr lang="en-GB" sz="1100" dirty="0">
                          <a:effectLst/>
                        </a:rPr>
                        <a:t>2 218 </a:t>
                      </a:r>
                      <a:endParaRPr lang="en-ZA" sz="1100" dirty="0">
                        <a:effectLst/>
                        <a:latin typeface="Calibri" panose="020F0502020204030204" pitchFamily="34" charset="0"/>
                        <a:ea typeface="MS Mincho" panose="02020609040205080304" pitchFamily="49" charset="-128"/>
                        <a:cs typeface="Times New Roman" panose="02020603050405020304" pitchFamily="18" charset="0"/>
                      </a:endParaRPr>
                    </a:p>
                  </a:txBody>
                  <a:tcPr marL="35938" marR="35938" marT="0" marB="0" anchor="ctr"/>
                </a:tc>
                <a:extLst>
                  <a:ext uri="{0D108BD9-81ED-4DB2-BD59-A6C34878D82A}">
                    <a16:rowId xmlns:a16="http://schemas.microsoft.com/office/drawing/2014/main" val="10011"/>
                  </a:ext>
                </a:extLst>
              </a:tr>
              <a:tr h="315459">
                <a:tc vMerge="1">
                  <a:txBody>
                    <a:bodyPr/>
                    <a:lstStyle/>
                    <a:p>
                      <a:endParaRPr lang="en-ZA"/>
                    </a:p>
                  </a:txBody>
                  <a:tcPr/>
                </a:tc>
                <a:tc>
                  <a:txBody>
                    <a:bodyPr/>
                    <a:lstStyle/>
                    <a:p>
                      <a:pPr algn="l" fontAlgn="auto">
                        <a:lnSpc>
                          <a:spcPct val="115000"/>
                        </a:lnSpc>
                        <a:spcAft>
                          <a:spcPts val="0"/>
                        </a:spcAft>
                      </a:pPr>
                      <a:r>
                        <a:rPr lang="en-GB" sz="1200" dirty="0">
                          <a:effectLst/>
                        </a:rPr>
                        <a:t>Value of leveraged funds from FLISP (</a:t>
                      </a:r>
                      <a:r>
                        <a:rPr lang="en-GB" sz="1200" dirty="0" err="1">
                          <a:effectLst/>
                        </a:rPr>
                        <a:t>R’m</a:t>
                      </a:r>
                      <a:r>
                        <a:rPr lang="en-GB" sz="1200" dirty="0">
                          <a:effectLst/>
                        </a:rPr>
                        <a:t>)</a:t>
                      </a:r>
                      <a:endParaRPr lang="en-ZA" sz="1200" dirty="0">
                        <a:effectLst/>
                        <a:latin typeface="Calibri" panose="020F0502020204030204" pitchFamily="34" charset="0"/>
                        <a:ea typeface="MS Mincho"/>
                        <a:cs typeface="Times New Roman" panose="02020603050405020304" pitchFamily="18" charset="0"/>
                      </a:endParaRPr>
                    </a:p>
                  </a:txBody>
                  <a:tcPr marL="43257" marR="43257" marT="0" marB="0" anchor="ctr"/>
                </a:tc>
                <a:tc>
                  <a:txBody>
                    <a:bodyPr/>
                    <a:lstStyle/>
                    <a:p>
                      <a:pPr algn="r" fontAlgn="auto">
                        <a:lnSpc>
                          <a:spcPct val="115000"/>
                        </a:lnSpc>
                        <a:spcAft>
                          <a:spcPts val="1000"/>
                        </a:spcAft>
                      </a:pPr>
                      <a:r>
                        <a:rPr lang="en-GB" sz="1100" dirty="0">
                          <a:effectLst/>
                        </a:rPr>
                        <a:t>882</a:t>
                      </a:r>
                      <a:endParaRPr lang="en-ZA" sz="1100" dirty="0">
                        <a:effectLst/>
                        <a:latin typeface="Calibri" panose="020F0502020204030204" pitchFamily="34" charset="0"/>
                        <a:ea typeface="MS Mincho" panose="02020609040205080304" pitchFamily="49" charset="-128"/>
                        <a:cs typeface="Times New Roman" panose="02020603050405020304" pitchFamily="18" charset="0"/>
                      </a:endParaRPr>
                    </a:p>
                  </a:txBody>
                  <a:tcPr marL="35938" marR="35938" marT="0" marB="0" anchor="ctr"/>
                </a:tc>
                <a:tc>
                  <a:txBody>
                    <a:bodyPr/>
                    <a:lstStyle/>
                    <a:p>
                      <a:pPr algn="r" fontAlgn="auto">
                        <a:lnSpc>
                          <a:spcPct val="115000"/>
                        </a:lnSpc>
                        <a:spcAft>
                          <a:spcPts val="1000"/>
                        </a:spcAft>
                      </a:pPr>
                      <a:r>
                        <a:rPr lang="en-GB" sz="1100" dirty="0">
                          <a:effectLst/>
                        </a:rPr>
                        <a:t>17 606</a:t>
                      </a:r>
                      <a:endParaRPr lang="en-ZA" sz="1100" dirty="0">
                        <a:effectLst/>
                        <a:latin typeface="Calibri" panose="020F0502020204030204" pitchFamily="34" charset="0"/>
                        <a:ea typeface="MS Mincho" panose="02020609040205080304" pitchFamily="49" charset="-128"/>
                        <a:cs typeface="Times New Roman" panose="02020603050405020304" pitchFamily="18" charset="0"/>
                      </a:endParaRPr>
                    </a:p>
                  </a:txBody>
                  <a:tcPr marL="35938" marR="35938" marT="0" marB="0" anchor="ctr"/>
                </a:tc>
                <a:extLst>
                  <a:ext uri="{0D108BD9-81ED-4DB2-BD59-A6C34878D82A}">
                    <a16:rowId xmlns:a16="http://schemas.microsoft.com/office/drawing/2014/main" val="10012"/>
                  </a:ext>
                </a:extLst>
              </a:tr>
              <a:tr h="419934">
                <a:tc vMerge="1">
                  <a:txBody>
                    <a:bodyPr/>
                    <a:lstStyle/>
                    <a:p>
                      <a:endParaRPr lang="en-ZA"/>
                    </a:p>
                  </a:txBody>
                  <a:tcPr/>
                </a:tc>
                <a:tc>
                  <a:txBody>
                    <a:bodyPr/>
                    <a:lstStyle/>
                    <a:p>
                      <a:pPr algn="l" fontAlgn="auto">
                        <a:lnSpc>
                          <a:spcPct val="115000"/>
                        </a:lnSpc>
                        <a:spcAft>
                          <a:spcPts val="0"/>
                        </a:spcAft>
                      </a:pPr>
                      <a:r>
                        <a:rPr lang="en-GB" sz="1200" spc="-25">
                          <a:effectLst/>
                        </a:rPr>
                        <a:t>Number of Leveraged Units - Private Rental and Affordable (Strategic Investments)</a:t>
                      </a:r>
                      <a:endParaRPr lang="en-ZA" sz="1200">
                        <a:effectLst/>
                        <a:latin typeface="Calibri" panose="020F0502020204030204" pitchFamily="34" charset="0"/>
                        <a:ea typeface="MS Mincho"/>
                        <a:cs typeface="Times New Roman" panose="02020603050405020304" pitchFamily="18" charset="0"/>
                      </a:endParaRPr>
                    </a:p>
                  </a:txBody>
                  <a:tcPr marL="43257" marR="43257" marT="0" marB="0" anchor="ctr"/>
                </a:tc>
                <a:tc>
                  <a:txBody>
                    <a:bodyPr/>
                    <a:lstStyle/>
                    <a:p>
                      <a:pPr algn="r" fontAlgn="auto">
                        <a:lnSpc>
                          <a:spcPct val="115000"/>
                        </a:lnSpc>
                        <a:spcAft>
                          <a:spcPts val="1000"/>
                        </a:spcAft>
                      </a:pPr>
                      <a:r>
                        <a:rPr lang="en-GB" sz="1100" dirty="0">
                          <a:effectLst/>
                        </a:rPr>
                        <a:t>1 965</a:t>
                      </a:r>
                      <a:endParaRPr lang="en-ZA" sz="1100" dirty="0">
                        <a:effectLst/>
                        <a:latin typeface="Calibri" panose="020F0502020204030204" pitchFamily="34" charset="0"/>
                        <a:ea typeface="MS Mincho" panose="02020609040205080304" pitchFamily="49" charset="-128"/>
                        <a:cs typeface="Times New Roman" panose="02020603050405020304" pitchFamily="18" charset="0"/>
                      </a:endParaRPr>
                    </a:p>
                  </a:txBody>
                  <a:tcPr marL="35938" marR="35938" marT="0" marB="0" anchor="ctr"/>
                </a:tc>
                <a:tc>
                  <a:txBody>
                    <a:bodyPr/>
                    <a:lstStyle/>
                    <a:p>
                      <a:pPr algn="r" fontAlgn="auto">
                        <a:lnSpc>
                          <a:spcPct val="115000"/>
                        </a:lnSpc>
                        <a:spcAft>
                          <a:spcPts val="1000"/>
                        </a:spcAft>
                      </a:pPr>
                      <a:r>
                        <a:rPr lang="en-GB" sz="1100" spc="-25" dirty="0">
                          <a:effectLst/>
                        </a:rPr>
                        <a:t>1 512 </a:t>
                      </a:r>
                      <a:endParaRPr lang="en-ZA" sz="1100" dirty="0">
                        <a:effectLst/>
                        <a:latin typeface="Calibri" panose="020F0502020204030204" pitchFamily="34" charset="0"/>
                        <a:ea typeface="MS Mincho" panose="02020609040205080304" pitchFamily="49" charset="-128"/>
                        <a:cs typeface="Times New Roman" panose="02020603050405020304" pitchFamily="18" charset="0"/>
                      </a:endParaRPr>
                    </a:p>
                  </a:txBody>
                  <a:tcPr marL="35938" marR="35938" marT="0" marB="0" anchor="ctr"/>
                </a:tc>
                <a:extLst>
                  <a:ext uri="{0D108BD9-81ED-4DB2-BD59-A6C34878D82A}">
                    <a16:rowId xmlns:a16="http://schemas.microsoft.com/office/drawing/2014/main" val="10013"/>
                  </a:ext>
                </a:extLst>
              </a:tr>
              <a:tr h="296293">
                <a:tc vMerge="1">
                  <a:txBody>
                    <a:bodyPr/>
                    <a:lstStyle/>
                    <a:p>
                      <a:endParaRPr lang="en-ZA"/>
                    </a:p>
                  </a:txBody>
                  <a:tcPr/>
                </a:tc>
                <a:tc>
                  <a:txBody>
                    <a:bodyPr/>
                    <a:lstStyle/>
                    <a:p>
                      <a:pPr algn="l" fontAlgn="auto">
                        <a:lnSpc>
                          <a:spcPct val="115000"/>
                        </a:lnSpc>
                        <a:spcAft>
                          <a:spcPts val="0"/>
                        </a:spcAft>
                      </a:pPr>
                      <a:r>
                        <a:rPr lang="en-GB" sz="1200">
                          <a:effectLst/>
                        </a:rPr>
                        <a:t>Number of Provinces Covered by RFIs</a:t>
                      </a:r>
                      <a:endParaRPr lang="en-ZA" sz="1200">
                        <a:effectLst/>
                        <a:latin typeface="Calibri" panose="020F0502020204030204" pitchFamily="34" charset="0"/>
                        <a:ea typeface="MS Mincho"/>
                        <a:cs typeface="Times New Roman" panose="02020603050405020304" pitchFamily="18" charset="0"/>
                      </a:endParaRPr>
                    </a:p>
                  </a:txBody>
                  <a:tcPr marL="43257" marR="43257" marT="0" marB="0" anchor="ctr"/>
                </a:tc>
                <a:tc>
                  <a:txBody>
                    <a:bodyPr/>
                    <a:lstStyle/>
                    <a:p>
                      <a:pPr algn="ctr" fontAlgn="auto">
                        <a:lnSpc>
                          <a:spcPct val="115000"/>
                        </a:lnSpc>
                        <a:spcAft>
                          <a:spcPts val="1000"/>
                        </a:spcAft>
                      </a:pPr>
                      <a:r>
                        <a:rPr lang="en-GB" sz="1100" dirty="0">
                          <a:effectLst/>
                        </a:rPr>
                        <a:t>New indicator</a:t>
                      </a:r>
                      <a:endParaRPr lang="en-ZA" sz="1100" dirty="0">
                        <a:effectLst/>
                        <a:latin typeface="Calibri" panose="020F0502020204030204" pitchFamily="34" charset="0"/>
                        <a:ea typeface="MS Mincho" panose="02020609040205080304" pitchFamily="49" charset="-128"/>
                        <a:cs typeface="Times New Roman" panose="02020603050405020304" pitchFamily="18" charset="0"/>
                      </a:endParaRPr>
                    </a:p>
                  </a:txBody>
                  <a:tcPr marL="35938" marR="35938" marT="0" marB="0" anchor="ctr"/>
                </a:tc>
                <a:tc>
                  <a:txBody>
                    <a:bodyPr/>
                    <a:lstStyle/>
                    <a:p>
                      <a:pPr algn="r" fontAlgn="auto">
                        <a:lnSpc>
                          <a:spcPct val="115000"/>
                        </a:lnSpc>
                        <a:spcAft>
                          <a:spcPts val="1000"/>
                        </a:spcAft>
                      </a:pPr>
                      <a:r>
                        <a:rPr lang="en-GB" sz="1100" dirty="0">
                          <a:effectLst/>
                        </a:rPr>
                        <a:t>9</a:t>
                      </a:r>
                      <a:endParaRPr lang="en-ZA" sz="1100" dirty="0">
                        <a:effectLst/>
                        <a:latin typeface="Calibri" panose="020F0502020204030204" pitchFamily="34" charset="0"/>
                        <a:ea typeface="MS Mincho" panose="02020609040205080304" pitchFamily="49" charset="-128"/>
                        <a:cs typeface="Times New Roman" panose="02020603050405020304" pitchFamily="18" charset="0"/>
                      </a:endParaRPr>
                    </a:p>
                  </a:txBody>
                  <a:tcPr marL="35938" marR="35938" marT="0" marB="0" anchor="ctr"/>
                </a:tc>
                <a:extLst>
                  <a:ext uri="{0D108BD9-81ED-4DB2-BD59-A6C34878D82A}">
                    <a16:rowId xmlns:a16="http://schemas.microsoft.com/office/drawing/2014/main" val="10014"/>
                  </a:ext>
                </a:extLst>
              </a:tr>
              <a:tr h="838750">
                <a:tc>
                  <a:txBody>
                    <a:bodyPr/>
                    <a:lstStyle/>
                    <a:p>
                      <a:pPr marL="0" lvl="0" indent="0" algn="l" fontAlgn="auto">
                        <a:spcAft>
                          <a:spcPts val="0"/>
                        </a:spcAft>
                        <a:buFont typeface="+mj-lt"/>
                        <a:buNone/>
                      </a:pPr>
                      <a:r>
                        <a:rPr lang="en-US" sz="1400" dirty="0">
                          <a:effectLst/>
                        </a:rPr>
                        <a:t>4.Increased penetration and participation of low-to </a:t>
                      </a:r>
                      <a:r>
                        <a:rPr lang="en-US" sz="1400" b="1" kern="1200" dirty="0">
                          <a:solidFill>
                            <a:schemeClr val="lt1"/>
                          </a:solidFill>
                          <a:effectLst/>
                          <a:latin typeface="+mn-lt"/>
                          <a:ea typeface="+mn-ea"/>
                          <a:cs typeface="+mn-cs"/>
                        </a:rPr>
                        <a:t>middle income households and businesses owned b</a:t>
                      </a:r>
                      <a:r>
                        <a:rPr lang="en-US" sz="1400" dirty="0">
                          <a:effectLst/>
                        </a:rPr>
                        <a:t>y PDIs in the housing market</a:t>
                      </a:r>
                      <a:endParaRPr lang="en-ZA" sz="1400" dirty="0">
                        <a:effectLst/>
                        <a:latin typeface="Calibri" panose="020F0502020204030204" pitchFamily="34" charset="0"/>
                        <a:ea typeface="MS Mincho"/>
                        <a:cs typeface="Arial" panose="020B0604020202020204" pitchFamily="34" charset="0"/>
                      </a:endParaRPr>
                    </a:p>
                  </a:txBody>
                  <a:tcPr marL="43257" marR="43257" marT="0" marB="0"/>
                </a:tc>
                <a:tc>
                  <a:txBody>
                    <a:bodyPr/>
                    <a:lstStyle/>
                    <a:p>
                      <a:pPr algn="l" fontAlgn="auto">
                        <a:lnSpc>
                          <a:spcPct val="115000"/>
                        </a:lnSpc>
                        <a:spcAft>
                          <a:spcPts val="0"/>
                        </a:spcAft>
                      </a:pPr>
                      <a:r>
                        <a:rPr lang="en-GB" sz="1200" dirty="0">
                          <a:effectLst/>
                        </a:rPr>
                        <a:t>Percentage of portfolio comprised of PDIs </a:t>
                      </a:r>
                      <a:endParaRPr lang="en-ZA" sz="1200" dirty="0">
                        <a:effectLst/>
                      </a:endParaRPr>
                    </a:p>
                    <a:p>
                      <a:pPr algn="l" fontAlgn="auto">
                        <a:lnSpc>
                          <a:spcPct val="115000"/>
                        </a:lnSpc>
                        <a:spcAft>
                          <a:spcPts val="0"/>
                        </a:spcAft>
                      </a:pPr>
                      <a:r>
                        <a:rPr lang="en-GB" sz="1200" dirty="0">
                          <a:effectLst/>
                        </a:rPr>
                        <a:t> </a:t>
                      </a:r>
                      <a:endParaRPr lang="en-ZA" sz="1200" dirty="0">
                        <a:effectLst/>
                      </a:endParaRPr>
                    </a:p>
                    <a:p>
                      <a:pPr algn="l" fontAlgn="auto">
                        <a:lnSpc>
                          <a:spcPct val="115000"/>
                        </a:lnSpc>
                        <a:spcAft>
                          <a:spcPts val="0"/>
                        </a:spcAft>
                      </a:pPr>
                      <a:r>
                        <a:rPr lang="en-GB" sz="1200" dirty="0">
                          <a:effectLst/>
                        </a:rPr>
                        <a:t>Percentage of disbursements to PDI on managed programmes</a:t>
                      </a:r>
                      <a:endParaRPr lang="en-ZA" sz="1200" dirty="0">
                        <a:effectLst/>
                        <a:latin typeface="Calibri" panose="020F0502020204030204" pitchFamily="34" charset="0"/>
                        <a:ea typeface="MS Mincho"/>
                        <a:cs typeface="Times New Roman" panose="02020603050405020304" pitchFamily="18" charset="0"/>
                      </a:endParaRPr>
                    </a:p>
                  </a:txBody>
                  <a:tcPr marL="43257" marR="43257" marT="0" marB="0" anchor="ctr"/>
                </a:tc>
                <a:tc>
                  <a:txBody>
                    <a:bodyPr/>
                    <a:lstStyle/>
                    <a:p>
                      <a:pPr algn="r" fontAlgn="auto">
                        <a:lnSpc>
                          <a:spcPct val="115000"/>
                        </a:lnSpc>
                        <a:spcAft>
                          <a:spcPts val="1000"/>
                        </a:spcAft>
                      </a:pPr>
                      <a:r>
                        <a:rPr lang="en-GB" sz="1100" dirty="0">
                          <a:effectLst/>
                        </a:rPr>
                        <a:t>35%</a:t>
                      </a:r>
                      <a:endParaRPr lang="en-ZA" sz="1100" dirty="0">
                        <a:effectLst/>
                      </a:endParaRPr>
                    </a:p>
                    <a:p>
                      <a:pPr algn="r" fontAlgn="auto">
                        <a:lnSpc>
                          <a:spcPct val="115000"/>
                        </a:lnSpc>
                        <a:spcAft>
                          <a:spcPts val="1000"/>
                        </a:spcAft>
                      </a:pPr>
                      <a:r>
                        <a:rPr lang="en-GB" sz="1100" dirty="0">
                          <a:effectLst/>
                        </a:rPr>
                        <a:t> </a:t>
                      </a:r>
                      <a:endParaRPr lang="en-ZA" sz="1100" dirty="0">
                        <a:effectLst/>
                      </a:endParaRPr>
                    </a:p>
                    <a:p>
                      <a:pPr algn="r" fontAlgn="auto">
                        <a:lnSpc>
                          <a:spcPct val="115000"/>
                        </a:lnSpc>
                        <a:spcAft>
                          <a:spcPts val="1000"/>
                        </a:spcAft>
                      </a:pPr>
                      <a:r>
                        <a:rPr lang="en-GB" sz="1100" dirty="0">
                          <a:effectLst/>
                        </a:rPr>
                        <a:t>30%</a:t>
                      </a:r>
                      <a:endParaRPr lang="en-ZA" sz="1100" dirty="0">
                        <a:effectLst/>
                        <a:latin typeface="Calibri" panose="020F0502020204030204" pitchFamily="34" charset="0"/>
                        <a:ea typeface="MS Mincho" panose="02020609040205080304" pitchFamily="49" charset="-128"/>
                        <a:cs typeface="Times New Roman" panose="02020603050405020304" pitchFamily="18" charset="0"/>
                      </a:endParaRPr>
                    </a:p>
                  </a:txBody>
                  <a:tcPr marL="35938" marR="35938" marT="0" marB="0" anchor="ctr"/>
                </a:tc>
                <a:tc>
                  <a:txBody>
                    <a:bodyPr/>
                    <a:lstStyle/>
                    <a:p>
                      <a:pPr algn="r" fontAlgn="auto">
                        <a:lnSpc>
                          <a:spcPct val="115000"/>
                        </a:lnSpc>
                        <a:spcAft>
                          <a:spcPts val="1000"/>
                        </a:spcAft>
                      </a:pPr>
                      <a:r>
                        <a:rPr lang="en-GB" sz="1100" dirty="0">
                          <a:effectLst/>
                        </a:rPr>
                        <a:t>50%</a:t>
                      </a:r>
                      <a:endParaRPr lang="en-ZA" sz="1100" dirty="0">
                        <a:effectLst/>
                      </a:endParaRPr>
                    </a:p>
                    <a:p>
                      <a:pPr algn="r" fontAlgn="auto">
                        <a:lnSpc>
                          <a:spcPct val="115000"/>
                        </a:lnSpc>
                        <a:spcAft>
                          <a:spcPts val="1000"/>
                        </a:spcAft>
                      </a:pPr>
                      <a:r>
                        <a:rPr lang="en-GB" sz="1100" dirty="0">
                          <a:effectLst/>
                        </a:rPr>
                        <a:t> </a:t>
                      </a:r>
                      <a:endParaRPr lang="en-ZA" sz="1100" dirty="0">
                        <a:effectLst/>
                      </a:endParaRPr>
                    </a:p>
                    <a:p>
                      <a:pPr algn="r" fontAlgn="auto">
                        <a:lnSpc>
                          <a:spcPct val="115000"/>
                        </a:lnSpc>
                        <a:spcAft>
                          <a:spcPts val="1000"/>
                        </a:spcAft>
                      </a:pPr>
                      <a:r>
                        <a:rPr lang="en-GB" sz="1100" dirty="0">
                          <a:effectLst/>
                        </a:rPr>
                        <a:t>50%</a:t>
                      </a:r>
                      <a:endParaRPr lang="en-ZA" sz="1100" dirty="0">
                        <a:effectLst/>
                        <a:latin typeface="Calibri" panose="020F0502020204030204" pitchFamily="34" charset="0"/>
                        <a:ea typeface="MS Mincho" panose="02020609040205080304" pitchFamily="49" charset="-128"/>
                        <a:cs typeface="Times New Roman" panose="02020603050405020304" pitchFamily="18" charset="0"/>
                      </a:endParaRPr>
                    </a:p>
                  </a:txBody>
                  <a:tcPr marL="35938" marR="35938" marT="0" marB="0" anchor="ctr"/>
                </a:tc>
                <a:extLst>
                  <a:ext uri="{0D108BD9-81ED-4DB2-BD59-A6C34878D82A}">
                    <a16:rowId xmlns:a16="http://schemas.microsoft.com/office/drawing/2014/main" val="10015"/>
                  </a:ext>
                </a:extLst>
              </a:tr>
            </a:tbl>
          </a:graphicData>
        </a:graphic>
      </p:graphicFrame>
    </p:spTree>
    <p:extLst>
      <p:ext uri="{BB962C8B-B14F-4D97-AF65-F5344CB8AC3E}">
        <p14:creationId xmlns:p14="http://schemas.microsoft.com/office/powerpoint/2010/main" val="38615288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17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1&quot;&gt;&lt;elem m_fUsage=&quot;1.89999999999999991118E+00&quot;&gt;&lt;m_msothmcolidx val=&quot;0&quot;/&gt;&lt;m_rgb r=&quot;07&quot; g=&quot;2B&quot; b=&quot;65&quot;/&gt;&lt;m_nBrightness endver=&quot;26206&quot; val=&quot;0&quot;/&gt;&lt;/elem&gt;&lt;/m_vecMRU&gt;&lt;/m_mruColor&gt;&lt;m_eweekdayFirstOfWeek val=&quot;2&quot;/&gt;&lt;m_eweekdayFirstOfWorkweek val=&quot;7&quot;/&gt;&lt;m_eweekdayFirstOfWeekend val=&quot;6&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oRYC7ysKJMvOTYu93ZwqE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EVdezcmcQpiqB4DjHwmc5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EVdezcmcQpiqB4DjHwmc5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VHZ4x.n_gCNb5SF3uKWPb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4mt9TytYNozFHPhSM.61s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lng9tyJTuLObk3LM7bCsq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iSNWgmqlPoI5aM97XJpo9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4zsCguYrCDS.OM2pmSqA1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lng9tyJTuLObk3LM7bCsqg"/>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iSNWgmqlPoI5aM97XJpo9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iSNWgmqlPoI5aM97XJpo9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VHZ4x.n_gCNb5SF3uKWPb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VHZ4x.n_gCNb5SF3uKWPb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VHZ4x.n_gCNb5SF3uKWPb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VHZ4x.n_gCNb5SF3uKWPbw"/>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Firm Format - template_Blue">
  <a:themeElements>
    <a:clrScheme name="LETSEMA">
      <a:dk1>
        <a:srgbClr val="303333"/>
      </a:dk1>
      <a:lt1>
        <a:srgbClr val="FFFFFF"/>
      </a:lt1>
      <a:dk2>
        <a:srgbClr val="0A2E46"/>
      </a:dk2>
      <a:lt2>
        <a:srgbClr val="FFFFFF"/>
      </a:lt2>
      <a:accent1>
        <a:srgbClr val="0A2E46"/>
      </a:accent1>
      <a:accent2>
        <a:srgbClr val="1A6968"/>
      </a:accent2>
      <a:accent3>
        <a:srgbClr val="303333"/>
      </a:accent3>
      <a:accent4>
        <a:srgbClr val="61AC4A"/>
      </a:accent4>
      <a:accent5>
        <a:srgbClr val="AED363"/>
      </a:accent5>
      <a:accent6>
        <a:srgbClr val="0A2E46"/>
      </a:accent6>
      <a:hlink>
        <a:srgbClr val="1A6968"/>
      </a:hlink>
      <a:folHlink>
        <a:srgbClr val="303333"/>
      </a:folHlink>
    </a:clrScheme>
    <a:fontScheme name="LETSEMA1">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C000"/>
        </a:solidFill>
        <a:ln w="9525">
          <a:noFill/>
        </a:ln>
      </a:spPr>
      <a:bodyPr rtlCol="0" anchor="ctr"/>
      <a:lstStyle>
        <a:defPPr algn="ctr">
          <a:defRPr sz="1400" dirty="0" smtClean="0">
            <a:solidFill>
              <a:schemeClr val="tx1"/>
            </a:solidFill>
            <a:latin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0A2E4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400" dirty="0" smtClean="0">
            <a:latin typeface="Calibri" panose="020F0502020204030204" pitchFamily="34" charset="0"/>
          </a:defRPr>
        </a:defPPr>
      </a:lstStyle>
    </a:tx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normal" id="{DFFC87FE-E378-48E5-880C-429190FD33BA}" vid="{9B5EF60C-54F3-4236-9E99-4AFEC72687A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F2AE8D6ACF3344AA17100EAAB65B47A" ma:contentTypeVersion="6" ma:contentTypeDescription="Create a new document." ma:contentTypeScope="" ma:versionID="026a033607068432777b5af02b0f5bd1">
  <xsd:schema xmlns:xsd="http://www.w3.org/2001/XMLSchema" xmlns:xs="http://www.w3.org/2001/XMLSchema" xmlns:p="http://schemas.microsoft.com/office/2006/metadata/properties" xmlns:ns2="6f98cfe8-b6da-4086-92b9-0f3620f5160a" xmlns:ns3="f9237253-026b-45ed-a3f5-b51fe81ffa44" targetNamespace="http://schemas.microsoft.com/office/2006/metadata/properties" ma:root="true" ma:fieldsID="fe754026bfee12454e82698dd4e67192" ns2:_="" ns3:_="">
    <xsd:import namespace="6f98cfe8-b6da-4086-92b9-0f3620f5160a"/>
    <xsd:import namespace="f9237253-026b-45ed-a3f5-b51fe81ffa4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f98cfe8-b6da-4086-92b9-0f3620f5160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9237253-026b-45ed-a3f5-b51fe81ffa44"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f9237253-026b-45ed-a3f5-b51fe81ffa44">
      <UserInfo>
        <DisplayName>Shenelle Maniram</DisplayName>
        <AccountId>7</AccountId>
        <AccountType/>
      </UserInfo>
    </SharedWithUsers>
  </documentManagement>
</p:properties>
</file>

<file path=customXml/itemProps1.xml><?xml version="1.0" encoding="utf-8"?>
<ds:datastoreItem xmlns:ds="http://schemas.openxmlformats.org/officeDocument/2006/customXml" ds:itemID="{888D6933-58DF-46F6-A318-505AF08934A3}">
  <ds:schemaRefs>
    <ds:schemaRef ds:uri="http://schemas.microsoft.com/sharepoint/v3/contenttype/forms"/>
  </ds:schemaRefs>
</ds:datastoreItem>
</file>

<file path=customXml/itemProps2.xml><?xml version="1.0" encoding="utf-8"?>
<ds:datastoreItem xmlns:ds="http://schemas.openxmlformats.org/officeDocument/2006/customXml" ds:itemID="{20F47C0A-0B8E-4A23-96E1-6E163039CB5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f98cfe8-b6da-4086-92b9-0f3620f5160a"/>
    <ds:schemaRef ds:uri="f9237253-026b-45ed-a3f5-b51fe81ffa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864C0EA-5765-45E6-89CA-1F7AC9E2F9F7}">
  <ds:schemaRefs>
    <ds:schemaRef ds:uri="http://purl.org/dc/elements/1.1/"/>
    <ds:schemaRef ds:uri="f9237253-026b-45ed-a3f5-b51fe81ffa44"/>
    <ds:schemaRef ds:uri="http://purl.org/dc/dcmitype/"/>
    <ds:schemaRef ds:uri="http://schemas.microsoft.com/office/2006/metadata/properties"/>
    <ds:schemaRef ds:uri="http://schemas.microsoft.com/office/2006/documentManagement/types"/>
    <ds:schemaRef ds:uri="6f98cfe8-b6da-4086-92b9-0f3620f5160a"/>
    <ds:schemaRef ds:uri="http://schemas.microsoft.com/office/infopath/2007/PartnerControls"/>
    <ds:schemaRef ds:uri="http://schemas.openxmlformats.org/package/2006/metadata/core-properties"/>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Ion Boardroom</Template>
  <TotalTime>3471</TotalTime>
  <Words>2190</Words>
  <Application>Microsoft Office PowerPoint</Application>
  <PresentationFormat>Widescreen</PresentationFormat>
  <Paragraphs>366</Paragraphs>
  <Slides>31</Slides>
  <Notes>3</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31</vt:i4>
      </vt:variant>
    </vt:vector>
  </HeadingPairs>
  <TitlesOfParts>
    <vt:vector size="47" baseType="lpstr">
      <vt:lpstr>맑은 고딕</vt:lpstr>
      <vt:lpstr>Arial</vt:lpstr>
      <vt:lpstr>Calibri</vt:lpstr>
      <vt:lpstr>Calibri Light</vt:lpstr>
      <vt:lpstr>Courier New</vt:lpstr>
      <vt:lpstr>Lato-Light</vt:lpstr>
      <vt:lpstr>MS Mincho</vt:lpstr>
      <vt:lpstr>Segoe UI</vt:lpstr>
      <vt:lpstr>Segoe UI Light</vt:lpstr>
      <vt:lpstr>Segoe UI Semibold</vt:lpstr>
      <vt:lpstr>Symbol</vt:lpstr>
      <vt:lpstr>Times New Roman</vt:lpstr>
      <vt:lpstr>Wingdings</vt:lpstr>
      <vt:lpstr>Office Theme</vt:lpstr>
      <vt:lpstr>3_Firm Format - template_Blu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KEY VALUE DRIVERS </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shley Welcome</dc:creator>
  <cp:lastModifiedBy>Koliswa Pasiya-Mndende</cp:lastModifiedBy>
  <cp:revision>164</cp:revision>
  <cp:lastPrinted>2020-01-17T14:52:28Z</cp:lastPrinted>
  <dcterms:created xsi:type="dcterms:W3CDTF">2019-09-13T08:59:36Z</dcterms:created>
  <dcterms:modified xsi:type="dcterms:W3CDTF">2021-04-26T20:41: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F2AE8D6ACF3344AA17100EAAB65B47A</vt:lpwstr>
  </property>
</Properties>
</file>